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397" r:id="rId4"/>
    <p:sldMasterId id="2147485516" r:id="rId5"/>
  </p:sldMasterIdLst>
  <p:notesMasterIdLst>
    <p:notesMasterId r:id="rId24"/>
  </p:notesMasterIdLst>
  <p:handoutMasterIdLst>
    <p:handoutMasterId r:id="rId25"/>
  </p:handoutMasterIdLst>
  <p:sldIdLst>
    <p:sldId id="256" r:id="rId6"/>
    <p:sldId id="261" r:id="rId7"/>
    <p:sldId id="259" r:id="rId8"/>
    <p:sldId id="2076138130" r:id="rId9"/>
    <p:sldId id="2076138453" r:id="rId10"/>
    <p:sldId id="2076137511" r:id="rId11"/>
    <p:sldId id="2076138454" r:id="rId12"/>
    <p:sldId id="2076138131" r:id="rId13"/>
    <p:sldId id="2076138132" r:id="rId14"/>
    <p:sldId id="2076137512" r:id="rId15"/>
    <p:sldId id="2076138455" r:id="rId16"/>
    <p:sldId id="2076138114" r:id="rId17"/>
    <p:sldId id="2076138133" r:id="rId18"/>
    <p:sldId id="2076137513" r:id="rId19"/>
    <p:sldId id="2076138456" r:id="rId20"/>
    <p:sldId id="2076138451" r:id="rId21"/>
    <p:sldId id="2143187713" r:id="rId22"/>
    <p:sldId id="262" r:id="rId23"/>
  </p:sldIdLst>
  <p:sldSz cx="12192000" cy="6858000"/>
  <p:notesSz cx="9144000" cy="6858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Read me" id="{C612CE83-33A7-4546-825B-9D3A615EC37E}">
          <p14:sldIdLst>
            <p14:sldId id="256"/>
          </p14:sldIdLst>
        </p14:section>
        <p14:section name="Overview" id="{6F19AAD1-AB82-1B42-B506-B7CAE820897D}">
          <p14:sldIdLst>
            <p14:sldId id="261"/>
          </p14:sldIdLst>
        </p14:section>
        <p14:section name="Solution" id="{15854F95-687E-7C4A-ADFC-3ADB1831A345}">
          <p14:sldIdLst>
            <p14:sldId id="259"/>
          </p14:sldIdLst>
        </p14:section>
        <p14:section name="Purchase Protection" id="{E2D8A766-3AD5-4E47-8BCD-4A8BAF55F09F}">
          <p14:sldIdLst>
            <p14:sldId id="2076138130"/>
            <p14:sldId id="2076138453"/>
            <p14:sldId id="2076137511"/>
          </p14:sldIdLst>
        </p14:section>
        <p14:section name="Purchase Protection Video" id="{099D9675-F39E-4332-B1FB-B9F5F9E255E0}">
          <p14:sldIdLst>
            <p14:sldId id="2076138454"/>
          </p14:sldIdLst>
        </p14:section>
        <p14:section name="Account Protection" id="{ECDCFA43-FC43-439A-936C-3B1722CD7AA4}">
          <p14:sldIdLst>
            <p14:sldId id="2076138131"/>
            <p14:sldId id="2076138132"/>
            <p14:sldId id="2076137512"/>
          </p14:sldIdLst>
        </p14:section>
        <p14:section name="Account Protection Video" id="{AEA0F930-49BD-4241-AAB0-6C2C4491C87D}">
          <p14:sldIdLst>
            <p14:sldId id="2076138455"/>
          </p14:sldIdLst>
        </p14:section>
        <p14:section name="Loss Prevention" id="{3B7F33AE-AF82-4DC6-929A-DFC0E2ECDD21}">
          <p14:sldIdLst>
            <p14:sldId id="2076138114"/>
            <p14:sldId id="2076138133"/>
            <p14:sldId id="2076137513"/>
          </p14:sldIdLst>
        </p14:section>
        <p14:section name="Loss Prevention Video" id="{B9D16575-7C9A-40FC-BAC1-C4F77A2AF0A7}">
          <p14:sldIdLst>
            <p14:sldId id="2076138456"/>
          </p14:sldIdLst>
        </p14:section>
        <p14:section name="Architecture Diagram" id="{FA64D519-3A8D-F34A-96CE-6264765D81AB}">
          <p14:sldIdLst>
            <p14:sldId id="2076138451"/>
          </p14:sldIdLst>
        </p14:section>
        <p14:section name="Interactive Demo" id="{14919B37-D112-5D47-8322-C0D5963CAE43}">
          <p14:sldIdLst>
            <p14:sldId id="2143187713"/>
          </p14:sldIdLst>
        </p14:section>
        <p14:section name="Key Takeaways" id="{92591778-1455-1445-8F82-32F0AF85B529}">
          <p14:sldIdLst>
            <p14:sldId id="262"/>
          </p14:sldIdLst>
        </p14:section>
        <p14:section name="MS Technology Icon Library" id="{B482963B-8911-E94A-9ABC-7A8A78E93256}">
          <p14:sldIdLst/>
        </p14:section>
        <p14:section name="Archive- Do Not Use" id="{7011BC49-1D96-984E-BC26-299ED752E6F8}">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4479"/>
    <a:srgbClr val="FDFF99"/>
    <a:srgbClr val="2F2F2F"/>
    <a:srgbClr val="666666"/>
    <a:srgbClr val="000000"/>
    <a:srgbClr val="8661C5"/>
    <a:srgbClr val="D59DFF"/>
    <a:srgbClr val="50E6FF"/>
    <a:srgbClr val="006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809" autoAdjust="0"/>
  </p:normalViewPr>
  <p:slideViewPr>
    <p:cSldViewPr snapToGrid="0">
      <p:cViewPr varScale="1">
        <p:scale>
          <a:sx n="74" d="100"/>
          <a:sy n="74" d="100"/>
        </p:scale>
        <p:origin x="1013" y="77"/>
      </p:cViewPr>
      <p:guideLst>
        <p:guide orient="horz" pos="64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lison Pass (Valence Group Inc.)" userId="3bdd7fee-e623-47d0-9b6c-324afc1c37ca" providerId="ADAL" clId="{825661C0-0CF9-4D97-B175-A358EFE0ED63}"/>
    <pc:docChg chg="custSel delSld modSld modSection">
      <pc:chgData name="Allison Pass (Valence Group Inc.)" userId="3bdd7fee-e623-47d0-9b6c-324afc1c37ca" providerId="ADAL" clId="{825661C0-0CF9-4D97-B175-A358EFE0ED63}" dt="2021-06-04T14:43:41.903" v="49" actId="20577"/>
      <pc:docMkLst>
        <pc:docMk/>
      </pc:docMkLst>
      <pc:sldChg chg="modNotesTx">
        <pc:chgData name="Allison Pass (Valence Group Inc.)" userId="3bdd7fee-e623-47d0-9b6c-324afc1c37ca" providerId="ADAL" clId="{825661C0-0CF9-4D97-B175-A358EFE0ED63}" dt="2021-06-04T14:02:32.415" v="0" actId="20577"/>
        <pc:sldMkLst>
          <pc:docMk/>
          <pc:sldMk cId="1191690117" sldId="261"/>
        </pc:sldMkLst>
      </pc:sldChg>
      <pc:sldChg chg="delSp del mod">
        <pc:chgData name="Allison Pass (Valence Group Inc.)" userId="3bdd7fee-e623-47d0-9b6c-324afc1c37ca" providerId="ADAL" clId="{825661C0-0CF9-4D97-B175-A358EFE0ED63}" dt="2021-06-04T14:16:13.996" v="47" actId="47"/>
        <pc:sldMkLst>
          <pc:docMk/>
          <pc:sldMk cId="510685341" sldId="265"/>
        </pc:sldMkLst>
        <pc:spChg chg="del">
          <ac:chgData name="Allison Pass (Valence Group Inc.)" userId="3bdd7fee-e623-47d0-9b6c-324afc1c37ca" providerId="ADAL" clId="{825661C0-0CF9-4D97-B175-A358EFE0ED63}" dt="2021-06-04T14:14:45.928" v="22" actId="478"/>
          <ac:spMkLst>
            <pc:docMk/>
            <pc:sldMk cId="510685341" sldId="265"/>
            <ac:spMk id="3" creationId="{CD44D8D1-46DC-4F67-9BFB-470F829F7DDD}"/>
          </ac:spMkLst>
        </pc:spChg>
      </pc:sldChg>
      <pc:sldChg chg="addSp delSp modSp mod modShow modNotesTx">
        <pc:chgData name="Allison Pass (Valence Group Inc.)" userId="3bdd7fee-e623-47d0-9b6c-324afc1c37ca" providerId="ADAL" clId="{825661C0-0CF9-4D97-B175-A358EFE0ED63}" dt="2021-06-04T14:43:41.903" v="49" actId="20577"/>
        <pc:sldMkLst>
          <pc:docMk/>
          <pc:sldMk cId="256260593" sldId="2143187713"/>
        </pc:sldMkLst>
        <pc:spChg chg="add mod">
          <ac:chgData name="Allison Pass (Valence Group Inc.)" userId="3bdd7fee-e623-47d0-9b6c-324afc1c37ca" providerId="ADAL" clId="{825661C0-0CF9-4D97-B175-A358EFE0ED63}" dt="2021-06-04T14:16:07.008" v="46" actId="403"/>
          <ac:spMkLst>
            <pc:docMk/>
            <pc:sldMk cId="256260593" sldId="2143187713"/>
            <ac:spMk id="6" creationId="{4EDB2DF7-BFB5-4719-8652-642DBB596462}"/>
          </ac:spMkLst>
        </pc:spChg>
        <pc:spChg chg="mod">
          <ac:chgData name="Allison Pass (Valence Group Inc.)" userId="3bdd7fee-e623-47d0-9b6c-324afc1c37ca" providerId="ADAL" clId="{825661C0-0CF9-4D97-B175-A358EFE0ED63}" dt="2021-06-04T14:14:36.510" v="21" actId="20577"/>
          <ac:spMkLst>
            <pc:docMk/>
            <pc:sldMk cId="256260593" sldId="2143187713"/>
            <ac:spMk id="26" creationId="{E83333BA-610C-BC4C-92F9-EF9E104CB538}"/>
          </ac:spMkLst>
        </pc:spChg>
        <pc:spChg chg="del">
          <ac:chgData name="Allison Pass (Valence Group Inc.)" userId="3bdd7fee-e623-47d0-9b6c-324afc1c37ca" providerId="ADAL" clId="{825661C0-0CF9-4D97-B175-A358EFE0ED63}" dt="2021-06-04T14:15:39.970" v="23" actId="931"/>
          <ac:spMkLst>
            <pc:docMk/>
            <pc:sldMk cId="256260593" sldId="2143187713"/>
            <ac:spMk id="27" creationId="{1E9FD645-D25D-084D-AE15-1DCCD7C74785}"/>
          </ac:spMkLst>
        </pc:spChg>
        <pc:picChg chg="add mod">
          <ac:chgData name="Allison Pass (Valence Group Inc.)" userId="3bdd7fee-e623-47d0-9b6c-324afc1c37ca" providerId="ADAL" clId="{825661C0-0CF9-4D97-B175-A358EFE0ED63}" dt="2021-06-04T14:15:42.560" v="24" actId="27614"/>
          <ac:picMkLst>
            <pc:docMk/>
            <pc:sldMk cId="256260593" sldId="2143187713"/>
            <ac:picMk id="4" creationId="{04E8EB32-DA08-4201-B643-E2284811A33F}"/>
          </ac:picMkLst>
        </pc:picChg>
      </pc:sldChg>
    </pc:docChg>
  </pc:docChgLst>
  <pc:docChgLst>
    <pc:chgData name="Allison Pass" userId="3bdd7fee-e623-47d0-9b6c-324afc1c37ca" providerId="ADAL" clId="{825661C0-0CF9-4D97-B175-A358EFE0ED63}"/>
    <pc:docChg chg="undo custSel addSld delSld modSld sldOrd addSection delSection modSection">
      <pc:chgData name="Allison Pass" userId="3bdd7fee-e623-47d0-9b6c-324afc1c37ca" providerId="ADAL" clId="{825661C0-0CF9-4D97-B175-A358EFE0ED63}" dt="2021-05-26T23:21:16.597" v="451" actId="20577"/>
      <pc:docMkLst>
        <pc:docMk/>
      </pc:docMkLst>
      <pc:sldChg chg="modNotesTx">
        <pc:chgData name="Allison Pass" userId="3bdd7fee-e623-47d0-9b6c-324afc1c37ca" providerId="ADAL" clId="{825661C0-0CF9-4D97-B175-A358EFE0ED63}" dt="2021-05-25T22:23:25.450" v="368"/>
        <pc:sldMkLst>
          <pc:docMk/>
          <pc:sldMk cId="1191690117" sldId="261"/>
        </pc:sldMkLst>
      </pc:sldChg>
      <pc:sldChg chg="addSp modSp mod modNotesTx">
        <pc:chgData name="Allison Pass" userId="3bdd7fee-e623-47d0-9b6c-324afc1c37ca" providerId="ADAL" clId="{825661C0-0CF9-4D97-B175-A358EFE0ED63}" dt="2021-05-26T23:21:16.597" v="451" actId="20577"/>
        <pc:sldMkLst>
          <pc:docMk/>
          <pc:sldMk cId="510685341" sldId="265"/>
        </pc:sldMkLst>
        <pc:spChg chg="mod">
          <ac:chgData name="Allison Pass" userId="3bdd7fee-e623-47d0-9b6c-324afc1c37ca" providerId="ADAL" clId="{825661C0-0CF9-4D97-B175-A358EFE0ED63}" dt="2021-05-11T22:22:40.743" v="137" actId="20577"/>
          <ac:spMkLst>
            <pc:docMk/>
            <pc:sldMk cId="510685341" sldId="265"/>
            <ac:spMk id="2" creationId="{80EE6418-467C-4540-83DE-6339461AFDC4}"/>
          </ac:spMkLst>
        </pc:spChg>
        <pc:spChg chg="add mod">
          <ac:chgData name="Allison Pass" userId="3bdd7fee-e623-47d0-9b6c-324afc1c37ca" providerId="ADAL" clId="{825661C0-0CF9-4D97-B175-A358EFE0ED63}" dt="2021-05-25T22:29:55.292" v="400" actId="1076"/>
          <ac:spMkLst>
            <pc:docMk/>
            <pc:sldMk cId="510685341" sldId="265"/>
            <ac:spMk id="3" creationId="{CD44D8D1-46DC-4F67-9BFB-470F829F7DDD}"/>
          </ac:spMkLst>
        </pc:spChg>
      </pc:sldChg>
      <pc:sldChg chg="delSp modSp mod ord modNotesTx">
        <pc:chgData name="Allison Pass" userId="3bdd7fee-e623-47d0-9b6c-324afc1c37ca" providerId="ADAL" clId="{825661C0-0CF9-4D97-B175-A358EFE0ED63}" dt="2021-05-24T19:34:53.421" v="160"/>
        <pc:sldMkLst>
          <pc:docMk/>
          <pc:sldMk cId="636219663" sldId="2076137511"/>
        </pc:sldMkLst>
        <pc:spChg chg="mod">
          <ac:chgData name="Allison Pass" userId="3bdd7fee-e623-47d0-9b6c-324afc1c37ca" providerId="ADAL" clId="{825661C0-0CF9-4D97-B175-A358EFE0ED63}" dt="2021-05-11T22:45:54.282" v="145" actId="1076"/>
          <ac:spMkLst>
            <pc:docMk/>
            <pc:sldMk cId="636219663" sldId="2076137511"/>
            <ac:spMk id="65" creationId="{8321E0B3-3D90-4CE2-BF08-F6D8F757EA94}"/>
          </ac:spMkLst>
        </pc:spChg>
        <pc:spChg chg="mod">
          <ac:chgData name="Allison Pass" userId="3bdd7fee-e623-47d0-9b6c-324afc1c37ca" providerId="ADAL" clId="{825661C0-0CF9-4D97-B175-A358EFE0ED63}" dt="2021-05-11T22:45:47.961" v="144" actId="1076"/>
          <ac:spMkLst>
            <pc:docMk/>
            <pc:sldMk cId="636219663" sldId="2076137511"/>
            <ac:spMk id="66" creationId="{0E59B5B8-0465-4864-BEC8-8CC46E06E594}"/>
          </ac:spMkLst>
        </pc:spChg>
        <pc:spChg chg="mod">
          <ac:chgData name="Allison Pass" userId="3bdd7fee-e623-47d0-9b6c-324afc1c37ca" providerId="ADAL" clId="{825661C0-0CF9-4D97-B175-A358EFE0ED63}" dt="2021-05-11T22:45:47.961" v="144" actId="1076"/>
          <ac:spMkLst>
            <pc:docMk/>
            <pc:sldMk cId="636219663" sldId="2076137511"/>
            <ac:spMk id="67" creationId="{E3A5041E-E463-4CD0-BF35-E7D85F464B90}"/>
          </ac:spMkLst>
        </pc:spChg>
        <pc:spChg chg="mod">
          <ac:chgData name="Allison Pass" userId="3bdd7fee-e623-47d0-9b6c-324afc1c37ca" providerId="ADAL" clId="{825661C0-0CF9-4D97-B175-A358EFE0ED63}" dt="2021-05-11T22:45:47.961" v="144" actId="1076"/>
          <ac:spMkLst>
            <pc:docMk/>
            <pc:sldMk cId="636219663" sldId="2076137511"/>
            <ac:spMk id="68" creationId="{B0EB1430-1A71-42B9-8A31-0FB8B96436C8}"/>
          </ac:spMkLst>
        </pc:spChg>
        <pc:spChg chg="mod">
          <ac:chgData name="Allison Pass" userId="3bdd7fee-e623-47d0-9b6c-324afc1c37ca" providerId="ADAL" clId="{825661C0-0CF9-4D97-B175-A358EFE0ED63}" dt="2021-05-11T22:45:47.961" v="144" actId="1076"/>
          <ac:spMkLst>
            <pc:docMk/>
            <pc:sldMk cId="636219663" sldId="2076137511"/>
            <ac:spMk id="69" creationId="{8EA92DED-3397-4BD7-A8B6-08B079EE7956}"/>
          </ac:spMkLst>
        </pc:spChg>
        <pc:spChg chg="mod">
          <ac:chgData name="Allison Pass" userId="3bdd7fee-e623-47d0-9b6c-324afc1c37ca" providerId="ADAL" clId="{825661C0-0CF9-4D97-B175-A358EFE0ED63}" dt="2021-05-11T22:45:47.961" v="144" actId="1076"/>
          <ac:spMkLst>
            <pc:docMk/>
            <pc:sldMk cId="636219663" sldId="2076137511"/>
            <ac:spMk id="76" creationId="{7F05778E-4C03-43DC-8F1F-D8DD370E8EE5}"/>
          </ac:spMkLst>
        </pc:spChg>
        <pc:spChg chg="mod">
          <ac:chgData name="Allison Pass" userId="3bdd7fee-e623-47d0-9b6c-324afc1c37ca" providerId="ADAL" clId="{825661C0-0CF9-4D97-B175-A358EFE0ED63}" dt="2021-05-11T22:45:47.961" v="144" actId="1076"/>
          <ac:spMkLst>
            <pc:docMk/>
            <pc:sldMk cId="636219663" sldId="2076137511"/>
            <ac:spMk id="77" creationId="{7B455775-61E9-4B87-A657-7CE7D30F6056}"/>
          </ac:spMkLst>
        </pc:spChg>
        <pc:spChg chg="mod">
          <ac:chgData name="Allison Pass" userId="3bdd7fee-e623-47d0-9b6c-324afc1c37ca" providerId="ADAL" clId="{825661C0-0CF9-4D97-B175-A358EFE0ED63}" dt="2021-05-11T22:45:47.961" v="144" actId="1076"/>
          <ac:spMkLst>
            <pc:docMk/>
            <pc:sldMk cId="636219663" sldId="2076137511"/>
            <ac:spMk id="78" creationId="{896B26C0-9C2D-4587-BD6D-6F7AA4D17BB5}"/>
          </ac:spMkLst>
        </pc:spChg>
        <pc:spChg chg="mod">
          <ac:chgData name="Allison Pass" userId="3bdd7fee-e623-47d0-9b6c-324afc1c37ca" providerId="ADAL" clId="{825661C0-0CF9-4D97-B175-A358EFE0ED63}" dt="2021-05-11T22:45:47.961" v="144" actId="1076"/>
          <ac:spMkLst>
            <pc:docMk/>
            <pc:sldMk cId="636219663" sldId="2076137511"/>
            <ac:spMk id="79" creationId="{18AA9DC8-F944-4B1B-A1E2-F21661DA54B1}"/>
          </ac:spMkLst>
        </pc:spChg>
        <pc:spChg chg="mod">
          <ac:chgData name="Allison Pass" userId="3bdd7fee-e623-47d0-9b6c-324afc1c37ca" providerId="ADAL" clId="{825661C0-0CF9-4D97-B175-A358EFE0ED63}" dt="2021-05-11T22:45:47.961" v="144" actId="1076"/>
          <ac:spMkLst>
            <pc:docMk/>
            <pc:sldMk cId="636219663" sldId="2076137511"/>
            <ac:spMk id="80" creationId="{DCAF690A-A1A9-429D-8313-A633F7BC59E4}"/>
          </ac:spMkLst>
        </pc:spChg>
        <pc:spChg chg="mod">
          <ac:chgData name="Allison Pass" userId="3bdd7fee-e623-47d0-9b6c-324afc1c37ca" providerId="ADAL" clId="{825661C0-0CF9-4D97-B175-A358EFE0ED63}" dt="2021-05-11T22:45:47.961" v="144" actId="1076"/>
          <ac:spMkLst>
            <pc:docMk/>
            <pc:sldMk cId="636219663" sldId="2076137511"/>
            <ac:spMk id="81" creationId="{94F6D2A0-66B8-44E0-964A-BD8D192E6503}"/>
          </ac:spMkLst>
        </pc:spChg>
        <pc:spChg chg="mod">
          <ac:chgData name="Allison Pass" userId="3bdd7fee-e623-47d0-9b6c-324afc1c37ca" providerId="ADAL" clId="{825661C0-0CF9-4D97-B175-A358EFE0ED63}" dt="2021-05-11T22:45:47.961" v="144" actId="1076"/>
          <ac:spMkLst>
            <pc:docMk/>
            <pc:sldMk cId="636219663" sldId="2076137511"/>
            <ac:spMk id="82" creationId="{B1BD8B53-769F-4ED0-8558-02B1CF53D842}"/>
          </ac:spMkLst>
        </pc:spChg>
        <pc:spChg chg="mod">
          <ac:chgData name="Allison Pass" userId="3bdd7fee-e623-47d0-9b6c-324afc1c37ca" providerId="ADAL" clId="{825661C0-0CF9-4D97-B175-A358EFE0ED63}" dt="2021-05-11T22:45:47.961" v="144" actId="1076"/>
          <ac:spMkLst>
            <pc:docMk/>
            <pc:sldMk cId="636219663" sldId="2076137511"/>
            <ac:spMk id="83" creationId="{69BC6472-C9B8-4077-BBF7-EFC5A9A18EA6}"/>
          </ac:spMkLst>
        </pc:spChg>
        <pc:spChg chg="mod">
          <ac:chgData name="Allison Pass" userId="3bdd7fee-e623-47d0-9b6c-324afc1c37ca" providerId="ADAL" clId="{825661C0-0CF9-4D97-B175-A358EFE0ED63}" dt="2021-05-11T22:45:47.961" v="144" actId="1076"/>
          <ac:spMkLst>
            <pc:docMk/>
            <pc:sldMk cId="636219663" sldId="2076137511"/>
            <ac:spMk id="84" creationId="{A77BA675-3A13-4C68-90BB-78BB9C8CE2BF}"/>
          </ac:spMkLst>
        </pc:spChg>
        <pc:spChg chg="mod">
          <ac:chgData name="Allison Pass" userId="3bdd7fee-e623-47d0-9b6c-324afc1c37ca" providerId="ADAL" clId="{825661C0-0CF9-4D97-B175-A358EFE0ED63}" dt="2021-05-11T22:45:47.961" v="144" actId="1076"/>
          <ac:spMkLst>
            <pc:docMk/>
            <pc:sldMk cId="636219663" sldId="2076137511"/>
            <ac:spMk id="88" creationId="{3171191B-2A7D-4738-AE13-2DEACD5C36B4}"/>
          </ac:spMkLst>
        </pc:spChg>
        <pc:spChg chg="mod">
          <ac:chgData name="Allison Pass" userId="3bdd7fee-e623-47d0-9b6c-324afc1c37ca" providerId="ADAL" clId="{825661C0-0CF9-4D97-B175-A358EFE0ED63}" dt="2021-05-11T22:45:47.961" v="144" actId="1076"/>
          <ac:spMkLst>
            <pc:docMk/>
            <pc:sldMk cId="636219663" sldId="2076137511"/>
            <ac:spMk id="91" creationId="{C1580704-47BC-44D0-A5EB-FF944C3C1C17}"/>
          </ac:spMkLst>
        </pc:spChg>
        <pc:spChg chg="mod">
          <ac:chgData name="Allison Pass" userId="3bdd7fee-e623-47d0-9b6c-324afc1c37ca" providerId="ADAL" clId="{825661C0-0CF9-4D97-B175-A358EFE0ED63}" dt="2021-05-11T22:45:47.961" v="144" actId="1076"/>
          <ac:spMkLst>
            <pc:docMk/>
            <pc:sldMk cId="636219663" sldId="2076137511"/>
            <ac:spMk id="92" creationId="{5ED78EBF-DDDD-44D7-9838-1EFCFB7E75FC}"/>
          </ac:spMkLst>
        </pc:spChg>
        <pc:spChg chg="mod">
          <ac:chgData name="Allison Pass" userId="3bdd7fee-e623-47d0-9b6c-324afc1c37ca" providerId="ADAL" clId="{825661C0-0CF9-4D97-B175-A358EFE0ED63}" dt="2021-05-11T22:45:47.961" v="144" actId="1076"/>
          <ac:spMkLst>
            <pc:docMk/>
            <pc:sldMk cId="636219663" sldId="2076137511"/>
            <ac:spMk id="94" creationId="{17495A5D-9E74-46E5-B164-CFC0A7258026}"/>
          </ac:spMkLst>
        </pc:spChg>
        <pc:spChg chg="mod">
          <ac:chgData name="Allison Pass" userId="3bdd7fee-e623-47d0-9b6c-324afc1c37ca" providerId="ADAL" clId="{825661C0-0CF9-4D97-B175-A358EFE0ED63}" dt="2021-05-11T22:45:47.961" v="144" actId="1076"/>
          <ac:spMkLst>
            <pc:docMk/>
            <pc:sldMk cId="636219663" sldId="2076137511"/>
            <ac:spMk id="96" creationId="{586F44F0-AA35-45A5-A50B-6D0CC005C6DB}"/>
          </ac:spMkLst>
        </pc:spChg>
        <pc:spChg chg="mod">
          <ac:chgData name="Allison Pass" userId="3bdd7fee-e623-47d0-9b6c-324afc1c37ca" providerId="ADAL" clId="{825661C0-0CF9-4D97-B175-A358EFE0ED63}" dt="2021-05-11T22:45:47.961" v="144" actId="1076"/>
          <ac:spMkLst>
            <pc:docMk/>
            <pc:sldMk cId="636219663" sldId="2076137511"/>
            <ac:spMk id="97" creationId="{38601C6D-2114-4837-A90D-A0CA89556922}"/>
          </ac:spMkLst>
        </pc:spChg>
        <pc:spChg chg="mod">
          <ac:chgData name="Allison Pass" userId="3bdd7fee-e623-47d0-9b6c-324afc1c37ca" providerId="ADAL" clId="{825661C0-0CF9-4D97-B175-A358EFE0ED63}" dt="2021-05-11T22:45:47.961" v="144" actId="1076"/>
          <ac:spMkLst>
            <pc:docMk/>
            <pc:sldMk cId="636219663" sldId="2076137511"/>
            <ac:spMk id="98" creationId="{D8B2EB1C-29ED-4A39-92DD-E7BC20E00670}"/>
          </ac:spMkLst>
        </pc:spChg>
        <pc:spChg chg="mod">
          <ac:chgData name="Allison Pass" userId="3bdd7fee-e623-47d0-9b6c-324afc1c37ca" providerId="ADAL" clId="{825661C0-0CF9-4D97-B175-A358EFE0ED63}" dt="2021-05-11T22:45:47.961" v="144" actId="1076"/>
          <ac:spMkLst>
            <pc:docMk/>
            <pc:sldMk cId="636219663" sldId="2076137511"/>
            <ac:spMk id="99" creationId="{28D7A8A0-3445-4B97-B0D1-B25531276247}"/>
          </ac:spMkLst>
        </pc:spChg>
        <pc:spChg chg="mod">
          <ac:chgData name="Allison Pass" userId="3bdd7fee-e623-47d0-9b6c-324afc1c37ca" providerId="ADAL" clId="{825661C0-0CF9-4D97-B175-A358EFE0ED63}" dt="2021-05-11T22:45:47.961" v="144" actId="1076"/>
          <ac:spMkLst>
            <pc:docMk/>
            <pc:sldMk cId="636219663" sldId="2076137511"/>
            <ac:spMk id="100" creationId="{383F1D1E-6AB1-4ED2-8163-8080B413753D}"/>
          </ac:spMkLst>
        </pc:spChg>
        <pc:spChg chg="mod">
          <ac:chgData name="Allison Pass" userId="3bdd7fee-e623-47d0-9b6c-324afc1c37ca" providerId="ADAL" clId="{825661C0-0CF9-4D97-B175-A358EFE0ED63}" dt="2021-05-11T22:45:47.961" v="144" actId="1076"/>
          <ac:spMkLst>
            <pc:docMk/>
            <pc:sldMk cId="636219663" sldId="2076137511"/>
            <ac:spMk id="103" creationId="{A7D650F0-2531-43A2-9AD7-C9832098FB7F}"/>
          </ac:spMkLst>
        </pc:spChg>
        <pc:spChg chg="mod">
          <ac:chgData name="Allison Pass" userId="3bdd7fee-e623-47d0-9b6c-324afc1c37ca" providerId="ADAL" clId="{825661C0-0CF9-4D97-B175-A358EFE0ED63}" dt="2021-05-11T22:45:47.961" v="144" actId="1076"/>
          <ac:spMkLst>
            <pc:docMk/>
            <pc:sldMk cId="636219663" sldId="2076137511"/>
            <ac:spMk id="105" creationId="{308E9E81-BD7D-4540-9A08-12CF9BF6A26C}"/>
          </ac:spMkLst>
        </pc:spChg>
        <pc:spChg chg="mod">
          <ac:chgData name="Allison Pass" userId="3bdd7fee-e623-47d0-9b6c-324afc1c37ca" providerId="ADAL" clId="{825661C0-0CF9-4D97-B175-A358EFE0ED63}" dt="2021-05-11T22:45:47.961" v="144" actId="1076"/>
          <ac:spMkLst>
            <pc:docMk/>
            <pc:sldMk cId="636219663" sldId="2076137511"/>
            <ac:spMk id="106" creationId="{1AC0FEA9-874D-4632-A992-B63A231317DC}"/>
          </ac:spMkLst>
        </pc:spChg>
        <pc:spChg chg="mod">
          <ac:chgData name="Allison Pass" userId="3bdd7fee-e623-47d0-9b6c-324afc1c37ca" providerId="ADAL" clId="{825661C0-0CF9-4D97-B175-A358EFE0ED63}" dt="2021-05-11T22:45:47.961" v="144" actId="1076"/>
          <ac:spMkLst>
            <pc:docMk/>
            <pc:sldMk cId="636219663" sldId="2076137511"/>
            <ac:spMk id="107" creationId="{8800749A-D154-4114-A793-0B748CC4989A}"/>
          </ac:spMkLst>
        </pc:spChg>
        <pc:spChg chg="mod">
          <ac:chgData name="Allison Pass" userId="3bdd7fee-e623-47d0-9b6c-324afc1c37ca" providerId="ADAL" clId="{825661C0-0CF9-4D97-B175-A358EFE0ED63}" dt="2021-05-11T22:45:47.961" v="144" actId="1076"/>
          <ac:spMkLst>
            <pc:docMk/>
            <pc:sldMk cId="636219663" sldId="2076137511"/>
            <ac:spMk id="108" creationId="{4D8C8206-7215-4011-AE03-BA5ACA3A6C70}"/>
          </ac:spMkLst>
        </pc:spChg>
        <pc:spChg chg="mod">
          <ac:chgData name="Allison Pass" userId="3bdd7fee-e623-47d0-9b6c-324afc1c37ca" providerId="ADAL" clId="{825661C0-0CF9-4D97-B175-A358EFE0ED63}" dt="2021-05-11T22:45:47.961" v="144" actId="1076"/>
          <ac:spMkLst>
            <pc:docMk/>
            <pc:sldMk cId="636219663" sldId="2076137511"/>
            <ac:spMk id="109" creationId="{30F05F2E-FE50-49FB-B4B0-50CB22414EB5}"/>
          </ac:spMkLst>
        </pc:spChg>
        <pc:spChg chg="mod">
          <ac:chgData name="Allison Pass" userId="3bdd7fee-e623-47d0-9b6c-324afc1c37ca" providerId="ADAL" clId="{825661C0-0CF9-4D97-B175-A358EFE0ED63}" dt="2021-05-11T22:45:47.961" v="144" actId="1076"/>
          <ac:spMkLst>
            <pc:docMk/>
            <pc:sldMk cId="636219663" sldId="2076137511"/>
            <ac:spMk id="110" creationId="{7CE69CB8-1DEE-4990-804D-3BB5B4A7AD2B}"/>
          </ac:spMkLst>
        </pc:spChg>
        <pc:spChg chg="mod">
          <ac:chgData name="Allison Pass" userId="3bdd7fee-e623-47d0-9b6c-324afc1c37ca" providerId="ADAL" clId="{825661C0-0CF9-4D97-B175-A358EFE0ED63}" dt="2021-05-11T22:45:47.961" v="144" actId="1076"/>
          <ac:spMkLst>
            <pc:docMk/>
            <pc:sldMk cId="636219663" sldId="2076137511"/>
            <ac:spMk id="111" creationId="{400C6B08-CC1B-4A9F-8AAB-387C22D02E98}"/>
          </ac:spMkLst>
        </pc:spChg>
        <pc:spChg chg="mod">
          <ac:chgData name="Allison Pass" userId="3bdd7fee-e623-47d0-9b6c-324afc1c37ca" providerId="ADAL" clId="{825661C0-0CF9-4D97-B175-A358EFE0ED63}" dt="2021-05-11T22:45:47.961" v="144" actId="1076"/>
          <ac:spMkLst>
            <pc:docMk/>
            <pc:sldMk cId="636219663" sldId="2076137511"/>
            <ac:spMk id="112" creationId="{5111180D-3A21-40AC-AD2F-D3E57A2ACD2C}"/>
          </ac:spMkLst>
        </pc:spChg>
        <pc:spChg chg="mod">
          <ac:chgData name="Allison Pass" userId="3bdd7fee-e623-47d0-9b6c-324afc1c37ca" providerId="ADAL" clId="{825661C0-0CF9-4D97-B175-A358EFE0ED63}" dt="2021-05-11T22:45:47.961" v="144" actId="1076"/>
          <ac:spMkLst>
            <pc:docMk/>
            <pc:sldMk cId="636219663" sldId="2076137511"/>
            <ac:spMk id="113" creationId="{E328E853-4C0D-4F9F-AC54-0121E5B8EF4C}"/>
          </ac:spMkLst>
        </pc:spChg>
        <pc:spChg chg="mod">
          <ac:chgData name="Allison Pass" userId="3bdd7fee-e623-47d0-9b6c-324afc1c37ca" providerId="ADAL" clId="{825661C0-0CF9-4D97-B175-A358EFE0ED63}" dt="2021-05-11T22:45:47.961" v="144" actId="1076"/>
          <ac:spMkLst>
            <pc:docMk/>
            <pc:sldMk cId="636219663" sldId="2076137511"/>
            <ac:spMk id="114" creationId="{8AC92562-D9D0-4520-A2A2-727DAFA1BB19}"/>
          </ac:spMkLst>
        </pc:spChg>
        <pc:spChg chg="mod">
          <ac:chgData name="Allison Pass" userId="3bdd7fee-e623-47d0-9b6c-324afc1c37ca" providerId="ADAL" clId="{825661C0-0CF9-4D97-B175-A358EFE0ED63}" dt="2021-05-11T22:45:47.961" v="144" actId="1076"/>
          <ac:spMkLst>
            <pc:docMk/>
            <pc:sldMk cId="636219663" sldId="2076137511"/>
            <ac:spMk id="116" creationId="{062AEE54-2F82-42F3-981A-1C9263FA3803}"/>
          </ac:spMkLst>
        </pc:spChg>
        <pc:spChg chg="mod">
          <ac:chgData name="Allison Pass" userId="3bdd7fee-e623-47d0-9b6c-324afc1c37ca" providerId="ADAL" clId="{825661C0-0CF9-4D97-B175-A358EFE0ED63}" dt="2021-05-11T22:45:47.961" v="144" actId="1076"/>
          <ac:spMkLst>
            <pc:docMk/>
            <pc:sldMk cId="636219663" sldId="2076137511"/>
            <ac:spMk id="118" creationId="{B39B662D-30CB-4E29-B73C-10719A2D47C3}"/>
          </ac:spMkLst>
        </pc:spChg>
        <pc:spChg chg="mod">
          <ac:chgData name="Allison Pass" userId="3bdd7fee-e623-47d0-9b6c-324afc1c37ca" providerId="ADAL" clId="{825661C0-0CF9-4D97-B175-A358EFE0ED63}" dt="2021-05-11T22:45:47.961" v="144" actId="1076"/>
          <ac:spMkLst>
            <pc:docMk/>
            <pc:sldMk cId="636219663" sldId="2076137511"/>
            <ac:spMk id="120" creationId="{34C05B09-9119-4EB8-95D1-1B17B2E8CFEC}"/>
          </ac:spMkLst>
        </pc:spChg>
        <pc:spChg chg="mod">
          <ac:chgData name="Allison Pass" userId="3bdd7fee-e623-47d0-9b6c-324afc1c37ca" providerId="ADAL" clId="{825661C0-0CF9-4D97-B175-A358EFE0ED63}" dt="2021-05-11T22:45:47.961" v="144" actId="1076"/>
          <ac:spMkLst>
            <pc:docMk/>
            <pc:sldMk cId="636219663" sldId="2076137511"/>
            <ac:spMk id="123" creationId="{92CC3FC2-A3A1-4AD6-9FD2-77A08238A7AE}"/>
          </ac:spMkLst>
        </pc:spChg>
        <pc:spChg chg="mod">
          <ac:chgData name="Allison Pass" userId="3bdd7fee-e623-47d0-9b6c-324afc1c37ca" providerId="ADAL" clId="{825661C0-0CF9-4D97-B175-A358EFE0ED63}" dt="2021-05-11T22:45:47.961" v="144" actId="1076"/>
          <ac:spMkLst>
            <pc:docMk/>
            <pc:sldMk cId="636219663" sldId="2076137511"/>
            <ac:spMk id="125" creationId="{3B493694-1CDF-4D7A-8BFF-7886FCACF651}"/>
          </ac:spMkLst>
        </pc:spChg>
        <pc:spChg chg="mod">
          <ac:chgData name="Allison Pass" userId="3bdd7fee-e623-47d0-9b6c-324afc1c37ca" providerId="ADAL" clId="{825661C0-0CF9-4D97-B175-A358EFE0ED63}" dt="2021-05-11T22:45:47.961" v="144" actId="1076"/>
          <ac:spMkLst>
            <pc:docMk/>
            <pc:sldMk cId="636219663" sldId="2076137511"/>
            <ac:spMk id="126" creationId="{B4B91FA4-ADBE-45B9-B0E3-33951348AC34}"/>
          </ac:spMkLst>
        </pc:spChg>
        <pc:spChg chg="mod">
          <ac:chgData name="Allison Pass" userId="3bdd7fee-e623-47d0-9b6c-324afc1c37ca" providerId="ADAL" clId="{825661C0-0CF9-4D97-B175-A358EFE0ED63}" dt="2021-05-11T22:45:47.961" v="144" actId="1076"/>
          <ac:spMkLst>
            <pc:docMk/>
            <pc:sldMk cId="636219663" sldId="2076137511"/>
            <ac:spMk id="127" creationId="{010142F7-C80E-4234-9A70-12905BFCC04B}"/>
          </ac:spMkLst>
        </pc:spChg>
        <pc:spChg chg="del">
          <ac:chgData name="Allison Pass" userId="3bdd7fee-e623-47d0-9b6c-324afc1c37ca" providerId="ADAL" clId="{825661C0-0CF9-4D97-B175-A358EFE0ED63}" dt="2021-05-11T22:44:25.573" v="141" actId="478"/>
          <ac:spMkLst>
            <pc:docMk/>
            <pc:sldMk cId="636219663" sldId="2076137511"/>
            <ac:spMk id="128" creationId="{62C89058-DDEA-4B0C-9D9D-B705D9AE2EC5}"/>
          </ac:spMkLst>
        </pc:spChg>
        <pc:grpChg chg="mod">
          <ac:chgData name="Allison Pass" userId="3bdd7fee-e623-47d0-9b6c-324afc1c37ca" providerId="ADAL" clId="{825661C0-0CF9-4D97-B175-A358EFE0ED63}" dt="2021-05-11T22:45:47.961" v="144" actId="1076"/>
          <ac:grpSpMkLst>
            <pc:docMk/>
            <pc:sldMk cId="636219663" sldId="2076137511"/>
            <ac:grpSpMk id="93" creationId="{D584B007-5128-42A5-BB1F-849FAC2EB5FB}"/>
          </ac:grpSpMkLst>
        </pc:grpChg>
        <pc:grpChg chg="mod">
          <ac:chgData name="Allison Pass" userId="3bdd7fee-e623-47d0-9b6c-324afc1c37ca" providerId="ADAL" clId="{825661C0-0CF9-4D97-B175-A358EFE0ED63}" dt="2021-05-11T22:45:47.961" v="144" actId="1076"/>
          <ac:grpSpMkLst>
            <pc:docMk/>
            <pc:sldMk cId="636219663" sldId="2076137511"/>
            <ac:grpSpMk id="95" creationId="{732B88F7-7244-41A9-9085-4FC7FD551F04}"/>
          </ac:grpSpMkLst>
        </pc:grpChg>
        <pc:grpChg chg="mod">
          <ac:chgData name="Allison Pass" userId="3bdd7fee-e623-47d0-9b6c-324afc1c37ca" providerId="ADAL" clId="{825661C0-0CF9-4D97-B175-A358EFE0ED63}" dt="2021-05-11T22:45:47.961" v="144" actId="1076"/>
          <ac:grpSpMkLst>
            <pc:docMk/>
            <pc:sldMk cId="636219663" sldId="2076137511"/>
            <ac:grpSpMk id="102" creationId="{753FCA57-2B32-4610-B47A-9FF205E53A7F}"/>
          </ac:grpSpMkLst>
        </pc:grpChg>
        <pc:grpChg chg="mod">
          <ac:chgData name="Allison Pass" userId="3bdd7fee-e623-47d0-9b6c-324afc1c37ca" providerId="ADAL" clId="{825661C0-0CF9-4D97-B175-A358EFE0ED63}" dt="2021-05-11T22:45:47.961" v="144" actId="1076"/>
          <ac:grpSpMkLst>
            <pc:docMk/>
            <pc:sldMk cId="636219663" sldId="2076137511"/>
            <ac:grpSpMk id="104" creationId="{D8675F19-56C8-4111-8994-1B1CE85EE519}"/>
          </ac:grpSpMkLst>
        </pc:grpChg>
        <pc:picChg chg="mod">
          <ac:chgData name="Allison Pass" userId="3bdd7fee-e623-47d0-9b6c-324afc1c37ca" providerId="ADAL" clId="{825661C0-0CF9-4D97-B175-A358EFE0ED63}" dt="2021-05-11T22:45:47.961" v="144" actId="1076"/>
          <ac:picMkLst>
            <pc:docMk/>
            <pc:sldMk cId="636219663" sldId="2076137511"/>
            <ac:picMk id="70" creationId="{A6D6CA72-D118-4A0E-9F36-AA0B46636B17}"/>
          </ac:picMkLst>
        </pc:picChg>
        <pc:picChg chg="mod">
          <ac:chgData name="Allison Pass" userId="3bdd7fee-e623-47d0-9b6c-324afc1c37ca" providerId="ADAL" clId="{825661C0-0CF9-4D97-B175-A358EFE0ED63}" dt="2021-05-11T22:45:47.961" v="144" actId="1076"/>
          <ac:picMkLst>
            <pc:docMk/>
            <pc:sldMk cId="636219663" sldId="2076137511"/>
            <ac:picMk id="71" creationId="{997B960E-3E30-4AAF-94E5-E47253DBC64B}"/>
          </ac:picMkLst>
        </pc:picChg>
        <pc:picChg chg="mod">
          <ac:chgData name="Allison Pass" userId="3bdd7fee-e623-47d0-9b6c-324afc1c37ca" providerId="ADAL" clId="{825661C0-0CF9-4D97-B175-A358EFE0ED63}" dt="2021-05-11T22:45:47.961" v="144" actId="1076"/>
          <ac:picMkLst>
            <pc:docMk/>
            <pc:sldMk cId="636219663" sldId="2076137511"/>
            <ac:picMk id="72" creationId="{3F32D4E4-A636-4205-BEA3-168E9AACF2F0}"/>
          </ac:picMkLst>
        </pc:picChg>
        <pc:picChg chg="mod">
          <ac:chgData name="Allison Pass" userId="3bdd7fee-e623-47d0-9b6c-324afc1c37ca" providerId="ADAL" clId="{825661C0-0CF9-4D97-B175-A358EFE0ED63}" dt="2021-05-11T22:45:47.961" v="144" actId="1076"/>
          <ac:picMkLst>
            <pc:docMk/>
            <pc:sldMk cId="636219663" sldId="2076137511"/>
            <ac:picMk id="85" creationId="{14565DED-BED1-4EAD-9B9C-2B5D839F6BC3}"/>
          </ac:picMkLst>
        </pc:picChg>
        <pc:picChg chg="mod">
          <ac:chgData name="Allison Pass" userId="3bdd7fee-e623-47d0-9b6c-324afc1c37ca" providerId="ADAL" clId="{825661C0-0CF9-4D97-B175-A358EFE0ED63}" dt="2021-05-11T22:45:47.961" v="144" actId="1076"/>
          <ac:picMkLst>
            <pc:docMk/>
            <pc:sldMk cId="636219663" sldId="2076137511"/>
            <ac:picMk id="86" creationId="{C5A6BC84-4DE9-47F7-87DC-2489CAF3C00D}"/>
          </ac:picMkLst>
        </pc:picChg>
        <pc:picChg chg="mod">
          <ac:chgData name="Allison Pass" userId="3bdd7fee-e623-47d0-9b6c-324afc1c37ca" providerId="ADAL" clId="{825661C0-0CF9-4D97-B175-A358EFE0ED63}" dt="2021-05-11T22:45:47.961" v="144" actId="1076"/>
          <ac:picMkLst>
            <pc:docMk/>
            <pc:sldMk cId="636219663" sldId="2076137511"/>
            <ac:picMk id="87" creationId="{99BE817C-950D-4F46-8FFE-AF231464FF6D}"/>
          </ac:picMkLst>
        </pc:picChg>
        <pc:picChg chg="mod">
          <ac:chgData name="Allison Pass" userId="3bdd7fee-e623-47d0-9b6c-324afc1c37ca" providerId="ADAL" clId="{825661C0-0CF9-4D97-B175-A358EFE0ED63}" dt="2021-05-11T22:45:47.961" v="144" actId="1076"/>
          <ac:picMkLst>
            <pc:docMk/>
            <pc:sldMk cId="636219663" sldId="2076137511"/>
            <ac:picMk id="101" creationId="{D62ABBA3-9913-48B8-AFD2-C614F8508272}"/>
          </ac:picMkLst>
        </pc:picChg>
        <pc:picChg chg="mod">
          <ac:chgData name="Allison Pass" userId="3bdd7fee-e623-47d0-9b6c-324afc1c37ca" providerId="ADAL" clId="{825661C0-0CF9-4D97-B175-A358EFE0ED63}" dt="2021-05-11T22:45:47.961" v="144" actId="1076"/>
          <ac:picMkLst>
            <pc:docMk/>
            <pc:sldMk cId="636219663" sldId="2076137511"/>
            <ac:picMk id="124" creationId="{94E1E708-1452-443F-BF08-7F1B0FBE5BF8}"/>
          </ac:picMkLst>
        </pc:picChg>
        <pc:cxnChg chg="mod">
          <ac:chgData name="Allison Pass" userId="3bdd7fee-e623-47d0-9b6c-324afc1c37ca" providerId="ADAL" clId="{825661C0-0CF9-4D97-B175-A358EFE0ED63}" dt="2021-05-11T22:45:47.961" v="144" actId="1076"/>
          <ac:cxnSpMkLst>
            <pc:docMk/>
            <pc:sldMk cId="636219663" sldId="2076137511"/>
            <ac:cxnSpMk id="73" creationId="{53E2A2F4-D8CC-48E3-86CB-AF5992A0BB91}"/>
          </ac:cxnSpMkLst>
        </pc:cxnChg>
        <pc:cxnChg chg="mod">
          <ac:chgData name="Allison Pass" userId="3bdd7fee-e623-47d0-9b6c-324afc1c37ca" providerId="ADAL" clId="{825661C0-0CF9-4D97-B175-A358EFE0ED63}" dt="2021-05-11T22:45:47.961" v="144" actId="1076"/>
          <ac:cxnSpMkLst>
            <pc:docMk/>
            <pc:sldMk cId="636219663" sldId="2076137511"/>
            <ac:cxnSpMk id="74" creationId="{AEEBBE55-AF55-4808-8B38-8B7AB9D5E556}"/>
          </ac:cxnSpMkLst>
        </pc:cxnChg>
        <pc:cxnChg chg="mod">
          <ac:chgData name="Allison Pass" userId="3bdd7fee-e623-47d0-9b6c-324afc1c37ca" providerId="ADAL" clId="{825661C0-0CF9-4D97-B175-A358EFE0ED63}" dt="2021-05-11T22:45:47.961" v="144" actId="1076"/>
          <ac:cxnSpMkLst>
            <pc:docMk/>
            <pc:sldMk cId="636219663" sldId="2076137511"/>
            <ac:cxnSpMk id="75" creationId="{40AD8FDC-34DD-4FEB-8AE1-D320C2FB073E}"/>
          </ac:cxnSpMkLst>
        </pc:cxnChg>
        <pc:cxnChg chg="mod">
          <ac:chgData name="Allison Pass" userId="3bdd7fee-e623-47d0-9b6c-324afc1c37ca" providerId="ADAL" clId="{825661C0-0CF9-4D97-B175-A358EFE0ED63}" dt="2021-05-11T22:45:47.961" v="144" actId="1076"/>
          <ac:cxnSpMkLst>
            <pc:docMk/>
            <pc:sldMk cId="636219663" sldId="2076137511"/>
            <ac:cxnSpMk id="89" creationId="{BC71A4BE-F2D1-49C6-AD27-579C14E866B8}"/>
          </ac:cxnSpMkLst>
        </pc:cxnChg>
        <pc:cxnChg chg="mod">
          <ac:chgData name="Allison Pass" userId="3bdd7fee-e623-47d0-9b6c-324afc1c37ca" providerId="ADAL" clId="{825661C0-0CF9-4D97-B175-A358EFE0ED63}" dt="2021-05-11T22:45:47.961" v="144" actId="1076"/>
          <ac:cxnSpMkLst>
            <pc:docMk/>
            <pc:sldMk cId="636219663" sldId="2076137511"/>
            <ac:cxnSpMk id="90" creationId="{6C738F3D-D507-423F-B549-7890339C8BEB}"/>
          </ac:cxnSpMkLst>
        </pc:cxnChg>
        <pc:cxnChg chg="mod">
          <ac:chgData name="Allison Pass" userId="3bdd7fee-e623-47d0-9b6c-324afc1c37ca" providerId="ADAL" clId="{825661C0-0CF9-4D97-B175-A358EFE0ED63}" dt="2021-05-11T22:45:47.961" v="144" actId="1076"/>
          <ac:cxnSpMkLst>
            <pc:docMk/>
            <pc:sldMk cId="636219663" sldId="2076137511"/>
            <ac:cxnSpMk id="115" creationId="{7670356B-25A8-45BC-B23D-8E01E0CBAD4C}"/>
          </ac:cxnSpMkLst>
        </pc:cxnChg>
        <pc:cxnChg chg="mod">
          <ac:chgData name="Allison Pass" userId="3bdd7fee-e623-47d0-9b6c-324afc1c37ca" providerId="ADAL" clId="{825661C0-0CF9-4D97-B175-A358EFE0ED63}" dt="2021-05-11T22:45:47.961" v="144" actId="1076"/>
          <ac:cxnSpMkLst>
            <pc:docMk/>
            <pc:sldMk cId="636219663" sldId="2076137511"/>
            <ac:cxnSpMk id="117" creationId="{8650BC7F-AA89-41F1-A80D-5934AD923133}"/>
          </ac:cxnSpMkLst>
        </pc:cxnChg>
        <pc:cxnChg chg="mod">
          <ac:chgData name="Allison Pass" userId="3bdd7fee-e623-47d0-9b6c-324afc1c37ca" providerId="ADAL" clId="{825661C0-0CF9-4D97-B175-A358EFE0ED63}" dt="2021-05-11T22:45:47.961" v="144" actId="1076"/>
          <ac:cxnSpMkLst>
            <pc:docMk/>
            <pc:sldMk cId="636219663" sldId="2076137511"/>
            <ac:cxnSpMk id="119" creationId="{85C00A99-36CA-4773-8EA5-FD605AC58EBC}"/>
          </ac:cxnSpMkLst>
        </pc:cxnChg>
        <pc:cxnChg chg="mod">
          <ac:chgData name="Allison Pass" userId="3bdd7fee-e623-47d0-9b6c-324afc1c37ca" providerId="ADAL" clId="{825661C0-0CF9-4D97-B175-A358EFE0ED63}" dt="2021-05-11T22:45:47.961" v="144" actId="1076"/>
          <ac:cxnSpMkLst>
            <pc:docMk/>
            <pc:sldMk cId="636219663" sldId="2076137511"/>
            <ac:cxnSpMk id="121" creationId="{530E24EC-CCA9-46C2-BCAB-6AA542D3786F}"/>
          </ac:cxnSpMkLst>
        </pc:cxnChg>
        <pc:cxnChg chg="mod">
          <ac:chgData name="Allison Pass" userId="3bdd7fee-e623-47d0-9b6c-324afc1c37ca" providerId="ADAL" clId="{825661C0-0CF9-4D97-B175-A358EFE0ED63}" dt="2021-05-11T22:45:47.961" v="144" actId="1076"/>
          <ac:cxnSpMkLst>
            <pc:docMk/>
            <pc:sldMk cId="636219663" sldId="2076137511"/>
            <ac:cxnSpMk id="122" creationId="{ABD17EEF-BB54-4129-BC19-D9F312EE569A}"/>
          </ac:cxnSpMkLst>
        </pc:cxnChg>
      </pc:sldChg>
      <pc:sldChg chg="ord">
        <pc:chgData name="Allison Pass" userId="3bdd7fee-e623-47d0-9b6c-324afc1c37ca" providerId="ADAL" clId="{825661C0-0CF9-4D97-B175-A358EFE0ED63}" dt="2021-05-24T19:34:59.250" v="162"/>
        <pc:sldMkLst>
          <pc:docMk/>
          <pc:sldMk cId="2507716521" sldId="2076137512"/>
        </pc:sldMkLst>
      </pc:sldChg>
      <pc:sldChg chg="ord">
        <pc:chgData name="Allison Pass" userId="3bdd7fee-e623-47d0-9b6c-324afc1c37ca" providerId="ADAL" clId="{825661C0-0CF9-4D97-B175-A358EFE0ED63}" dt="2021-05-24T19:35:01.978" v="164"/>
        <pc:sldMkLst>
          <pc:docMk/>
          <pc:sldMk cId="768608626" sldId="2076137513"/>
        </pc:sldMkLst>
      </pc:sldChg>
      <pc:sldChg chg="modSp mod">
        <pc:chgData name="Allison Pass" userId="3bdd7fee-e623-47d0-9b6c-324afc1c37ca" providerId="ADAL" clId="{825661C0-0CF9-4D97-B175-A358EFE0ED63}" dt="2021-05-25T17:35:38.720" v="185" actId="1076"/>
        <pc:sldMkLst>
          <pc:docMk/>
          <pc:sldMk cId="3141493614" sldId="2076138130"/>
        </pc:sldMkLst>
        <pc:spChg chg="mod">
          <ac:chgData name="Allison Pass" userId="3bdd7fee-e623-47d0-9b6c-324afc1c37ca" providerId="ADAL" clId="{825661C0-0CF9-4D97-B175-A358EFE0ED63}" dt="2021-05-25T17:35:38.720" v="185" actId="1076"/>
          <ac:spMkLst>
            <pc:docMk/>
            <pc:sldMk cId="3141493614" sldId="2076138130"/>
            <ac:spMk id="107" creationId="{F5DA8B34-B81A-4007-922A-9F3708CBE3AF}"/>
          </ac:spMkLst>
        </pc:spChg>
      </pc:sldChg>
      <pc:sldChg chg="addSp delSp modSp mod modClrScheme chgLayout">
        <pc:chgData name="Allison Pass" userId="3bdd7fee-e623-47d0-9b6c-324afc1c37ca" providerId="ADAL" clId="{825661C0-0CF9-4D97-B175-A358EFE0ED63}" dt="2021-05-25T22:25:14.618" v="372" actId="700"/>
        <pc:sldMkLst>
          <pc:docMk/>
          <pc:sldMk cId="1934978805" sldId="2076138131"/>
        </pc:sldMkLst>
        <pc:spChg chg="add del mod ord">
          <ac:chgData name="Allison Pass" userId="3bdd7fee-e623-47d0-9b6c-324afc1c37ca" providerId="ADAL" clId="{825661C0-0CF9-4D97-B175-A358EFE0ED63}" dt="2021-05-25T22:25:14.618" v="372" actId="700"/>
          <ac:spMkLst>
            <pc:docMk/>
            <pc:sldMk cId="1934978805" sldId="2076138131"/>
            <ac:spMk id="2" creationId="{2073C9E0-3EC8-47FF-B845-67B39F5979DD}"/>
          </ac:spMkLst>
        </pc:spChg>
        <pc:spChg chg="mod ord">
          <ac:chgData name="Allison Pass" userId="3bdd7fee-e623-47d0-9b6c-324afc1c37ca" providerId="ADAL" clId="{825661C0-0CF9-4D97-B175-A358EFE0ED63}" dt="2021-05-25T22:25:14.618" v="372" actId="700"/>
          <ac:spMkLst>
            <pc:docMk/>
            <pc:sldMk cId="1934978805" sldId="2076138131"/>
            <ac:spMk id="7" creationId="{BFE22556-F53D-4304-A2AB-5536EB57BB51}"/>
          </ac:spMkLst>
        </pc:spChg>
      </pc:sldChg>
      <pc:sldChg chg="del ord">
        <pc:chgData name="Allison Pass" userId="3bdd7fee-e623-47d0-9b6c-324afc1c37ca" providerId="ADAL" clId="{825661C0-0CF9-4D97-B175-A358EFE0ED63}" dt="2021-05-11T22:10:16.225" v="60" actId="47"/>
        <pc:sldMkLst>
          <pc:docMk/>
          <pc:sldMk cId="1778489300" sldId="2076138210"/>
        </pc:sldMkLst>
      </pc:sldChg>
      <pc:sldChg chg="del">
        <pc:chgData name="Allison Pass" userId="3bdd7fee-e623-47d0-9b6c-324afc1c37ca" providerId="ADAL" clId="{825661C0-0CF9-4D97-B175-A358EFE0ED63}" dt="2021-05-11T17:15:35.444" v="4" actId="47"/>
        <pc:sldMkLst>
          <pc:docMk/>
          <pc:sldMk cId="859670316" sldId="2076138211"/>
        </pc:sldMkLst>
      </pc:sldChg>
      <pc:sldChg chg="new del">
        <pc:chgData name="Allison Pass" userId="3bdd7fee-e623-47d0-9b6c-324afc1c37ca" providerId="ADAL" clId="{825661C0-0CF9-4D97-B175-A358EFE0ED63}" dt="2021-05-11T17:15:35.444" v="4" actId="47"/>
        <pc:sldMkLst>
          <pc:docMk/>
          <pc:sldMk cId="3020320155" sldId="2076138212"/>
        </pc:sldMkLst>
      </pc:sldChg>
      <pc:sldChg chg="addSp delSp modSp new mod ord modAnim modNotesTx">
        <pc:chgData name="Allison Pass" userId="3bdd7fee-e623-47d0-9b6c-324afc1c37ca" providerId="ADAL" clId="{825661C0-0CF9-4D97-B175-A358EFE0ED63}" dt="2021-05-19T22:28:21.452" v="148" actId="478"/>
        <pc:sldMkLst>
          <pc:docMk/>
          <pc:sldMk cId="79068787" sldId="2076138213"/>
        </pc:sldMkLst>
        <pc:spChg chg="mod">
          <ac:chgData name="Allison Pass" userId="3bdd7fee-e623-47d0-9b6c-324afc1c37ca" providerId="ADAL" clId="{825661C0-0CF9-4D97-B175-A358EFE0ED63}" dt="2021-05-11T22:22:31.358" v="128" actId="20577"/>
          <ac:spMkLst>
            <pc:docMk/>
            <pc:sldMk cId="79068787" sldId="2076138213"/>
            <ac:spMk id="2" creationId="{6F7BEB4E-E116-4912-B7CA-1F80A31575AB}"/>
          </ac:spMkLst>
        </pc:spChg>
        <pc:spChg chg="del">
          <ac:chgData name="Allison Pass" userId="3bdd7fee-e623-47d0-9b6c-324afc1c37ca" providerId="ADAL" clId="{825661C0-0CF9-4D97-B175-A358EFE0ED63}" dt="2021-05-11T17:15:40.810" v="5" actId="478"/>
          <ac:spMkLst>
            <pc:docMk/>
            <pc:sldMk cId="79068787" sldId="2076138213"/>
            <ac:spMk id="3" creationId="{64F4B6AD-4B29-4C2D-8BFD-38DC10BFF929}"/>
          </ac:spMkLst>
        </pc:spChg>
        <pc:picChg chg="add mod">
          <ac:chgData name="Allison Pass" userId="3bdd7fee-e623-47d0-9b6c-324afc1c37ca" providerId="ADAL" clId="{825661C0-0CF9-4D97-B175-A358EFE0ED63}" dt="2021-05-19T22:28:18.564" v="147" actId="20377"/>
          <ac:picMkLst>
            <pc:docMk/>
            <pc:sldMk cId="79068787" sldId="2076138213"/>
            <ac:picMk id="3" creationId="{2339D942-AEF0-41EA-9A4C-0BA5EC7415DB}"/>
          </ac:picMkLst>
        </pc:picChg>
        <pc:picChg chg="add del">
          <ac:chgData name="Allison Pass" userId="3bdd7fee-e623-47d0-9b6c-324afc1c37ca" providerId="ADAL" clId="{825661C0-0CF9-4D97-B175-A358EFE0ED63}" dt="2021-05-19T22:28:21.452" v="148" actId="478"/>
          <ac:picMkLst>
            <pc:docMk/>
            <pc:sldMk cId="79068787" sldId="2076138213"/>
            <ac:picMk id="5" creationId="{465C6D8E-8A7A-47BE-9821-31523D3EF975}"/>
          </ac:picMkLst>
        </pc:picChg>
      </pc:sldChg>
      <pc:sldChg chg="new del">
        <pc:chgData name="Allison Pass" userId="3bdd7fee-e623-47d0-9b6c-324afc1c37ca" providerId="ADAL" clId="{825661C0-0CF9-4D97-B175-A358EFE0ED63}" dt="2021-05-11T22:11:12.370" v="62" actId="47"/>
        <pc:sldMkLst>
          <pc:docMk/>
          <pc:sldMk cId="2805784886" sldId="2076138214"/>
        </pc:sldMkLst>
      </pc:sldChg>
      <pc:sldChg chg="modSp add del mod">
        <pc:chgData name="Allison Pass" userId="3bdd7fee-e623-47d0-9b6c-324afc1c37ca" providerId="ADAL" clId="{825661C0-0CF9-4D97-B175-A358EFE0ED63}" dt="2021-05-11T22:10:45.220" v="61" actId="47"/>
        <pc:sldMkLst>
          <pc:docMk/>
          <pc:sldMk cId="1236278463" sldId="2076138410"/>
        </pc:sldMkLst>
        <pc:spChg chg="mod">
          <ac:chgData name="Allison Pass" userId="3bdd7fee-e623-47d0-9b6c-324afc1c37ca" providerId="ADAL" clId="{825661C0-0CF9-4D97-B175-A358EFE0ED63}" dt="2021-05-11T22:08:32.243" v="56" actId="1076"/>
          <ac:spMkLst>
            <pc:docMk/>
            <pc:sldMk cId="1236278463" sldId="2076138410"/>
            <ac:spMk id="49" creationId="{75F8774F-99FC-492E-92DF-4E71DCD2A15C}"/>
          </ac:spMkLst>
        </pc:spChg>
      </pc:sldChg>
      <pc:sldChg chg="add del mod modShow">
        <pc:chgData name="Allison Pass" userId="3bdd7fee-e623-47d0-9b6c-324afc1c37ca" providerId="ADAL" clId="{825661C0-0CF9-4D97-B175-A358EFE0ED63}" dt="2021-05-25T17:37:39.173" v="187" actId="47"/>
        <pc:sldMkLst>
          <pc:docMk/>
          <pc:sldMk cId="978296283" sldId="2076138411"/>
        </pc:sldMkLst>
      </pc:sldChg>
      <pc:sldChg chg="del mod modShow">
        <pc:chgData name="Allison Pass" userId="3bdd7fee-e623-47d0-9b6c-324afc1c37ca" providerId="ADAL" clId="{825661C0-0CF9-4D97-B175-A358EFE0ED63}" dt="2021-05-25T17:34:31.291" v="179" actId="47"/>
        <pc:sldMkLst>
          <pc:docMk/>
          <pc:sldMk cId="964870647" sldId="2076138412"/>
        </pc:sldMkLst>
      </pc:sldChg>
      <pc:sldChg chg="del">
        <pc:chgData name="Allison Pass" userId="3bdd7fee-e623-47d0-9b6c-324afc1c37ca" providerId="ADAL" clId="{825661C0-0CF9-4D97-B175-A358EFE0ED63}" dt="2021-05-25T17:38:19.861" v="188" actId="47"/>
        <pc:sldMkLst>
          <pc:docMk/>
          <pc:sldMk cId="330627412" sldId="2076138413"/>
        </pc:sldMkLst>
      </pc:sldChg>
      <pc:sldChg chg="new del">
        <pc:chgData name="Allison Pass" userId="3bdd7fee-e623-47d0-9b6c-324afc1c37ca" providerId="ADAL" clId="{825661C0-0CF9-4D97-B175-A358EFE0ED63}" dt="2021-05-24T19:34:23.080" v="156" actId="47"/>
        <pc:sldMkLst>
          <pc:docMk/>
          <pc:sldMk cId="2557246278" sldId="2076138452"/>
        </pc:sldMkLst>
      </pc:sldChg>
      <pc:sldChg chg="new del">
        <pc:chgData name="Allison Pass" userId="3bdd7fee-e623-47d0-9b6c-324afc1c37ca" providerId="ADAL" clId="{825661C0-0CF9-4D97-B175-A358EFE0ED63}" dt="2021-05-24T19:40:22.405" v="171" actId="47"/>
        <pc:sldMkLst>
          <pc:docMk/>
          <pc:sldMk cId="2813896314" sldId="2076138452"/>
        </pc:sldMkLst>
      </pc:sldChg>
      <pc:sldChg chg="addSp delSp modSp new mod ord">
        <pc:chgData name="Allison Pass" userId="3bdd7fee-e623-47d0-9b6c-324afc1c37ca" providerId="ADAL" clId="{825661C0-0CF9-4D97-B175-A358EFE0ED63}" dt="2021-05-24T19:41:50.631" v="178"/>
        <pc:sldMkLst>
          <pc:docMk/>
          <pc:sldMk cId="3868082525" sldId="2076138453"/>
        </pc:sldMkLst>
        <pc:spChg chg="del">
          <ac:chgData name="Allison Pass" userId="3bdd7fee-e623-47d0-9b6c-324afc1c37ca" providerId="ADAL" clId="{825661C0-0CF9-4D97-B175-A358EFE0ED63}" dt="2021-05-24T19:40:48.548" v="175" actId="478"/>
          <ac:spMkLst>
            <pc:docMk/>
            <pc:sldMk cId="3868082525" sldId="2076138453"/>
            <ac:spMk id="2" creationId="{64603A81-1825-446D-9AF1-21A65E235FB2}"/>
          </ac:spMkLst>
        </pc:spChg>
        <pc:spChg chg="del">
          <ac:chgData name="Allison Pass" userId="3bdd7fee-e623-47d0-9b6c-324afc1c37ca" providerId="ADAL" clId="{825661C0-0CF9-4D97-B175-A358EFE0ED63}" dt="2021-05-24T19:40:45.865" v="173" actId="478"/>
          <ac:spMkLst>
            <pc:docMk/>
            <pc:sldMk cId="3868082525" sldId="2076138453"/>
            <ac:spMk id="3" creationId="{C5B59545-F9FC-47B3-8823-673AF8D5563B}"/>
          </ac:spMkLst>
        </pc:spChg>
        <pc:spChg chg="add mod">
          <ac:chgData name="Allison Pass" userId="3bdd7fee-e623-47d0-9b6c-324afc1c37ca" providerId="ADAL" clId="{825661C0-0CF9-4D97-B175-A358EFE0ED63}" dt="2021-05-24T19:40:51.263" v="176" actId="1076"/>
          <ac:spMkLst>
            <pc:docMk/>
            <pc:sldMk cId="3868082525" sldId="2076138453"/>
            <ac:spMk id="4" creationId="{6FDD19E8-3F24-4DCA-8C91-879837F9A50F}"/>
          </ac:spMkLst>
        </pc:spChg>
        <pc:spChg chg="add mod">
          <ac:chgData name="Allison Pass" userId="3bdd7fee-e623-47d0-9b6c-324afc1c37ca" providerId="ADAL" clId="{825661C0-0CF9-4D97-B175-A358EFE0ED63}" dt="2021-05-24T19:41:03.781" v="177"/>
          <ac:spMkLst>
            <pc:docMk/>
            <pc:sldMk cId="3868082525" sldId="2076138453"/>
            <ac:spMk id="5" creationId="{3926383F-09A9-4B54-81D7-87A5A097ED9C}"/>
          </ac:spMkLst>
        </pc:spChg>
        <pc:spChg chg="mod">
          <ac:chgData name="Allison Pass" userId="3bdd7fee-e623-47d0-9b6c-324afc1c37ca" providerId="ADAL" clId="{825661C0-0CF9-4D97-B175-A358EFE0ED63}" dt="2021-05-24T19:41:50.631" v="178"/>
          <ac:spMkLst>
            <pc:docMk/>
            <pc:sldMk cId="3868082525" sldId="2076138453"/>
            <ac:spMk id="7" creationId="{34DE76A0-7404-4F35-BB48-740D0EE2D094}"/>
          </ac:spMkLst>
        </pc:spChg>
        <pc:spChg chg="mod">
          <ac:chgData name="Allison Pass" userId="3bdd7fee-e623-47d0-9b6c-324afc1c37ca" providerId="ADAL" clId="{825661C0-0CF9-4D97-B175-A358EFE0ED63}" dt="2021-05-24T19:41:50.631" v="178"/>
          <ac:spMkLst>
            <pc:docMk/>
            <pc:sldMk cId="3868082525" sldId="2076138453"/>
            <ac:spMk id="8" creationId="{49C43596-DBE8-4B2B-B210-DABBF4AD6D31}"/>
          </ac:spMkLst>
        </pc:spChg>
        <pc:spChg chg="add mod">
          <ac:chgData name="Allison Pass" userId="3bdd7fee-e623-47d0-9b6c-324afc1c37ca" providerId="ADAL" clId="{825661C0-0CF9-4D97-B175-A358EFE0ED63}" dt="2021-05-24T19:41:50.631" v="178"/>
          <ac:spMkLst>
            <pc:docMk/>
            <pc:sldMk cId="3868082525" sldId="2076138453"/>
            <ac:spMk id="10" creationId="{F40F85C0-877F-4047-A1DB-32633D426B10}"/>
          </ac:spMkLst>
        </pc:spChg>
        <pc:spChg chg="add mod">
          <ac:chgData name="Allison Pass" userId="3bdd7fee-e623-47d0-9b6c-324afc1c37ca" providerId="ADAL" clId="{825661C0-0CF9-4D97-B175-A358EFE0ED63}" dt="2021-05-24T19:41:50.631" v="178"/>
          <ac:spMkLst>
            <pc:docMk/>
            <pc:sldMk cId="3868082525" sldId="2076138453"/>
            <ac:spMk id="11" creationId="{D0EED95E-01C0-4E86-BBD2-54C035F15268}"/>
          </ac:spMkLst>
        </pc:spChg>
        <pc:spChg chg="add mod">
          <ac:chgData name="Allison Pass" userId="3bdd7fee-e623-47d0-9b6c-324afc1c37ca" providerId="ADAL" clId="{825661C0-0CF9-4D97-B175-A358EFE0ED63}" dt="2021-05-24T19:41:50.631" v="178"/>
          <ac:spMkLst>
            <pc:docMk/>
            <pc:sldMk cId="3868082525" sldId="2076138453"/>
            <ac:spMk id="12" creationId="{05B1505A-F002-4360-9210-04AA2F83ECBD}"/>
          </ac:spMkLst>
        </pc:spChg>
        <pc:spChg chg="add mod">
          <ac:chgData name="Allison Pass" userId="3bdd7fee-e623-47d0-9b6c-324afc1c37ca" providerId="ADAL" clId="{825661C0-0CF9-4D97-B175-A358EFE0ED63}" dt="2021-05-24T19:41:50.631" v="178"/>
          <ac:spMkLst>
            <pc:docMk/>
            <pc:sldMk cId="3868082525" sldId="2076138453"/>
            <ac:spMk id="13" creationId="{9F8BD626-68C1-4D59-BD6C-6352F3B46EF9}"/>
          </ac:spMkLst>
        </pc:spChg>
        <pc:spChg chg="add mod">
          <ac:chgData name="Allison Pass" userId="3bdd7fee-e623-47d0-9b6c-324afc1c37ca" providerId="ADAL" clId="{825661C0-0CF9-4D97-B175-A358EFE0ED63}" dt="2021-05-24T19:41:50.631" v="178"/>
          <ac:spMkLst>
            <pc:docMk/>
            <pc:sldMk cId="3868082525" sldId="2076138453"/>
            <ac:spMk id="14" creationId="{88541928-90D5-4634-92C7-83D35F180B09}"/>
          </ac:spMkLst>
        </pc:spChg>
        <pc:spChg chg="add mod">
          <ac:chgData name="Allison Pass" userId="3bdd7fee-e623-47d0-9b6c-324afc1c37ca" providerId="ADAL" clId="{825661C0-0CF9-4D97-B175-A358EFE0ED63}" dt="2021-05-24T19:41:50.631" v="178"/>
          <ac:spMkLst>
            <pc:docMk/>
            <pc:sldMk cId="3868082525" sldId="2076138453"/>
            <ac:spMk id="15" creationId="{8987D627-FB52-431E-9745-BF97B78C3024}"/>
          </ac:spMkLst>
        </pc:spChg>
        <pc:spChg chg="add mod">
          <ac:chgData name="Allison Pass" userId="3bdd7fee-e623-47d0-9b6c-324afc1c37ca" providerId="ADAL" clId="{825661C0-0CF9-4D97-B175-A358EFE0ED63}" dt="2021-05-24T19:41:50.631" v="178"/>
          <ac:spMkLst>
            <pc:docMk/>
            <pc:sldMk cId="3868082525" sldId="2076138453"/>
            <ac:spMk id="16" creationId="{BEBC20D9-18EF-4E51-B833-93DE5D97066B}"/>
          </ac:spMkLst>
        </pc:spChg>
        <pc:spChg chg="add mod">
          <ac:chgData name="Allison Pass" userId="3bdd7fee-e623-47d0-9b6c-324afc1c37ca" providerId="ADAL" clId="{825661C0-0CF9-4D97-B175-A358EFE0ED63}" dt="2021-05-24T19:41:50.631" v="178"/>
          <ac:spMkLst>
            <pc:docMk/>
            <pc:sldMk cId="3868082525" sldId="2076138453"/>
            <ac:spMk id="17" creationId="{D064832E-2A61-4D7D-92CC-F9BC9D564352}"/>
          </ac:spMkLst>
        </pc:spChg>
        <pc:spChg chg="add mod">
          <ac:chgData name="Allison Pass" userId="3bdd7fee-e623-47d0-9b6c-324afc1c37ca" providerId="ADAL" clId="{825661C0-0CF9-4D97-B175-A358EFE0ED63}" dt="2021-05-24T19:41:50.631" v="178"/>
          <ac:spMkLst>
            <pc:docMk/>
            <pc:sldMk cId="3868082525" sldId="2076138453"/>
            <ac:spMk id="24" creationId="{1070717B-E1FE-4CB5-954B-D2F38A245E15}"/>
          </ac:spMkLst>
        </pc:spChg>
        <pc:spChg chg="add mod">
          <ac:chgData name="Allison Pass" userId="3bdd7fee-e623-47d0-9b6c-324afc1c37ca" providerId="ADAL" clId="{825661C0-0CF9-4D97-B175-A358EFE0ED63}" dt="2021-05-24T19:41:50.631" v="178"/>
          <ac:spMkLst>
            <pc:docMk/>
            <pc:sldMk cId="3868082525" sldId="2076138453"/>
            <ac:spMk id="25" creationId="{7EEC1B01-B1C1-4576-AD7D-24BD05FBC87E}"/>
          </ac:spMkLst>
        </pc:spChg>
        <pc:spChg chg="add mod">
          <ac:chgData name="Allison Pass" userId="3bdd7fee-e623-47d0-9b6c-324afc1c37ca" providerId="ADAL" clId="{825661C0-0CF9-4D97-B175-A358EFE0ED63}" dt="2021-05-24T19:41:50.631" v="178"/>
          <ac:spMkLst>
            <pc:docMk/>
            <pc:sldMk cId="3868082525" sldId="2076138453"/>
            <ac:spMk id="26" creationId="{4B316A54-141E-4A50-9C75-207C22465C30}"/>
          </ac:spMkLst>
        </pc:spChg>
        <pc:spChg chg="add mod">
          <ac:chgData name="Allison Pass" userId="3bdd7fee-e623-47d0-9b6c-324afc1c37ca" providerId="ADAL" clId="{825661C0-0CF9-4D97-B175-A358EFE0ED63}" dt="2021-05-24T19:41:50.631" v="178"/>
          <ac:spMkLst>
            <pc:docMk/>
            <pc:sldMk cId="3868082525" sldId="2076138453"/>
            <ac:spMk id="27" creationId="{5585EA5F-176D-42DD-9F07-CE0C383CC0C1}"/>
          </ac:spMkLst>
        </pc:spChg>
        <pc:grpChg chg="add mod">
          <ac:chgData name="Allison Pass" userId="3bdd7fee-e623-47d0-9b6c-324afc1c37ca" providerId="ADAL" clId="{825661C0-0CF9-4D97-B175-A358EFE0ED63}" dt="2021-05-24T19:41:50.631" v="178"/>
          <ac:grpSpMkLst>
            <pc:docMk/>
            <pc:sldMk cId="3868082525" sldId="2076138453"/>
            <ac:grpSpMk id="6" creationId="{74AA290B-6283-4615-B831-C59902D12A49}"/>
          </ac:grpSpMkLst>
        </pc:grpChg>
        <pc:grpChg chg="add mod">
          <ac:chgData name="Allison Pass" userId="3bdd7fee-e623-47d0-9b6c-324afc1c37ca" providerId="ADAL" clId="{825661C0-0CF9-4D97-B175-A358EFE0ED63}" dt="2021-05-24T19:41:50.631" v="178"/>
          <ac:grpSpMkLst>
            <pc:docMk/>
            <pc:sldMk cId="3868082525" sldId="2076138453"/>
            <ac:grpSpMk id="20" creationId="{B4AE58C4-8C29-4E81-90CC-5B6715587C13}"/>
          </ac:grpSpMkLst>
        </pc:grpChg>
        <pc:picChg chg="add mod">
          <ac:chgData name="Allison Pass" userId="3bdd7fee-e623-47d0-9b6c-324afc1c37ca" providerId="ADAL" clId="{825661C0-0CF9-4D97-B175-A358EFE0ED63}" dt="2021-05-24T19:41:50.631" v="178"/>
          <ac:picMkLst>
            <pc:docMk/>
            <pc:sldMk cId="3868082525" sldId="2076138453"/>
            <ac:picMk id="18" creationId="{262A1486-1C2B-44E4-B10D-FA93837D0673}"/>
          </ac:picMkLst>
        </pc:picChg>
        <pc:picChg chg="add mod">
          <ac:chgData name="Allison Pass" userId="3bdd7fee-e623-47d0-9b6c-324afc1c37ca" providerId="ADAL" clId="{825661C0-0CF9-4D97-B175-A358EFE0ED63}" dt="2021-05-24T19:41:50.631" v="178"/>
          <ac:picMkLst>
            <pc:docMk/>
            <pc:sldMk cId="3868082525" sldId="2076138453"/>
            <ac:picMk id="19" creationId="{66728950-FBBB-4FEA-88B7-3F7DC678BE68}"/>
          </ac:picMkLst>
        </pc:picChg>
        <pc:picChg chg="mod">
          <ac:chgData name="Allison Pass" userId="3bdd7fee-e623-47d0-9b6c-324afc1c37ca" providerId="ADAL" clId="{825661C0-0CF9-4D97-B175-A358EFE0ED63}" dt="2021-05-24T19:41:50.631" v="178"/>
          <ac:picMkLst>
            <pc:docMk/>
            <pc:sldMk cId="3868082525" sldId="2076138453"/>
            <ac:picMk id="21" creationId="{973E8865-FB22-40CF-A53C-4874F9D0BC48}"/>
          </ac:picMkLst>
        </pc:picChg>
        <pc:picChg chg="mod">
          <ac:chgData name="Allison Pass" userId="3bdd7fee-e623-47d0-9b6c-324afc1c37ca" providerId="ADAL" clId="{825661C0-0CF9-4D97-B175-A358EFE0ED63}" dt="2021-05-24T19:41:50.631" v="178"/>
          <ac:picMkLst>
            <pc:docMk/>
            <pc:sldMk cId="3868082525" sldId="2076138453"/>
            <ac:picMk id="22" creationId="{70CDE2C5-22DF-4ED5-876A-20C2A9E192A7}"/>
          </ac:picMkLst>
        </pc:picChg>
        <pc:picChg chg="add mod">
          <ac:chgData name="Allison Pass" userId="3bdd7fee-e623-47d0-9b6c-324afc1c37ca" providerId="ADAL" clId="{825661C0-0CF9-4D97-B175-A358EFE0ED63}" dt="2021-05-24T19:41:50.631" v="178"/>
          <ac:picMkLst>
            <pc:docMk/>
            <pc:sldMk cId="3868082525" sldId="2076138453"/>
            <ac:picMk id="23" creationId="{A4BF23F0-6474-4604-A10D-09CDACF960C3}"/>
          </ac:picMkLst>
        </pc:picChg>
        <pc:cxnChg chg="add mod">
          <ac:chgData name="Allison Pass" userId="3bdd7fee-e623-47d0-9b6c-324afc1c37ca" providerId="ADAL" clId="{825661C0-0CF9-4D97-B175-A358EFE0ED63}" dt="2021-05-24T19:41:50.631" v="178"/>
          <ac:cxnSpMkLst>
            <pc:docMk/>
            <pc:sldMk cId="3868082525" sldId="2076138453"/>
            <ac:cxnSpMk id="9" creationId="{49E68762-F571-4EE6-862F-BBD6E8FCDCCF}"/>
          </ac:cxnSpMkLst>
        </pc:cxnChg>
        <pc:cxnChg chg="add mod">
          <ac:chgData name="Allison Pass" userId="3bdd7fee-e623-47d0-9b6c-324afc1c37ca" providerId="ADAL" clId="{825661C0-0CF9-4D97-B175-A358EFE0ED63}" dt="2021-05-24T19:41:50.631" v="178"/>
          <ac:cxnSpMkLst>
            <pc:docMk/>
            <pc:sldMk cId="3868082525" sldId="2076138453"/>
            <ac:cxnSpMk id="28" creationId="{B6201EFE-6E49-47D4-892F-8B18C0E9715A}"/>
          </ac:cxnSpMkLst>
        </pc:cxnChg>
        <pc:cxnChg chg="add mod">
          <ac:chgData name="Allison Pass" userId="3bdd7fee-e623-47d0-9b6c-324afc1c37ca" providerId="ADAL" clId="{825661C0-0CF9-4D97-B175-A358EFE0ED63}" dt="2021-05-24T19:41:50.631" v="178"/>
          <ac:cxnSpMkLst>
            <pc:docMk/>
            <pc:sldMk cId="3868082525" sldId="2076138453"/>
            <ac:cxnSpMk id="29" creationId="{996DFD0F-1B3E-432C-B3C6-0D1BBCDF3A0F}"/>
          </ac:cxnSpMkLst>
        </pc:cxnChg>
        <pc:cxnChg chg="add mod">
          <ac:chgData name="Allison Pass" userId="3bdd7fee-e623-47d0-9b6c-324afc1c37ca" providerId="ADAL" clId="{825661C0-0CF9-4D97-B175-A358EFE0ED63}" dt="2021-05-24T19:41:50.631" v="178"/>
          <ac:cxnSpMkLst>
            <pc:docMk/>
            <pc:sldMk cId="3868082525" sldId="2076138453"/>
            <ac:cxnSpMk id="30" creationId="{B7D9E849-5268-4908-9A6C-34DAA9162755}"/>
          </ac:cxnSpMkLst>
        </pc:cxnChg>
      </pc:sldChg>
      <pc:sldChg chg="addSp delSp modSp new del ord modAnim">
        <pc:chgData name="Allison Pass" userId="3bdd7fee-e623-47d0-9b6c-324afc1c37ca" providerId="ADAL" clId="{825661C0-0CF9-4D97-B175-A358EFE0ED63}" dt="2021-05-25T17:37:34.468" v="186" actId="47"/>
        <pc:sldMkLst>
          <pc:docMk/>
          <pc:sldMk cId="2214498498" sldId="2076138454"/>
        </pc:sldMkLst>
        <pc:spChg chg="add del mod">
          <ac:chgData name="Allison Pass" userId="3bdd7fee-e623-47d0-9b6c-324afc1c37ca" providerId="ADAL" clId="{825661C0-0CF9-4D97-B175-A358EFE0ED63}" dt="2021-05-25T17:35:25.859" v="184"/>
          <ac:spMkLst>
            <pc:docMk/>
            <pc:sldMk cId="2214498498" sldId="2076138454"/>
            <ac:spMk id="4" creationId="{145B7590-23C3-4FEB-984C-C8E10E5C4659}"/>
          </ac:spMkLst>
        </pc:spChg>
        <pc:spChg chg="add del mod">
          <ac:chgData name="Allison Pass" userId="3bdd7fee-e623-47d0-9b6c-324afc1c37ca" providerId="ADAL" clId="{825661C0-0CF9-4D97-B175-A358EFE0ED63}" dt="2021-05-25T17:35:25.859" v="184"/>
          <ac:spMkLst>
            <pc:docMk/>
            <pc:sldMk cId="2214498498" sldId="2076138454"/>
            <ac:spMk id="5" creationId="{9BBC05AF-4B86-44B0-8BE6-95AEFC2F5E95}"/>
          </ac:spMkLst>
        </pc:spChg>
        <pc:spChg chg="add del mod">
          <ac:chgData name="Allison Pass" userId="3bdd7fee-e623-47d0-9b6c-324afc1c37ca" providerId="ADAL" clId="{825661C0-0CF9-4D97-B175-A358EFE0ED63}" dt="2021-05-25T17:35:25.859" v="184"/>
          <ac:spMkLst>
            <pc:docMk/>
            <pc:sldMk cId="2214498498" sldId="2076138454"/>
            <ac:spMk id="6" creationId="{F7D0924C-68BC-4C3E-85F2-76F47A138AF0}"/>
          </ac:spMkLst>
        </pc:spChg>
        <pc:spChg chg="mod">
          <ac:chgData name="Allison Pass" userId="3bdd7fee-e623-47d0-9b6c-324afc1c37ca" providerId="ADAL" clId="{825661C0-0CF9-4D97-B175-A358EFE0ED63}" dt="2021-05-25T17:35:19.281" v="183"/>
          <ac:spMkLst>
            <pc:docMk/>
            <pc:sldMk cId="2214498498" sldId="2076138454"/>
            <ac:spMk id="8" creationId="{2938FC20-DDB8-4208-B59C-FCA62D20091F}"/>
          </ac:spMkLst>
        </pc:spChg>
        <pc:spChg chg="mod">
          <ac:chgData name="Allison Pass" userId="3bdd7fee-e623-47d0-9b6c-324afc1c37ca" providerId="ADAL" clId="{825661C0-0CF9-4D97-B175-A358EFE0ED63}" dt="2021-05-25T17:35:19.281" v="183"/>
          <ac:spMkLst>
            <pc:docMk/>
            <pc:sldMk cId="2214498498" sldId="2076138454"/>
            <ac:spMk id="9" creationId="{11D104C6-B075-470F-9FB3-1DD505C49C84}"/>
          </ac:spMkLst>
        </pc:spChg>
        <pc:spChg chg="mod">
          <ac:chgData name="Allison Pass" userId="3bdd7fee-e623-47d0-9b6c-324afc1c37ca" providerId="ADAL" clId="{825661C0-0CF9-4D97-B175-A358EFE0ED63}" dt="2021-05-25T17:35:19.281" v="183"/>
          <ac:spMkLst>
            <pc:docMk/>
            <pc:sldMk cId="2214498498" sldId="2076138454"/>
            <ac:spMk id="11" creationId="{2250F394-31D6-4F8B-ABBE-F78642C8131D}"/>
          </ac:spMkLst>
        </pc:spChg>
        <pc:spChg chg="mod">
          <ac:chgData name="Allison Pass" userId="3bdd7fee-e623-47d0-9b6c-324afc1c37ca" providerId="ADAL" clId="{825661C0-0CF9-4D97-B175-A358EFE0ED63}" dt="2021-05-25T17:35:19.281" v="183"/>
          <ac:spMkLst>
            <pc:docMk/>
            <pc:sldMk cId="2214498498" sldId="2076138454"/>
            <ac:spMk id="12" creationId="{509B72A8-78BA-43FC-9F4A-83C377603623}"/>
          </ac:spMkLst>
        </pc:spChg>
        <pc:spChg chg="mod">
          <ac:chgData name="Allison Pass" userId="3bdd7fee-e623-47d0-9b6c-324afc1c37ca" providerId="ADAL" clId="{825661C0-0CF9-4D97-B175-A358EFE0ED63}" dt="2021-05-25T17:35:19.281" v="183"/>
          <ac:spMkLst>
            <pc:docMk/>
            <pc:sldMk cId="2214498498" sldId="2076138454"/>
            <ac:spMk id="14" creationId="{5CD75ACA-3AC8-4CFB-AF0F-18AC4DB98749}"/>
          </ac:spMkLst>
        </pc:spChg>
        <pc:spChg chg="mod">
          <ac:chgData name="Allison Pass" userId="3bdd7fee-e623-47d0-9b6c-324afc1c37ca" providerId="ADAL" clId="{825661C0-0CF9-4D97-B175-A358EFE0ED63}" dt="2021-05-25T17:35:19.281" v="183"/>
          <ac:spMkLst>
            <pc:docMk/>
            <pc:sldMk cId="2214498498" sldId="2076138454"/>
            <ac:spMk id="15" creationId="{5CE4D311-CCA3-4975-8118-B6D999F65FBF}"/>
          </ac:spMkLst>
        </pc:spChg>
        <pc:spChg chg="mod">
          <ac:chgData name="Allison Pass" userId="3bdd7fee-e623-47d0-9b6c-324afc1c37ca" providerId="ADAL" clId="{825661C0-0CF9-4D97-B175-A358EFE0ED63}" dt="2021-05-25T17:35:19.281" v="183"/>
          <ac:spMkLst>
            <pc:docMk/>
            <pc:sldMk cId="2214498498" sldId="2076138454"/>
            <ac:spMk id="16" creationId="{21A3C81A-3232-4C1A-8887-7226E435C12F}"/>
          </ac:spMkLst>
        </pc:spChg>
        <pc:spChg chg="mod">
          <ac:chgData name="Allison Pass" userId="3bdd7fee-e623-47d0-9b6c-324afc1c37ca" providerId="ADAL" clId="{825661C0-0CF9-4D97-B175-A358EFE0ED63}" dt="2021-05-25T17:35:19.281" v="183"/>
          <ac:spMkLst>
            <pc:docMk/>
            <pc:sldMk cId="2214498498" sldId="2076138454"/>
            <ac:spMk id="17" creationId="{4B186C90-B0FB-47F1-8036-3F5DDB9BAB5E}"/>
          </ac:spMkLst>
        </pc:spChg>
        <pc:spChg chg="mod">
          <ac:chgData name="Allison Pass" userId="3bdd7fee-e623-47d0-9b6c-324afc1c37ca" providerId="ADAL" clId="{825661C0-0CF9-4D97-B175-A358EFE0ED63}" dt="2021-05-25T17:35:19.281" v="183"/>
          <ac:spMkLst>
            <pc:docMk/>
            <pc:sldMk cId="2214498498" sldId="2076138454"/>
            <ac:spMk id="18" creationId="{E01FD72A-7CB6-4B3C-8491-0050D63325B6}"/>
          </ac:spMkLst>
        </pc:spChg>
        <pc:spChg chg="mod">
          <ac:chgData name="Allison Pass" userId="3bdd7fee-e623-47d0-9b6c-324afc1c37ca" providerId="ADAL" clId="{825661C0-0CF9-4D97-B175-A358EFE0ED63}" dt="2021-05-25T17:35:19.281" v="183"/>
          <ac:spMkLst>
            <pc:docMk/>
            <pc:sldMk cId="2214498498" sldId="2076138454"/>
            <ac:spMk id="19" creationId="{96D3C93E-6F87-4130-B65C-E1F4CDF1DE1F}"/>
          </ac:spMkLst>
        </pc:spChg>
        <pc:spChg chg="mod">
          <ac:chgData name="Allison Pass" userId="3bdd7fee-e623-47d0-9b6c-324afc1c37ca" providerId="ADAL" clId="{825661C0-0CF9-4D97-B175-A358EFE0ED63}" dt="2021-05-25T17:35:19.281" v="183"/>
          <ac:spMkLst>
            <pc:docMk/>
            <pc:sldMk cId="2214498498" sldId="2076138454"/>
            <ac:spMk id="20" creationId="{F2B3FF11-EA72-403E-8DDB-1B8A06705B4D}"/>
          </ac:spMkLst>
        </pc:spChg>
        <pc:spChg chg="mod">
          <ac:chgData name="Allison Pass" userId="3bdd7fee-e623-47d0-9b6c-324afc1c37ca" providerId="ADAL" clId="{825661C0-0CF9-4D97-B175-A358EFE0ED63}" dt="2021-05-25T17:35:19.281" v="183"/>
          <ac:spMkLst>
            <pc:docMk/>
            <pc:sldMk cId="2214498498" sldId="2076138454"/>
            <ac:spMk id="21" creationId="{2F5F2E34-F032-4B6C-8392-45FD78FFE609}"/>
          </ac:spMkLst>
        </pc:spChg>
        <pc:spChg chg="add del mod">
          <ac:chgData name="Allison Pass" userId="3bdd7fee-e623-47d0-9b6c-324afc1c37ca" providerId="ADAL" clId="{825661C0-0CF9-4D97-B175-A358EFE0ED63}" dt="2021-05-25T17:35:25.859" v="184"/>
          <ac:spMkLst>
            <pc:docMk/>
            <pc:sldMk cId="2214498498" sldId="2076138454"/>
            <ac:spMk id="23" creationId="{B4F515EE-D025-47A3-BE3B-BF89A275F6B0}"/>
          </ac:spMkLst>
        </pc:spChg>
        <pc:spChg chg="mod">
          <ac:chgData name="Allison Pass" userId="3bdd7fee-e623-47d0-9b6c-324afc1c37ca" providerId="ADAL" clId="{825661C0-0CF9-4D97-B175-A358EFE0ED63}" dt="2021-05-25T17:35:19.281" v="183"/>
          <ac:spMkLst>
            <pc:docMk/>
            <pc:sldMk cId="2214498498" sldId="2076138454"/>
            <ac:spMk id="25" creationId="{D52C3268-D5D7-412E-8AA5-B0CF185FEC82}"/>
          </ac:spMkLst>
        </pc:spChg>
        <pc:spChg chg="mod">
          <ac:chgData name="Allison Pass" userId="3bdd7fee-e623-47d0-9b6c-324afc1c37ca" providerId="ADAL" clId="{825661C0-0CF9-4D97-B175-A358EFE0ED63}" dt="2021-05-25T17:35:19.281" v="183"/>
          <ac:spMkLst>
            <pc:docMk/>
            <pc:sldMk cId="2214498498" sldId="2076138454"/>
            <ac:spMk id="27" creationId="{321555A8-F77C-404E-A639-285A25131B71}"/>
          </ac:spMkLst>
        </pc:spChg>
        <pc:spChg chg="mod">
          <ac:chgData name="Allison Pass" userId="3bdd7fee-e623-47d0-9b6c-324afc1c37ca" providerId="ADAL" clId="{825661C0-0CF9-4D97-B175-A358EFE0ED63}" dt="2021-05-25T17:35:19.281" v="183"/>
          <ac:spMkLst>
            <pc:docMk/>
            <pc:sldMk cId="2214498498" sldId="2076138454"/>
            <ac:spMk id="28" creationId="{B6956CCD-D5D4-440D-8398-EE8BC3D424D5}"/>
          </ac:spMkLst>
        </pc:spChg>
        <pc:spChg chg="mod">
          <ac:chgData name="Allison Pass" userId="3bdd7fee-e623-47d0-9b6c-324afc1c37ca" providerId="ADAL" clId="{825661C0-0CF9-4D97-B175-A358EFE0ED63}" dt="2021-05-25T17:35:19.281" v="183"/>
          <ac:spMkLst>
            <pc:docMk/>
            <pc:sldMk cId="2214498498" sldId="2076138454"/>
            <ac:spMk id="29" creationId="{2C456E8C-D27A-40A1-8017-5AEE57455B27}"/>
          </ac:spMkLst>
        </pc:spChg>
        <pc:spChg chg="mod">
          <ac:chgData name="Allison Pass" userId="3bdd7fee-e623-47d0-9b6c-324afc1c37ca" providerId="ADAL" clId="{825661C0-0CF9-4D97-B175-A358EFE0ED63}" dt="2021-05-25T17:35:19.281" v="183"/>
          <ac:spMkLst>
            <pc:docMk/>
            <pc:sldMk cId="2214498498" sldId="2076138454"/>
            <ac:spMk id="31" creationId="{7D9FE7E4-085F-4126-BB56-D62E3467018F}"/>
          </ac:spMkLst>
        </pc:spChg>
        <pc:spChg chg="mod">
          <ac:chgData name="Allison Pass" userId="3bdd7fee-e623-47d0-9b6c-324afc1c37ca" providerId="ADAL" clId="{825661C0-0CF9-4D97-B175-A358EFE0ED63}" dt="2021-05-25T17:35:19.281" v="183"/>
          <ac:spMkLst>
            <pc:docMk/>
            <pc:sldMk cId="2214498498" sldId="2076138454"/>
            <ac:spMk id="32" creationId="{F9362182-8E13-4B78-8042-5133F9909791}"/>
          </ac:spMkLst>
        </pc:spChg>
        <pc:spChg chg="add del mod">
          <ac:chgData name="Allison Pass" userId="3bdd7fee-e623-47d0-9b6c-324afc1c37ca" providerId="ADAL" clId="{825661C0-0CF9-4D97-B175-A358EFE0ED63}" dt="2021-05-25T17:35:25.859" v="184"/>
          <ac:spMkLst>
            <pc:docMk/>
            <pc:sldMk cId="2214498498" sldId="2076138454"/>
            <ac:spMk id="34" creationId="{0BBCF406-FEB3-4DC4-B1A1-7BC84B0C7F1C}"/>
          </ac:spMkLst>
        </pc:spChg>
        <pc:spChg chg="mod">
          <ac:chgData name="Allison Pass" userId="3bdd7fee-e623-47d0-9b6c-324afc1c37ca" providerId="ADAL" clId="{825661C0-0CF9-4D97-B175-A358EFE0ED63}" dt="2021-05-25T17:35:19.281" v="183"/>
          <ac:spMkLst>
            <pc:docMk/>
            <pc:sldMk cId="2214498498" sldId="2076138454"/>
            <ac:spMk id="36" creationId="{F456B0ED-0574-44AE-AFBC-3F845406EB49}"/>
          </ac:spMkLst>
        </pc:spChg>
        <pc:spChg chg="mod">
          <ac:chgData name="Allison Pass" userId="3bdd7fee-e623-47d0-9b6c-324afc1c37ca" providerId="ADAL" clId="{825661C0-0CF9-4D97-B175-A358EFE0ED63}" dt="2021-05-25T17:35:19.281" v="183"/>
          <ac:spMkLst>
            <pc:docMk/>
            <pc:sldMk cId="2214498498" sldId="2076138454"/>
            <ac:spMk id="37" creationId="{AD3F69F3-DF67-499B-BAD7-EB1E0612FF95}"/>
          </ac:spMkLst>
        </pc:spChg>
        <pc:spChg chg="mod">
          <ac:chgData name="Allison Pass" userId="3bdd7fee-e623-47d0-9b6c-324afc1c37ca" providerId="ADAL" clId="{825661C0-0CF9-4D97-B175-A358EFE0ED63}" dt="2021-05-25T17:35:19.281" v="183"/>
          <ac:spMkLst>
            <pc:docMk/>
            <pc:sldMk cId="2214498498" sldId="2076138454"/>
            <ac:spMk id="39" creationId="{4FD8851A-2D3F-4B69-B69B-39874B795B8B}"/>
          </ac:spMkLst>
        </pc:spChg>
        <pc:spChg chg="mod">
          <ac:chgData name="Allison Pass" userId="3bdd7fee-e623-47d0-9b6c-324afc1c37ca" providerId="ADAL" clId="{825661C0-0CF9-4D97-B175-A358EFE0ED63}" dt="2021-05-25T17:35:19.281" v="183"/>
          <ac:spMkLst>
            <pc:docMk/>
            <pc:sldMk cId="2214498498" sldId="2076138454"/>
            <ac:spMk id="40" creationId="{ADD96B6E-E410-4E5F-87CB-CAFE04AD9E61}"/>
          </ac:spMkLst>
        </pc:spChg>
        <pc:spChg chg="mod">
          <ac:chgData name="Allison Pass" userId="3bdd7fee-e623-47d0-9b6c-324afc1c37ca" providerId="ADAL" clId="{825661C0-0CF9-4D97-B175-A358EFE0ED63}" dt="2021-05-25T17:35:19.281" v="183"/>
          <ac:spMkLst>
            <pc:docMk/>
            <pc:sldMk cId="2214498498" sldId="2076138454"/>
            <ac:spMk id="42" creationId="{01838A5C-1720-4FBD-9108-0725F60C7B94}"/>
          </ac:spMkLst>
        </pc:spChg>
        <pc:spChg chg="mod">
          <ac:chgData name="Allison Pass" userId="3bdd7fee-e623-47d0-9b6c-324afc1c37ca" providerId="ADAL" clId="{825661C0-0CF9-4D97-B175-A358EFE0ED63}" dt="2021-05-25T17:35:19.281" v="183"/>
          <ac:spMkLst>
            <pc:docMk/>
            <pc:sldMk cId="2214498498" sldId="2076138454"/>
            <ac:spMk id="43" creationId="{D8DBD382-1FC8-4D0E-9F92-3DE8ED53CA5C}"/>
          </ac:spMkLst>
        </pc:spChg>
        <pc:spChg chg="add del mod">
          <ac:chgData name="Allison Pass" userId="3bdd7fee-e623-47d0-9b6c-324afc1c37ca" providerId="ADAL" clId="{825661C0-0CF9-4D97-B175-A358EFE0ED63}" dt="2021-05-25T17:35:25.859" v="184"/>
          <ac:spMkLst>
            <pc:docMk/>
            <pc:sldMk cId="2214498498" sldId="2076138454"/>
            <ac:spMk id="45" creationId="{5A36FB3F-9EC2-4639-A496-4A93988662D7}"/>
          </ac:spMkLst>
        </pc:spChg>
        <pc:spChg chg="mod">
          <ac:chgData name="Allison Pass" userId="3bdd7fee-e623-47d0-9b6c-324afc1c37ca" providerId="ADAL" clId="{825661C0-0CF9-4D97-B175-A358EFE0ED63}" dt="2021-05-25T17:35:19.281" v="183"/>
          <ac:spMkLst>
            <pc:docMk/>
            <pc:sldMk cId="2214498498" sldId="2076138454"/>
            <ac:spMk id="48" creationId="{D2EC54CD-2ED4-4E95-9EC5-84E671F7CB5D}"/>
          </ac:spMkLst>
        </pc:spChg>
        <pc:spChg chg="mod">
          <ac:chgData name="Allison Pass" userId="3bdd7fee-e623-47d0-9b6c-324afc1c37ca" providerId="ADAL" clId="{825661C0-0CF9-4D97-B175-A358EFE0ED63}" dt="2021-05-25T17:35:19.281" v="183"/>
          <ac:spMkLst>
            <pc:docMk/>
            <pc:sldMk cId="2214498498" sldId="2076138454"/>
            <ac:spMk id="49" creationId="{DE4DDC0E-1794-45FF-8AC2-6E3E8D4EA023}"/>
          </ac:spMkLst>
        </pc:spChg>
        <pc:spChg chg="mod">
          <ac:chgData name="Allison Pass" userId="3bdd7fee-e623-47d0-9b6c-324afc1c37ca" providerId="ADAL" clId="{825661C0-0CF9-4D97-B175-A358EFE0ED63}" dt="2021-05-25T17:35:19.281" v="183"/>
          <ac:spMkLst>
            <pc:docMk/>
            <pc:sldMk cId="2214498498" sldId="2076138454"/>
            <ac:spMk id="50" creationId="{0E9AB5C2-A739-4F7E-A666-12736E818C75}"/>
          </ac:spMkLst>
        </pc:spChg>
        <pc:spChg chg="mod">
          <ac:chgData name="Allison Pass" userId="3bdd7fee-e623-47d0-9b6c-324afc1c37ca" providerId="ADAL" clId="{825661C0-0CF9-4D97-B175-A358EFE0ED63}" dt="2021-05-25T17:35:19.281" v="183"/>
          <ac:spMkLst>
            <pc:docMk/>
            <pc:sldMk cId="2214498498" sldId="2076138454"/>
            <ac:spMk id="51" creationId="{7508DA53-4752-49A1-9FA2-2765CE73DAB8}"/>
          </ac:spMkLst>
        </pc:spChg>
        <pc:spChg chg="mod">
          <ac:chgData name="Allison Pass" userId="3bdd7fee-e623-47d0-9b6c-324afc1c37ca" providerId="ADAL" clId="{825661C0-0CF9-4D97-B175-A358EFE0ED63}" dt="2021-05-25T17:35:19.281" v="183"/>
          <ac:spMkLst>
            <pc:docMk/>
            <pc:sldMk cId="2214498498" sldId="2076138454"/>
            <ac:spMk id="53" creationId="{4B0A53FB-B989-4FDB-80DB-3B5809F16834}"/>
          </ac:spMkLst>
        </pc:spChg>
        <pc:spChg chg="mod">
          <ac:chgData name="Allison Pass" userId="3bdd7fee-e623-47d0-9b6c-324afc1c37ca" providerId="ADAL" clId="{825661C0-0CF9-4D97-B175-A358EFE0ED63}" dt="2021-05-25T17:35:19.281" v="183"/>
          <ac:spMkLst>
            <pc:docMk/>
            <pc:sldMk cId="2214498498" sldId="2076138454"/>
            <ac:spMk id="54" creationId="{13B00BE2-F1E4-4627-8A61-C69B2CBA8643}"/>
          </ac:spMkLst>
        </pc:spChg>
        <pc:spChg chg="mod">
          <ac:chgData name="Allison Pass" userId="3bdd7fee-e623-47d0-9b6c-324afc1c37ca" providerId="ADAL" clId="{825661C0-0CF9-4D97-B175-A358EFE0ED63}" dt="2021-05-25T17:35:19.281" v="183"/>
          <ac:spMkLst>
            <pc:docMk/>
            <pc:sldMk cId="2214498498" sldId="2076138454"/>
            <ac:spMk id="55" creationId="{957468E7-3509-4AFC-B478-53B2D01B7F6F}"/>
          </ac:spMkLst>
        </pc:spChg>
        <pc:spChg chg="mod">
          <ac:chgData name="Allison Pass" userId="3bdd7fee-e623-47d0-9b6c-324afc1c37ca" providerId="ADAL" clId="{825661C0-0CF9-4D97-B175-A358EFE0ED63}" dt="2021-05-25T17:35:19.281" v="183"/>
          <ac:spMkLst>
            <pc:docMk/>
            <pc:sldMk cId="2214498498" sldId="2076138454"/>
            <ac:spMk id="56" creationId="{10D82CBD-4DDF-4864-836D-BC880AE2731A}"/>
          </ac:spMkLst>
        </pc:spChg>
        <pc:spChg chg="mod">
          <ac:chgData name="Allison Pass" userId="3bdd7fee-e623-47d0-9b6c-324afc1c37ca" providerId="ADAL" clId="{825661C0-0CF9-4D97-B175-A358EFE0ED63}" dt="2021-05-25T17:35:19.281" v="183"/>
          <ac:spMkLst>
            <pc:docMk/>
            <pc:sldMk cId="2214498498" sldId="2076138454"/>
            <ac:spMk id="57" creationId="{4EDDB562-2DB4-42B1-BFD5-0231EEAA03A7}"/>
          </ac:spMkLst>
        </pc:spChg>
        <pc:spChg chg="mod">
          <ac:chgData name="Allison Pass" userId="3bdd7fee-e623-47d0-9b6c-324afc1c37ca" providerId="ADAL" clId="{825661C0-0CF9-4D97-B175-A358EFE0ED63}" dt="2021-05-25T17:35:19.281" v="183"/>
          <ac:spMkLst>
            <pc:docMk/>
            <pc:sldMk cId="2214498498" sldId="2076138454"/>
            <ac:spMk id="58" creationId="{0A550860-5003-4CCD-A8A2-66D65321AF2B}"/>
          </ac:spMkLst>
        </pc:spChg>
        <pc:spChg chg="mod">
          <ac:chgData name="Allison Pass" userId="3bdd7fee-e623-47d0-9b6c-324afc1c37ca" providerId="ADAL" clId="{825661C0-0CF9-4D97-B175-A358EFE0ED63}" dt="2021-05-25T17:35:19.281" v="183"/>
          <ac:spMkLst>
            <pc:docMk/>
            <pc:sldMk cId="2214498498" sldId="2076138454"/>
            <ac:spMk id="59" creationId="{CACE004A-B1F0-4F25-8120-5D084F21F03B}"/>
          </ac:spMkLst>
        </pc:spChg>
        <pc:spChg chg="mod">
          <ac:chgData name="Allison Pass" userId="3bdd7fee-e623-47d0-9b6c-324afc1c37ca" providerId="ADAL" clId="{825661C0-0CF9-4D97-B175-A358EFE0ED63}" dt="2021-05-25T17:35:19.281" v="183"/>
          <ac:spMkLst>
            <pc:docMk/>
            <pc:sldMk cId="2214498498" sldId="2076138454"/>
            <ac:spMk id="60" creationId="{9100FB8C-2BF3-49E5-8057-E12BCA4CC438}"/>
          </ac:spMkLst>
        </pc:spChg>
        <pc:spChg chg="add del mod">
          <ac:chgData name="Allison Pass" userId="3bdd7fee-e623-47d0-9b6c-324afc1c37ca" providerId="ADAL" clId="{825661C0-0CF9-4D97-B175-A358EFE0ED63}" dt="2021-05-25T17:35:25.859" v="184"/>
          <ac:spMkLst>
            <pc:docMk/>
            <pc:sldMk cId="2214498498" sldId="2076138454"/>
            <ac:spMk id="62" creationId="{5881B9B6-9CC4-43F5-8312-83BB616F9ACC}"/>
          </ac:spMkLst>
        </pc:spChg>
        <pc:spChg chg="add del mod">
          <ac:chgData name="Allison Pass" userId="3bdd7fee-e623-47d0-9b6c-324afc1c37ca" providerId="ADAL" clId="{825661C0-0CF9-4D97-B175-A358EFE0ED63}" dt="2021-05-25T17:35:25.859" v="184"/>
          <ac:spMkLst>
            <pc:docMk/>
            <pc:sldMk cId="2214498498" sldId="2076138454"/>
            <ac:spMk id="63" creationId="{8ACFD51D-D631-40D2-9E74-CD3CC10560D9}"/>
          </ac:spMkLst>
        </pc:spChg>
        <pc:spChg chg="add del mod">
          <ac:chgData name="Allison Pass" userId="3bdd7fee-e623-47d0-9b6c-324afc1c37ca" providerId="ADAL" clId="{825661C0-0CF9-4D97-B175-A358EFE0ED63}" dt="2021-05-25T17:35:25.859" v="184"/>
          <ac:spMkLst>
            <pc:docMk/>
            <pc:sldMk cId="2214498498" sldId="2076138454"/>
            <ac:spMk id="64" creationId="{E355B926-A901-49E6-AAE0-43CC4E04DB09}"/>
          </ac:spMkLst>
        </pc:spChg>
        <pc:spChg chg="add del mod">
          <ac:chgData name="Allison Pass" userId="3bdd7fee-e623-47d0-9b6c-324afc1c37ca" providerId="ADAL" clId="{825661C0-0CF9-4D97-B175-A358EFE0ED63}" dt="2021-05-25T17:35:25.859" v="184"/>
          <ac:spMkLst>
            <pc:docMk/>
            <pc:sldMk cId="2214498498" sldId="2076138454"/>
            <ac:spMk id="65" creationId="{2326F538-8E0A-40DA-8E56-5AF8759AF4B1}"/>
          </ac:spMkLst>
        </pc:spChg>
        <pc:spChg chg="add del mod">
          <ac:chgData name="Allison Pass" userId="3bdd7fee-e623-47d0-9b6c-324afc1c37ca" providerId="ADAL" clId="{825661C0-0CF9-4D97-B175-A358EFE0ED63}" dt="2021-05-25T17:35:25.859" v="184"/>
          <ac:spMkLst>
            <pc:docMk/>
            <pc:sldMk cId="2214498498" sldId="2076138454"/>
            <ac:spMk id="66" creationId="{803DC207-5837-4432-9559-C4BF016E3E56}"/>
          </ac:spMkLst>
        </pc:spChg>
        <pc:spChg chg="add del mod">
          <ac:chgData name="Allison Pass" userId="3bdd7fee-e623-47d0-9b6c-324afc1c37ca" providerId="ADAL" clId="{825661C0-0CF9-4D97-B175-A358EFE0ED63}" dt="2021-05-25T17:35:25.859" v="184"/>
          <ac:spMkLst>
            <pc:docMk/>
            <pc:sldMk cId="2214498498" sldId="2076138454"/>
            <ac:spMk id="67" creationId="{879FFF03-0885-4A9C-96EB-732416B29099}"/>
          </ac:spMkLst>
        </pc:spChg>
        <pc:spChg chg="add del mod">
          <ac:chgData name="Allison Pass" userId="3bdd7fee-e623-47d0-9b6c-324afc1c37ca" providerId="ADAL" clId="{825661C0-0CF9-4D97-B175-A358EFE0ED63}" dt="2021-05-25T17:35:25.859" v="184"/>
          <ac:spMkLst>
            <pc:docMk/>
            <pc:sldMk cId="2214498498" sldId="2076138454"/>
            <ac:spMk id="68" creationId="{C2AAABB1-AAA5-4916-97AE-E4F484E13C02}"/>
          </ac:spMkLst>
        </pc:spChg>
        <pc:spChg chg="mod">
          <ac:chgData name="Allison Pass" userId="3bdd7fee-e623-47d0-9b6c-324afc1c37ca" providerId="ADAL" clId="{825661C0-0CF9-4D97-B175-A358EFE0ED63}" dt="2021-05-25T17:35:19.281" v="183"/>
          <ac:spMkLst>
            <pc:docMk/>
            <pc:sldMk cId="2214498498" sldId="2076138454"/>
            <ac:spMk id="70" creationId="{D9FDF1FC-C4E3-4EC7-8AF0-272ED1F0AA48}"/>
          </ac:spMkLst>
        </pc:spChg>
        <pc:spChg chg="mod">
          <ac:chgData name="Allison Pass" userId="3bdd7fee-e623-47d0-9b6c-324afc1c37ca" providerId="ADAL" clId="{825661C0-0CF9-4D97-B175-A358EFE0ED63}" dt="2021-05-25T17:35:19.281" v="183"/>
          <ac:spMkLst>
            <pc:docMk/>
            <pc:sldMk cId="2214498498" sldId="2076138454"/>
            <ac:spMk id="72" creationId="{3EE0B943-3503-4812-B74D-98C04E9DF18E}"/>
          </ac:spMkLst>
        </pc:spChg>
        <pc:spChg chg="mod">
          <ac:chgData name="Allison Pass" userId="3bdd7fee-e623-47d0-9b6c-324afc1c37ca" providerId="ADAL" clId="{825661C0-0CF9-4D97-B175-A358EFE0ED63}" dt="2021-05-25T17:35:19.281" v="183"/>
          <ac:spMkLst>
            <pc:docMk/>
            <pc:sldMk cId="2214498498" sldId="2076138454"/>
            <ac:spMk id="73" creationId="{CE14497C-F48C-4A91-BDBF-786778A5DBFB}"/>
          </ac:spMkLst>
        </pc:spChg>
        <pc:spChg chg="mod">
          <ac:chgData name="Allison Pass" userId="3bdd7fee-e623-47d0-9b6c-324afc1c37ca" providerId="ADAL" clId="{825661C0-0CF9-4D97-B175-A358EFE0ED63}" dt="2021-05-25T17:35:19.281" v="183"/>
          <ac:spMkLst>
            <pc:docMk/>
            <pc:sldMk cId="2214498498" sldId="2076138454"/>
            <ac:spMk id="74" creationId="{9C9EC75C-62FA-451A-8CCA-3E65A8302F53}"/>
          </ac:spMkLst>
        </pc:spChg>
        <pc:spChg chg="mod">
          <ac:chgData name="Allison Pass" userId="3bdd7fee-e623-47d0-9b6c-324afc1c37ca" providerId="ADAL" clId="{825661C0-0CF9-4D97-B175-A358EFE0ED63}" dt="2021-05-25T17:35:19.281" v="183"/>
          <ac:spMkLst>
            <pc:docMk/>
            <pc:sldMk cId="2214498498" sldId="2076138454"/>
            <ac:spMk id="75" creationId="{72B0B95F-4EA4-4E9C-B7C6-F610DEAE41DF}"/>
          </ac:spMkLst>
        </pc:spChg>
        <pc:spChg chg="mod">
          <ac:chgData name="Allison Pass" userId="3bdd7fee-e623-47d0-9b6c-324afc1c37ca" providerId="ADAL" clId="{825661C0-0CF9-4D97-B175-A358EFE0ED63}" dt="2021-05-25T17:35:19.281" v="183"/>
          <ac:spMkLst>
            <pc:docMk/>
            <pc:sldMk cId="2214498498" sldId="2076138454"/>
            <ac:spMk id="76" creationId="{80FC7DC6-631D-4D91-A27D-8A4A6CDB2E85}"/>
          </ac:spMkLst>
        </pc:spChg>
        <pc:spChg chg="mod">
          <ac:chgData name="Allison Pass" userId="3bdd7fee-e623-47d0-9b6c-324afc1c37ca" providerId="ADAL" clId="{825661C0-0CF9-4D97-B175-A358EFE0ED63}" dt="2021-05-25T17:35:19.281" v="183"/>
          <ac:spMkLst>
            <pc:docMk/>
            <pc:sldMk cId="2214498498" sldId="2076138454"/>
            <ac:spMk id="77" creationId="{F60FA7EB-AE81-47DF-B8F0-09A6B9A04080}"/>
          </ac:spMkLst>
        </pc:spChg>
        <pc:spChg chg="mod">
          <ac:chgData name="Allison Pass" userId="3bdd7fee-e623-47d0-9b6c-324afc1c37ca" providerId="ADAL" clId="{825661C0-0CF9-4D97-B175-A358EFE0ED63}" dt="2021-05-25T17:35:19.281" v="183"/>
          <ac:spMkLst>
            <pc:docMk/>
            <pc:sldMk cId="2214498498" sldId="2076138454"/>
            <ac:spMk id="78" creationId="{9DBD48B0-907B-4439-A3CD-595F0E4A8FBA}"/>
          </ac:spMkLst>
        </pc:spChg>
        <pc:spChg chg="mod">
          <ac:chgData name="Allison Pass" userId="3bdd7fee-e623-47d0-9b6c-324afc1c37ca" providerId="ADAL" clId="{825661C0-0CF9-4D97-B175-A358EFE0ED63}" dt="2021-05-25T17:35:19.281" v="183"/>
          <ac:spMkLst>
            <pc:docMk/>
            <pc:sldMk cId="2214498498" sldId="2076138454"/>
            <ac:spMk id="79" creationId="{B1C544DE-C3AE-4362-BA32-37121A99700E}"/>
          </ac:spMkLst>
        </pc:spChg>
        <pc:spChg chg="mod">
          <ac:chgData name="Allison Pass" userId="3bdd7fee-e623-47d0-9b6c-324afc1c37ca" providerId="ADAL" clId="{825661C0-0CF9-4D97-B175-A358EFE0ED63}" dt="2021-05-25T17:35:19.281" v="183"/>
          <ac:spMkLst>
            <pc:docMk/>
            <pc:sldMk cId="2214498498" sldId="2076138454"/>
            <ac:spMk id="80" creationId="{CFAF869B-F99D-49D0-BE94-5DE0201FFA66}"/>
          </ac:spMkLst>
        </pc:spChg>
        <pc:spChg chg="mod">
          <ac:chgData name="Allison Pass" userId="3bdd7fee-e623-47d0-9b6c-324afc1c37ca" providerId="ADAL" clId="{825661C0-0CF9-4D97-B175-A358EFE0ED63}" dt="2021-05-25T17:35:19.281" v="183"/>
          <ac:spMkLst>
            <pc:docMk/>
            <pc:sldMk cId="2214498498" sldId="2076138454"/>
            <ac:spMk id="81" creationId="{69EFA84C-D1A3-47FD-9B5F-ABD36354B72C}"/>
          </ac:spMkLst>
        </pc:spChg>
        <pc:spChg chg="mod">
          <ac:chgData name="Allison Pass" userId="3bdd7fee-e623-47d0-9b6c-324afc1c37ca" providerId="ADAL" clId="{825661C0-0CF9-4D97-B175-A358EFE0ED63}" dt="2021-05-25T17:35:19.281" v="183"/>
          <ac:spMkLst>
            <pc:docMk/>
            <pc:sldMk cId="2214498498" sldId="2076138454"/>
            <ac:spMk id="82" creationId="{32B4AA55-723C-44A9-B200-B9AE3960BBF7}"/>
          </ac:spMkLst>
        </pc:spChg>
        <pc:spChg chg="mod">
          <ac:chgData name="Allison Pass" userId="3bdd7fee-e623-47d0-9b6c-324afc1c37ca" providerId="ADAL" clId="{825661C0-0CF9-4D97-B175-A358EFE0ED63}" dt="2021-05-25T17:35:19.281" v="183"/>
          <ac:spMkLst>
            <pc:docMk/>
            <pc:sldMk cId="2214498498" sldId="2076138454"/>
            <ac:spMk id="83" creationId="{899F467E-014F-4ED2-B171-70D2210811AB}"/>
          </ac:spMkLst>
        </pc:spChg>
        <pc:spChg chg="mod">
          <ac:chgData name="Allison Pass" userId="3bdd7fee-e623-47d0-9b6c-324afc1c37ca" providerId="ADAL" clId="{825661C0-0CF9-4D97-B175-A358EFE0ED63}" dt="2021-05-25T17:35:19.281" v="183"/>
          <ac:spMkLst>
            <pc:docMk/>
            <pc:sldMk cId="2214498498" sldId="2076138454"/>
            <ac:spMk id="84" creationId="{60AF8B4C-0C4F-4B4B-AAF2-BB41D2FD8D64}"/>
          </ac:spMkLst>
        </pc:spChg>
        <pc:spChg chg="mod">
          <ac:chgData name="Allison Pass" userId="3bdd7fee-e623-47d0-9b6c-324afc1c37ca" providerId="ADAL" clId="{825661C0-0CF9-4D97-B175-A358EFE0ED63}" dt="2021-05-25T17:35:19.281" v="183"/>
          <ac:spMkLst>
            <pc:docMk/>
            <pc:sldMk cId="2214498498" sldId="2076138454"/>
            <ac:spMk id="85" creationId="{1D83B00D-BE91-42ED-B755-56BA62A4A044}"/>
          </ac:spMkLst>
        </pc:spChg>
        <pc:spChg chg="mod">
          <ac:chgData name="Allison Pass" userId="3bdd7fee-e623-47d0-9b6c-324afc1c37ca" providerId="ADAL" clId="{825661C0-0CF9-4D97-B175-A358EFE0ED63}" dt="2021-05-25T17:35:19.281" v="183"/>
          <ac:spMkLst>
            <pc:docMk/>
            <pc:sldMk cId="2214498498" sldId="2076138454"/>
            <ac:spMk id="86" creationId="{EBBE1173-8BB9-49CD-8814-29554CA787D7}"/>
          </ac:spMkLst>
        </pc:spChg>
        <pc:spChg chg="mod">
          <ac:chgData name="Allison Pass" userId="3bdd7fee-e623-47d0-9b6c-324afc1c37ca" providerId="ADAL" clId="{825661C0-0CF9-4D97-B175-A358EFE0ED63}" dt="2021-05-25T17:35:19.281" v="183"/>
          <ac:spMkLst>
            <pc:docMk/>
            <pc:sldMk cId="2214498498" sldId="2076138454"/>
            <ac:spMk id="90" creationId="{3B0B65C9-EF59-4E81-849E-28AD2B800484}"/>
          </ac:spMkLst>
        </pc:spChg>
        <pc:spChg chg="mod">
          <ac:chgData name="Allison Pass" userId="3bdd7fee-e623-47d0-9b6c-324afc1c37ca" providerId="ADAL" clId="{825661C0-0CF9-4D97-B175-A358EFE0ED63}" dt="2021-05-25T17:35:19.281" v="183"/>
          <ac:spMkLst>
            <pc:docMk/>
            <pc:sldMk cId="2214498498" sldId="2076138454"/>
            <ac:spMk id="94" creationId="{213FDCFE-81FD-4EDF-8C4F-2D5EFF0EEAA5}"/>
          </ac:spMkLst>
        </pc:spChg>
        <pc:spChg chg="mod">
          <ac:chgData name="Allison Pass" userId="3bdd7fee-e623-47d0-9b6c-324afc1c37ca" providerId="ADAL" clId="{825661C0-0CF9-4D97-B175-A358EFE0ED63}" dt="2021-05-25T17:35:19.281" v="183"/>
          <ac:spMkLst>
            <pc:docMk/>
            <pc:sldMk cId="2214498498" sldId="2076138454"/>
            <ac:spMk id="98" creationId="{83FC2113-9C9B-44E8-92CE-1E582FBE4119}"/>
          </ac:spMkLst>
        </pc:spChg>
        <pc:grpChg chg="add del mod">
          <ac:chgData name="Allison Pass" userId="3bdd7fee-e623-47d0-9b6c-324afc1c37ca" providerId="ADAL" clId="{825661C0-0CF9-4D97-B175-A358EFE0ED63}" dt="2021-05-25T17:35:25.859" v="184"/>
          <ac:grpSpMkLst>
            <pc:docMk/>
            <pc:sldMk cId="2214498498" sldId="2076138454"/>
            <ac:grpSpMk id="7" creationId="{AF9BEC9B-213E-48A2-B5FD-E5F641AAB270}"/>
          </ac:grpSpMkLst>
        </pc:grpChg>
        <pc:grpChg chg="mod">
          <ac:chgData name="Allison Pass" userId="3bdd7fee-e623-47d0-9b6c-324afc1c37ca" providerId="ADAL" clId="{825661C0-0CF9-4D97-B175-A358EFE0ED63}" dt="2021-05-25T17:35:19.281" v="183"/>
          <ac:grpSpMkLst>
            <pc:docMk/>
            <pc:sldMk cId="2214498498" sldId="2076138454"/>
            <ac:grpSpMk id="10" creationId="{B9FDEF6A-F2A0-446D-B7EF-0970CF45E32D}"/>
          </ac:grpSpMkLst>
        </pc:grpChg>
        <pc:grpChg chg="mod">
          <ac:chgData name="Allison Pass" userId="3bdd7fee-e623-47d0-9b6c-324afc1c37ca" providerId="ADAL" clId="{825661C0-0CF9-4D97-B175-A358EFE0ED63}" dt="2021-05-25T17:35:19.281" v="183"/>
          <ac:grpSpMkLst>
            <pc:docMk/>
            <pc:sldMk cId="2214498498" sldId="2076138454"/>
            <ac:grpSpMk id="13" creationId="{6A209747-83A9-47B9-A2DB-C86048E0B846}"/>
          </ac:grpSpMkLst>
        </pc:grpChg>
        <pc:grpChg chg="add del mod">
          <ac:chgData name="Allison Pass" userId="3bdd7fee-e623-47d0-9b6c-324afc1c37ca" providerId="ADAL" clId="{825661C0-0CF9-4D97-B175-A358EFE0ED63}" dt="2021-05-25T17:35:25.859" v="184"/>
          <ac:grpSpMkLst>
            <pc:docMk/>
            <pc:sldMk cId="2214498498" sldId="2076138454"/>
            <ac:grpSpMk id="24" creationId="{6F70999D-6C23-4C03-86E4-D1AD24BE5E6E}"/>
          </ac:grpSpMkLst>
        </pc:grpChg>
        <pc:grpChg chg="mod">
          <ac:chgData name="Allison Pass" userId="3bdd7fee-e623-47d0-9b6c-324afc1c37ca" providerId="ADAL" clId="{825661C0-0CF9-4D97-B175-A358EFE0ED63}" dt="2021-05-25T17:35:19.281" v="183"/>
          <ac:grpSpMkLst>
            <pc:docMk/>
            <pc:sldMk cId="2214498498" sldId="2076138454"/>
            <ac:grpSpMk id="26" creationId="{B9EEED45-6766-4F96-A910-2FBE25836276}"/>
          </ac:grpSpMkLst>
        </pc:grpChg>
        <pc:grpChg chg="mod">
          <ac:chgData name="Allison Pass" userId="3bdd7fee-e623-47d0-9b6c-324afc1c37ca" providerId="ADAL" clId="{825661C0-0CF9-4D97-B175-A358EFE0ED63}" dt="2021-05-25T17:35:19.281" v="183"/>
          <ac:grpSpMkLst>
            <pc:docMk/>
            <pc:sldMk cId="2214498498" sldId="2076138454"/>
            <ac:grpSpMk id="30" creationId="{BC233322-77F2-4D9C-80C3-CC44B869CC0F}"/>
          </ac:grpSpMkLst>
        </pc:grpChg>
        <pc:grpChg chg="add del mod">
          <ac:chgData name="Allison Pass" userId="3bdd7fee-e623-47d0-9b6c-324afc1c37ca" providerId="ADAL" clId="{825661C0-0CF9-4D97-B175-A358EFE0ED63}" dt="2021-05-25T17:35:25.859" v="184"/>
          <ac:grpSpMkLst>
            <pc:docMk/>
            <pc:sldMk cId="2214498498" sldId="2076138454"/>
            <ac:grpSpMk id="35" creationId="{0A52FACC-5664-4719-A22D-D07F5B9557E7}"/>
          </ac:grpSpMkLst>
        </pc:grpChg>
        <pc:grpChg chg="mod">
          <ac:chgData name="Allison Pass" userId="3bdd7fee-e623-47d0-9b6c-324afc1c37ca" providerId="ADAL" clId="{825661C0-0CF9-4D97-B175-A358EFE0ED63}" dt="2021-05-25T17:35:19.281" v="183"/>
          <ac:grpSpMkLst>
            <pc:docMk/>
            <pc:sldMk cId="2214498498" sldId="2076138454"/>
            <ac:grpSpMk id="38" creationId="{FF4E4157-4DCB-4919-A010-7E9403CF25BF}"/>
          </ac:grpSpMkLst>
        </pc:grpChg>
        <pc:grpChg chg="mod">
          <ac:chgData name="Allison Pass" userId="3bdd7fee-e623-47d0-9b6c-324afc1c37ca" providerId="ADAL" clId="{825661C0-0CF9-4D97-B175-A358EFE0ED63}" dt="2021-05-25T17:35:19.281" v="183"/>
          <ac:grpSpMkLst>
            <pc:docMk/>
            <pc:sldMk cId="2214498498" sldId="2076138454"/>
            <ac:grpSpMk id="41" creationId="{779C4D22-6A38-464A-892E-9FF4F1D7F1D7}"/>
          </ac:grpSpMkLst>
        </pc:grpChg>
        <pc:grpChg chg="add del mod">
          <ac:chgData name="Allison Pass" userId="3bdd7fee-e623-47d0-9b6c-324afc1c37ca" providerId="ADAL" clId="{825661C0-0CF9-4D97-B175-A358EFE0ED63}" dt="2021-05-25T17:35:25.859" v="184"/>
          <ac:grpSpMkLst>
            <pc:docMk/>
            <pc:sldMk cId="2214498498" sldId="2076138454"/>
            <ac:grpSpMk id="47" creationId="{CB13EFC0-DE00-4F7D-A502-E77B0110E8CD}"/>
          </ac:grpSpMkLst>
        </pc:grpChg>
        <pc:grpChg chg="mod">
          <ac:chgData name="Allison Pass" userId="3bdd7fee-e623-47d0-9b6c-324afc1c37ca" providerId="ADAL" clId="{825661C0-0CF9-4D97-B175-A358EFE0ED63}" dt="2021-05-25T17:35:19.281" v="183"/>
          <ac:grpSpMkLst>
            <pc:docMk/>
            <pc:sldMk cId="2214498498" sldId="2076138454"/>
            <ac:grpSpMk id="52" creationId="{952F72E0-D2CC-45FB-AC4A-9CC8F5F09AFB}"/>
          </ac:grpSpMkLst>
        </pc:grpChg>
        <pc:grpChg chg="add del mod">
          <ac:chgData name="Allison Pass" userId="3bdd7fee-e623-47d0-9b6c-324afc1c37ca" providerId="ADAL" clId="{825661C0-0CF9-4D97-B175-A358EFE0ED63}" dt="2021-05-25T17:35:25.859" v="184"/>
          <ac:grpSpMkLst>
            <pc:docMk/>
            <pc:sldMk cId="2214498498" sldId="2076138454"/>
            <ac:grpSpMk id="69" creationId="{B7F881CE-6205-44C9-BA7B-1270C1297897}"/>
          </ac:grpSpMkLst>
        </pc:grpChg>
        <pc:grpChg chg="mod">
          <ac:chgData name="Allison Pass" userId="3bdd7fee-e623-47d0-9b6c-324afc1c37ca" providerId="ADAL" clId="{825661C0-0CF9-4D97-B175-A358EFE0ED63}" dt="2021-05-25T17:35:19.281" v="183"/>
          <ac:grpSpMkLst>
            <pc:docMk/>
            <pc:sldMk cId="2214498498" sldId="2076138454"/>
            <ac:grpSpMk id="71" creationId="{06807047-7450-49A0-8C8B-E6135A632D1B}"/>
          </ac:grpSpMkLst>
        </pc:grpChg>
        <pc:grpChg chg="add del mod">
          <ac:chgData name="Allison Pass" userId="3bdd7fee-e623-47d0-9b6c-324afc1c37ca" providerId="ADAL" clId="{825661C0-0CF9-4D97-B175-A358EFE0ED63}" dt="2021-05-25T17:35:25.859" v="184"/>
          <ac:grpSpMkLst>
            <pc:docMk/>
            <pc:sldMk cId="2214498498" sldId="2076138454"/>
            <ac:grpSpMk id="87" creationId="{5B152B31-A668-4C27-B096-34D452B93D40}"/>
          </ac:grpSpMkLst>
        </pc:grpChg>
        <pc:grpChg chg="add del mod">
          <ac:chgData name="Allison Pass" userId="3bdd7fee-e623-47d0-9b6c-324afc1c37ca" providerId="ADAL" clId="{825661C0-0CF9-4D97-B175-A358EFE0ED63}" dt="2021-05-25T17:35:25.859" v="184"/>
          <ac:grpSpMkLst>
            <pc:docMk/>
            <pc:sldMk cId="2214498498" sldId="2076138454"/>
            <ac:grpSpMk id="91" creationId="{C9665445-18EB-4712-9925-E529E71F5645}"/>
          </ac:grpSpMkLst>
        </pc:grpChg>
        <pc:grpChg chg="add del mod">
          <ac:chgData name="Allison Pass" userId="3bdd7fee-e623-47d0-9b6c-324afc1c37ca" providerId="ADAL" clId="{825661C0-0CF9-4D97-B175-A358EFE0ED63}" dt="2021-05-25T17:35:25.859" v="184"/>
          <ac:grpSpMkLst>
            <pc:docMk/>
            <pc:sldMk cId="2214498498" sldId="2076138454"/>
            <ac:grpSpMk id="95" creationId="{DF7433FA-F943-4AFC-BF4F-71E846942A07}"/>
          </ac:grpSpMkLst>
        </pc:grpChg>
        <pc:cxnChg chg="add del mod">
          <ac:chgData name="Allison Pass" userId="3bdd7fee-e623-47d0-9b6c-324afc1c37ca" providerId="ADAL" clId="{825661C0-0CF9-4D97-B175-A358EFE0ED63}" dt="2021-05-25T17:35:25.859" v="184"/>
          <ac:cxnSpMkLst>
            <pc:docMk/>
            <pc:sldMk cId="2214498498" sldId="2076138454"/>
            <ac:cxnSpMk id="22" creationId="{749E5507-B29B-4171-8C37-D60E0E17BD9D}"/>
          </ac:cxnSpMkLst>
        </pc:cxnChg>
        <pc:cxnChg chg="add del mod">
          <ac:chgData name="Allison Pass" userId="3bdd7fee-e623-47d0-9b6c-324afc1c37ca" providerId="ADAL" clId="{825661C0-0CF9-4D97-B175-A358EFE0ED63}" dt="2021-05-25T17:35:25.859" v="184"/>
          <ac:cxnSpMkLst>
            <pc:docMk/>
            <pc:sldMk cId="2214498498" sldId="2076138454"/>
            <ac:cxnSpMk id="33" creationId="{15A6E9BB-0BE5-4F89-BE49-559CB1EB1ABA}"/>
          </ac:cxnSpMkLst>
        </pc:cxnChg>
        <pc:cxnChg chg="add del mod">
          <ac:chgData name="Allison Pass" userId="3bdd7fee-e623-47d0-9b6c-324afc1c37ca" providerId="ADAL" clId="{825661C0-0CF9-4D97-B175-A358EFE0ED63}" dt="2021-05-25T17:35:25.859" v="184"/>
          <ac:cxnSpMkLst>
            <pc:docMk/>
            <pc:sldMk cId="2214498498" sldId="2076138454"/>
            <ac:cxnSpMk id="44" creationId="{DB00C255-B685-4092-B7DD-7D8068D11DA1}"/>
          </ac:cxnSpMkLst>
        </pc:cxnChg>
        <pc:cxnChg chg="add del mod">
          <ac:chgData name="Allison Pass" userId="3bdd7fee-e623-47d0-9b6c-324afc1c37ca" providerId="ADAL" clId="{825661C0-0CF9-4D97-B175-A358EFE0ED63}" dt="2021-05-25T17:35:25.859" v="184"/>
          <ac:cxnSpMkLst>
            <pc:docMk/>
            <pc:sldMk cId="2214498498" sldId="2076138454"/>
            <ac:cxnSpMk id="46" creationId="{EF3ABE87-71AE-4CFF-8DA3-7D606C243DFE}"/>
          </ac:cxnSpMkLst>
        </pc:cxnChg>
        <pc:cxnChg chg="add del mod">
          <ac:chgData name="Allison Pass" userId="3bdd7fee-e623-47d0-9b6c-324afc1c37ca" providerId="ADAL" clId="{825661C0-0CF9-4D97-B175-A358EFE0ED63}" dt="2021-05-25T17:35:25.859" v="184"/>
          <ac:cxnSpMkLst>
            <pc:docMk/>
            <pc:sldMk cId="2214498498" sldId="2076138454"/>
            <ac:cxnSpMk id="61" creationId="{649936EF-69D6-4E9F-8EF8-1BB98B90BCF2}"/>
          </ac:cxnSpMkLst>
        </pc:cxnChg>
        <pc:cxnChg chg="mod">
          <ac:chgData name="Allison Pass" userId="3bdd7fee-e623-47d0-9b6c-324afc1c37ca" providerId="ADAL" clId="{825661C0-0CF9-4D97-B175-A358EFE0ED63}" dt="2021-05-25T17:35:19.281" v="183"/>
          <ac:cxnSpMkLst>
            <pc:docMk/>
            <pc:sldMk cId="2214498498" sldId="2076138454"/>
            <ac:cxnSpMk id="88" creationId="{7B40C833-8454-480E-8962-A480BE55D6C8}"/>
          </ac:cxnSpMkLst>
        </pc:cxnChg>
        <pc:cxnChg chg="mod">
          <ac:chgData name="Allison Pass" userId="3bdd7fee-e623-47d0-9b6c-324afc1c37ca" providerId="ADAL" clId="{825661C0-0CF9-4D97-B175-A358EFE0ED63}" dt="2021-05-25T17:35:19.281" v="183"/>
          <ac:cxnSpMkLst>
            <pc:docMk/>
            <pc:sldMk cId="2214498498" sldId="2076138454"/>
            <ac:cxnSpMk id="89" creationId="{C2C42E50-D19B-4F04-AB4D-76FAB089D3C2}"/>
          </ac:cxnSpMkLst>
        </pc:cxnChg>
        <pc:cxnChg chg="mod">
          <ac:chgData name="Allison Pass" userId="3bdd7fee-e623-47d0-9b6c-324afc1c37ca" providerId="ADAL" clId="{825661C0-0CF9-4D97-B175-A358EFE0ED63}" dt="2021-05-25T17:35:19.281" v="183"/>
          <ac:cxnSpMkLst>
            <pc:docMk/>
            <pc:sldMk cId="2214498498" sldId="2076138454"/>
            <ac:cxnSpMk id="92" creationId="{56253BC3-A45A-4DEC-94F7-AFFB50A6524A}"/>
          </ac:cxnSpMkLst>
        </pc:cxnChg>
        <pc:cxnChg chg="mod">
          <ac:chgData name="Allison Pass" userId="3bdd7fee-e623-47d0-9b6c-324afc1c37ca" providerId="ADAL" clId="{825661C0-0CF9-4D97-B175-A358EFE0ED63}" dt="2021-05-25T17:35:19.281" v="183"/>
          <ac:cxnSpMkLst>
            <pc:docMk/>
            <pc:sldMk cId="2214498498" sldId="2076138454"/>
            <ac:cxnSpMk id="93" creationId="{C50E07CB-56C8-4479-9269-14B3B47E3507}"/>
          </ac:cxnSpMkLst>
        </pc:cxnChg>
        <pc:cxnChg chg="mod">
          <ac:chgData name="Allison Pass" userId="3bdd7fee-e623-47d0-9b6c-324afc1c37ca" providerId="ADAL" clId="{825661C0-0CF9-4D97-B175-A358EFE0ED63}" dt="2021-05-25T17:35:19.281" v="183"/>
          <ac:cxnSpMkLst>
            <pc:docMk/>
            <pc:sldMk cId="2214498498" sldId="2076138454"/>
            <ac:cxnSpMk id="96" creationId="{47EB8082-EA34-4492-A97B-E79CD15FA6A5}"/>
          </ac:cxnSpMkLst>
        </pc:cxnChg>
        <pc:cxnChg chg="mod">
          <ac:chgData name="Allison Pass" userId="3bdd7fee-e623-47d0-9b6c-324afc1c37ca" providerId="ADAL" clId="{825661C0-0CF9-4D97-B175-A358EFE0ED63}" dt="2021-05-25T17:35:19.281" v="183"/>
          <ac:cxnSpMkLst>
            <pc:docMk/>
            <pc:sldMk cId="2214498498" sldId="2076138454"/>
            <ac:cxnSpMk id="97" creationId="{C1779F63-5F5E-421D-80EE-9C3B43A6F536}"/>
          </ac:cxnSpMkLst>
        </pc:cxnChg>
      </pc:sldChg>
      <pc:sldChg chg="addSp delSp modSp new mod modAnim modNotesTx">
        <pc:chgData name="Allison Pass" userId="3bdd7fee-e623-47d0-9b6c-324afc1c37ca" providerId="ADAL" clId="{825661C0-0CF9-4D97-B175-A358EFE0ED63}" dt="2021-05-25T22:20:59.659" v="324" actId="20577"/>
        <pc:sldMkLst>
          <pc:docMk/>
          <pc:sldMk cId="3972117934" sldId="2076138454"/>
        </pc:sldMkLst>
        <pc:spChg chg="mod">
          <ac:chgData name="Allison Pass" userId="3bdd7fee-e623-47d0-9b6c-324afc1c37ca" providerId="ADAL" clId="{825661C0-0CF9-4D97-B175-A358EFE0ED63}" dt="2021-05-25T22:20:26.799" v="308" actId="20577"/>
          <ac:spMkLst>
            <pc:docMk/>
            <pc:sldMk cId="3972117934" sldId="2076138454"/>
            <ac:spMk id="2" creationId="{8F900199-A6E8-48D1-BB16-5AB6061E7AA5}"/>
          </ac:spMkLst>
        </pc:spChg>
        <pc:spChg chg="del">
          <ac:chgData name="Allison Pass" userId="3bdd7fee-e623-47d0-9b6c-324afc1c37ca" providerId="ADAL" clId="{825661C0-0CF9-4D97-B175-A358EFE0ED63}" dt="2021-05-25T22:20:19.399" v="283" actId="478"/>
          <ac:spMkLst>
            <pc:docMk/>
            <pc:sldMk cId="3972117934" sldId="2076138454"/>
            <ac:spMk id="3" creationId="{A6C08C4B-51F1-45EC-8CC6-36CC2839DFB1}"/>
          </ac:spMkLst>
        </pc:spChg>
        <pc:picChg chg="add mod">
          <ac:chgData name="Allison Pass" userId="3bdd7fee-e623-47d0-9b6c-324afc1c37ca" providerId="ADAL" clId="{825661C0-0CF9-4D97-B175-A358EFE0ED63}" dt="2021-05-25T22:20:41.450" v="310" actId="20377"/>
          <ac:picMkLst>
            <pc:docMk/>
            <pc:sldMk cId="3972117934" sldId="2076138454"/>
            <ac:picMk id="4" creationId="{2194084E-3A58-48D2-B438-510E7D6BFE38}"/>
          </ac:picMkLst>
        </pc:picChg>
      </pc:sldChg>
      <pc:sldChg chg="addSp delSp modSp new mod modAnim modNotesTx">
        <pc:chgData name="Allison Pass" userId="3bdd7fee-e623-47d0-9b6c-324afc1c37ca" providerId="ADAL" clId="{825661C0-0CF9-4D97-B175-A358EFE0ED63}" dt="2021-05-25T22:24:50.319" v="370" actId="20377"/>
        <pc:sldMkLst>
          <pc:docMk/>
          <pc:sldMk cId="2302806519" sldId="2076138455"/>
        </pc:sldMkLst>
        <pc:spChg chg="mod">
          <ac:chgData name="Allison Pass" userId="3bdd7fee-e623-47d0-9b6c-324afc1c37ca" providerId="ADAL" clId="{825661C0-0CF9-4D97-B175-A358EFE0ED63}" dt="2021-05-25T22:18:05.642" v="281" actId="20577"/>
          <ac:spMkLst>
            <pc:docMk/>
            <pc:sldMk cId="2302806519" sldId="2076138455"/>
            <ac:spMk id="2" creationId="{2E52365F-EE52-465C-AC82-8D5007FBB071}"/>
          </ac:spMkLst>
        </pc:spChg>
        <pc:spChg chg="del">
          <ac:chgData name="Allison Pass" userId="3bdd7fee-e623-47d0-9b6c-324afc1c37ca" providerId="ADAL" clId="{825661C0-0CF9-4D97-B175-A358EFE0ED63}" dt="2021-05-25T22:18:08.513" v="282" actId="478"/>
          <ac:spMkLst>
            <pc:docMk/>
            <pc:sldMk cId="2302806519" sldId="2076138455"/>
            <ac:spMk id="3" creationId="{37EB94B9-2722-4169-8333-417718B9864E}"/>
          </ac:spMkLst>
        </pc:spChg>
        <pc:picChg chg="add mod">
          <ac:chgData name="Allison Pass" userId="3bdd7fee-e623-47d0-9b6c-324afc1c37ca" providerId="ADAL" clId="{825661C0-0CF9-4D97-B175-A358EFE0ED63}" dt="2021-05-25T22:24:50.319" v="370" actId="20377"/>
          <ac:picMkLst>
            <pc:docMk/>
            <pc:sldMk cId="2302806519" sldId="2076138455"/>
            <ac:picMk id="4" creationId="{F4EAB50C-AB7D-4E52-9491-5F0F7730CE77}"/>
          </ac:picMkLst>
        </pc:picChg>
      </pc:sldChg>
      <pc:sldChg chg="new del">
        <pc:chgData name="Allison Pass" userId="3bdd7fee-e623-47d0-9b6c-324afc1c37ca" providerId="ADAL" clId="{825661C0-0CF9-4D97-B175-A358EFE0ED63}" dt="2021-05-25T18:56:34.878" v="200" actId="680"/>
        <pc:sldMkLst>
          <pc:docMk/>
          <pc:sldMk cId="2265858027" sldId="2076138456"/>
        </pc:sldMkLst>
      </pc:sldChg>
      <pc:sldChg chg="addSp delSp modSp new mod modAnim modNotesTx">
        <pc:chgData name="Allison Pass" userId="3bdd7fee-e623-47d0-9b6c-324afc1c37ca" providerId="ADAL" clId="{825661C0-0CF9-4D97-B175-A358EFE0ED63}" dt="2021-05-25T22:17:08.366" v="236" actId="20577"/>
        <pc:sldMkLst>
          <pc:docMk/>
          <pc:sldMk cId="3928548622" sldId="2076138456"/>
        </pc:sldMkLst>
        <pc:spChg chg="mod">
          <ac:chgData name="Allison Pass" userId="3bdd7fee-e623-47d0-9b6c-324afc1c37ca" providerId="ADAL" clId="{825661C0-0CF9-4D97-B175-A358EFE0ED63}" dt="2021-05-25T22:14:46.873" v="226" actId="20577"/>
          <ac:spMkLst>
            <pc:docMk/>
            <pc:sldMk cId="3928548622" sldId="2076138456"/>
            <ac:spMk id="2" creationId="{BBC5A4E7-11F0-42C3-9B5C-0ACC1BFAB6A1}"/>
          </ac:spMkLst>
        </pc:spChg>
        <pc:spChg chg="del">
          <ac:chgData name="Allison Pass" userId="3bdd7fee-e623-47d0-9b6c-324afc1c37ca" providerId="ADAL" clId="{825661C0-0CF9-4D97-B175-A358EFE0ED63}" dt="2021-05-25T22:14:50.413" v="227" actId="478"/>
          <ac:spMkLst>
            <pc:docMk/>
            <pc:sldMk cId="3928548622" sldId="2076138456"/>
            <ac:spMk id="3" creationId="{37D0EA91-98FC-4545-AA4A-82E63238C5AF}"/>
          </ac:spMkLst>
        </pc:spChg>
        <pc:picChg chg="add mod">
          <ac:chgData name="Allison Pass" userId="3bdd7fee-e623-47d0-9b6c-324afc1c37ca" providerId="ADAL" clId="{825661C0-0CF9-4D97-B175-A358EFE0ED63}" dt="2021-05-25T22:16:30.205" v="229" actId="20377"/>
          <ac:picMkLst>
            <pc:docMk/>
            <pc:sldMk cId="3928548622" sldId="2076138456"/>
            <ac:picMk id="4" creationId="{8A8A2DF2-6596-4CE7-9B7D-093447DBF3D1}"/>
          </ac:picMkLst>
        </pc:picChg>
      </pc:sldChg>
      <pc:sldChg chg="new del">
        <pc:chgData name="Allison Pass" userId="3bdd7fee-e623-47d0-9b6c-324afc1c37ca" providerId="ADAL" clId="{825661C0-0CF9-4D97-B175-A358EFE0ED63}" dt="2021-05-25T18:56:33.913" v="199" actId="680"/>
        <pc:sldMkLst>
          <pc:docMk/>
          <pc:sldMk cId="1093588346" sldId="2076138457"/>
        </pc:sldMkLst>
      </pc:sldChg>
      <pc:sldMasterChg chg="addSldLayout modSldLayout">
        <pc:chgData name="Allison Pass" userId="3bdd7fee-e623-47d0-9b6c-324afc1c37ca" providerId="ADAL" clId="{825661C0-0CF9-4D97-B175-A358EFE0ED63}" dt="2021-05-11T17:33:14.221" v="53" actId="22"/>
        <pc:sldMasterMkLst>
          <pc:docMk/>
          <pc:sldMasterMk cId="14513726" sldId="2147485397"/>
        </pc:sldMasterMkLst>
        <pc:sldLayoutChg chg="add mod replId">
          <pc:chgData name="Allison Pass" userId="3bdd7fee-e623-47d0-9b6c-324afc1c37ca" providerId="ADAL" clId="{825661C0-0CF9-4D97-B175-A358EFE0ED63}" dt="2021-05-11T17:33:14.221" v="53" actId="22"/>
          <pc:sldLayoutMkLst>
            <pc:docMk/>
            <pc:sldMasterMk cId="14513726" sldId="2147485397"/>
            <pc:sldLayoutMk cId="2329469815" sldId="2147485596"/>
          </pc:sldLayoutMkLst>
        </pc:sldLayoutChg>
      </pc:sldMasterChg>
    </pc:docChg>
  </pc:docChgLst>
  <pc:docChgLst>
    <pc:chgData name="Alan Luder (Valence Group Inc.)" userId="S::v-alanluder@microsoft.com::9f14a4d2-8b5c-4fb0-9a7b-d779ed5a424b" providerId="AD" clId="Web-{78B09FE6-B3E1-F2E7-276E-C1A1FC346899}"/>
    <pc:docChg chg="modSld">
      <pc:chgData name="Alan Luder (Valence Group Inc.)" userId="S::v-alanluder@microsoft.com::9f14a4d2-8b5c-4fb0-9a7b-d779ed5a424b" providerId="AD" clId="Web-{78B09FE6-B3E1-F2E7-276E-C1A1FC346899}" dt="2021-05-20T16:48:43.095" v="19" actId="1076"/>
      <pc:docMkLst>
        <pc:docMk/>
      </pc:docMkLst>
      <pc:sldChg chg="addSp delSp modSp">
        <pc:chgData name="Alan Luder (Valence Group Inc.)" userId="S::v-alanluder@microsoft.com::9f14a4d2-8b5c-4fb0-9a7b-d779ed5a424b" providerId="AD" clId="Web-{78B09FE6-B3E1-F2E7-276E-C1A1FC346899}" dt="2021-05-20T16:48:43.095" v="19" actId="1076"/>
        <pc:sldMkLst>
          <pc:docMk/>
          <pc:sldMk cId="1191690117" sldId="261"/>
        </pc:sldMkLst>
        <pc:spChg chg="mod">
          <ac:chgData name="Alan Luder (Valence Group Inc.)" userId="S::v-alanluder@microsoft.com::9f14a4d2-8b5c-4fb0-9a7b-d779ed5a424b" providerId="AD" clId="Web-{78B09FE6-B3E1-F2E7-276E-C1A1FC346899}" dt="2021-05-20T16:46:55.650" v="0" actId="1076"/>
          <ac:spMkLst>
            <pc:docMk/>
            <pc:sldMk cId="1191690117" sldId="261"/>
            <ac:spMk id="11" creationId="{0DF1EA4B-C8D7-F34B-954C-9ADBD4844B2B}"/>
          </ac:spMkLst>
        </pc:spChg>
        <pc:spChg chg="del">
          <ac:chgData name="Alan Luder (Valence Group Inc.)" userId="S::v-alanluder@microsoft.com::9f14a4d2-8b5c-4fb0-9a7b-d779ed5a424b" providerId="AD" clId="Web-{78B09FE6-B3E1-F2E7-276E-C1A1FC346899}" dt="2021-05-20T16:47:03.104" v="1"/>
          <ac:spMkLst>
            <pc:docMk/>
            <pc:sldMk cId="1191690117" sldId="261"/>
            <ac:spMk id="12" creationId="{D08E98F1-3182-AD40-8133-0C1A39B268E1}"/>
          </ac:spMkLst>
        </pc:spChg>
        <pc:picChg chg="add del mod">
          <ac:chgData name="Alan Luder (Valence Group Inc.)" userId="S::v-alanluder@microsoft.com::9f14a4d2-8b5c-4fb0-9a7b-d779ed5a424b" providerId="AD" clId="Web-{78B09FE6-B3E1-F2E7-276E-C1A1FC346899}" dt="2021-05-20T16:47:36.169" v="3"/>
          <ac:picMkLst>
            <pc:docMk/>
            <pc:sldMk cId="1191690117" sldId="261"/>
            <ac:picMk id="2" creationId="{EF66D7C6-0DC1-45A2-B777-93412889D5FF}"/>
          </ac:picMkLst>
        </pc:picChg>
        <pc:picChg chg="add mod">
          <ac:chgData name="Alan Luder (Valence Group Inc.)" userId="S::v-alanluder@microsoft.com::9f14a4d2-8b5c-4fb0-9a7b-d779ed5a424b" providerId="AD" clId="Web-{78B09FE6-B3E1-F2E7-276E-C1A1FC346899}" dt="2021-05-20T16:48:43.095" v="19" actId="1076"/>
          <ac:picMkLst>
            <pc:docMk/>
            <pc:sldMk cId="1191690117" sldId="261"/>
            <ac:picMk id="3" creationId="{CB1A308D-0D95-466E-B777-3873889CE648}"/>
          </ac:picMkLst>
        </pc:picChg>
      </pc:sldChg>
    </pc:docChg>
  </pc:docChgLst>
  <pc:docChgLst>
    <pc:chgData name="Allison Pass" userId="3bdd7fee-e623-47d0-9b6c-324afc1c37ca" providerId="ADAL" clId="{DD382197-8138-48D1-AA19-038002D31B77}"/>
    <pc:docChg chg="undo custSel addSld delSld modSld delSection modSection">
      <pc:chgData name="Allison Pass" userId="3bdd7fee-e623-47d0-9b6c-324afc1c37ca" providerId="ADAL" clId="{DD382197-8138-48D1-AA19-038002D31B77}" dt="2021-05-10T22:14:19.134" v="568" actId="1076"/>
      <pc:docMkLst>
        <pc:docMk/>
      </pc:docMkLst>
      <pc:sldChg chg="addSp delSp modSp mod">
        <pc:chgData name="Allison Pass" userId="3bdd7fee-e623-47d0-9b6c-324afc1c37ca" providerId="ADAL" clId="{DD382197-8138-48D1-AA19-038002D31B77}" dt="2021-05-10T18:34:11.566" v="509" actId="1076"/>
        <pc:sldMkLst>
          <pc:docMk/>
          <pc:sldMk cId="2437152744" sldId="259"/>
        </pc:sldMkLst>
        <pc:spChg chg="add del mod">
          <ac:chgData name="Allison Pass" userId="3bdd7fee-e623-47d0-9b6c-324afc1c37ca" providerId="ADAL" clId="{DD382197-8138-48D1-AA19-038002D31B77}" dt="2021-05-10T18:29:12.470" v="487" actId="478"/>
          <ac:spMkLst>
            <pc:docMk/>
            <pc:sldMk cId="2437152744" sldId="259"/>
            <ac:spMk id="4" creationId="{DD66AF03-F8E2-4884-ADF1-75E1F1B628BE}"/>
          </ac:spMkLst>
        </pc:spChg>
        <pc:spChg chg="del">
          <ac:chgData name="Allison Pass" userId="3bdd7fee-e623-47d0-9b6c-324afc1c37ca" providerId="ADAL" clId="{DD382197-8138-48D1-AA19-038002D31B77}" dt="2021-05-10T18:29:15.826" v="488" actId="478"/>
          <ac:spMkLst>
            <pc:docMk/>
            <pc:sldMk cId="2437152744" sldId="259"/>
            <ac:spMk id="5" creationId="{2DD178AD-C5A8-CD4A-94EE-7345133A49C4}"/>
          </ac:spMkLst>
        </pc:spChg>
        <pc:spChg chg="del">
          <ac:chgData name="Allison Pass" userId="3bdd7fee-e623-47d0-9b6c-324afc1c37ca" providerId="ADAL" clId="{DD382197-8138-48D1-AA19-038002D31B77}" dt="2021-05-10T18:29:18.285" v="489" actId="478"/>
          <ac:spMkLst>
            <pc:docMk/>
            <pc:sldMk cId="2437152744" sldId="259"/>
            <ac:spMk id="6" creationId="{831DDEC5-D3A7-1A48-993E-FF50F6EA0E56}"/>
          </ac:spMkLst>
        </pc:spChg>
        <pc:spChg chg="add del mod">
          <ac:chgData name="Allison Pass" userId="3bdd7fee-e623-47d0-9b6c-324afc1c37ca" providerId="ADAL" clId="{DD382197-8138-48D1-AA19-038002D31B77}" dt="2021-05-10T18:29:12.470" v="487" actId="478"/>
          <ac:spMkLst>
            <pc:docMk/>
            <pc:sldMk cId="2437152744" sldId="259"/>
            <ac:spMk id="7" creationId="{C1C40C89-73F7-46E8-B569-7D6DEF104274}"/>
          </ac:spMkLst>
        </pc:spChg>
        <pc:spChg chg="add del mod">
          <ac:chgData name="Allison Pass" userId="3bdd7fee-e623-47d0-9b6c-324afc1c37ca" providerId="ADAL" clId="{DD382197-8138-48D1-AA19-038002D31B77}" dt="2021-05-10T18:29:12.470" v="487" actId="478"/>
          <ac:spMkLst>
            <pc:docMk/>
            <pc:sldMk cId="2437152744" sldId="259"/>
            <ac:spMk id="8" creationId="{73BE3CB5-2EB2-4F79-BEEC-93BD64DA3F60}"/>
          </ac:spMkLst>
        </pc:spChg>
        <pc:spChg chg="add del mod">
          <ac:chgData name="Allison Pass" userId="3bdd7fee-e623-47d0-9b6c-324afc1c37ca" providerId="ADAL" clId="{DD382197-8138-48D1-AA19-038002D31B77}" dt="2021-05-10T18:29:12.470" v="487" actId="478"/>
          <ac:spMkLst>
            <pc:docMk/>
            <pc:sldMk cId="2437152744" sldId="259"/>
            <ac:spMk id="9" creationId="{56E30032-011F-4319-8281-2C3E89A7A6DD}"/>
          </ac:spMkLst>
        </pc:spChg>
        <pc:spChg chg="add del mod">
          <ac:chgData name="Allison Pass" userId="3bdd7fee-e623-47d0-9b6c-324afc1c37ca" providerId="ADAL" clId="{DD382197-8138-48D1-AA19-038002D31B77}" dt="2021-05-10T18:29:12.470" v="487" actId="478"/>
          <ac:spMkLst>
            <pc:docMk/>
            <pc:sldMk cId="2437152744" sldId="259"/>
            <ac:spMk id="10" creationId="{9375B1A1-8CB9-44E2-995C-B8E98A42CF48}"/>
          </ac:spMkLst>
        </pc:spChg>
        <pc:spChg chg="add del mod">
          <ac:chgData name="Allison Pass" userId="3bdd7fee-e623-47d0-9b6c-324afc1c37ca" providerId="ADAL" clId="{DD382197-8138-48D1-AA19-038002D31B77}" dt="2021-05-10T18:29:12.470" v="487" actId="478"/>
          <ac:spMkLst>
            <pc:docMk/>
            <pc:sldMk cId="2437152744" sldId="259"/>
            <ac:spMk id="11" creationId="{886B7CA9-0062-47F5-9764-FD7636AB3A88}"/>
          </ac:spMkLst>
        </pc:spChg>
        <pc:spChg chg="add del mod">
          <ac:chgData name="Allison Pass" userId="3bdd7fee-e623-47d0-9b6c-324afc1c37ca" providerId="ADAL" clId="{DD382197-8138-48D1-AA19-038002D31B77}" dt="2021-05-10T18:29:12.470" v="487" actId="478"/>
          <ac:spMkLst>
            <pc:docMk/>
            <pc:sldMk cId="2437152744" sldId="259"/>
            <ac:spMk id="12" creationId="{6AB381B4-6B35-4E28-857E-3A6C9A4173AD}"/>
          </ac:spMkLst>
        </pc:spChg>
        <pc:spChg chg="add del mod">
          <ac:chgData name="Allison Pass" userId="3bdd7fee-e623-47d0-9b6c-324afc1c37ca" providerId="ADAL" clId="{DD382197-8138-48D1-AA19-038002D31B77}" dt="2021-05-10T18:29:12.470" v="487" actId="478"/>
          <ac:spMkLst>
            <pc:docMk/>
            <pc:sldMk cId="2437152744" sldId="259"/>
            <ac:spMk id="13" creationId="{3027FACB-0E0F-47BF-81D8-38E83217DEFE}"/>
          </ac:spMkLst>
        </pc:spChg>
        <pc:spChg chg="add del mod">
          <ac:chgData name="Allison Pass" userId="3bdd7fee-e623-47d0-9b6c-324afc1c37ca" providerId="ADAL" clId="{DD382197-8138-48D1-AA19-038002D31B77}" dt="2021-05-10T18:29:12.470" v="487" actId="478"/>
          <ac:spMkLst>
            <pc:docMk/>
            <pc:sldMk cId="2437152744" sldId="259"/>
            <ac:spMk id="14" creationId="{4100D17E-CD5E-47C5-B6A0-1F16383D18C7}"/>
          </ac:spMkLst>
        </pc:spChg>
        <pc:spChg chg="mod">
          <ac:chgData name="Allison Pass" userId="3bdd7fee-e623-47d0-9b6c-324afc1c37ca" providerId="ADAL" clId="{DD382197-8138-48D1-AA19-038002D31B77}" dt="2021-05-10T18:29:09.676" v="486"/>
          <ac:spMkLst>
            <pc:docMk/>
            <pc:sldMk cId="2437152744" sldId="259"/>
            <ac:spMk id="16" creationId="{CC33BFB1-C75E-4D56-A00E-6E607181A8CB}"/>
          </ac:spMkLst>
        </pc:spChg>
        <pc:spChg chg="mod">
          <ac:chgData name="Allison Pass" userId="3bdd7fee-e623-47d0-9b6c-324afc1c37ca" providerId="ADAL" clId="{DD382197-8138-48D1-AA19-038002D31B77}" dt="2021-05-10T18:29:09.676" v="486"/>
          <ac:spMkLst>
            <pc:docMk/>
            <pc:sldMk cId="2437152744" sldId="259"/>
            <ac:spMk id="18" creationId="{B9126348-50DB-45A5-BC4B-E8E4FFBFA3EC}"/>
          </ac:spMkLst>
        </pc:spChg>
        <pc:spChg chg="mod">
          <ac:chgData name="Allison Pass" userId="3bdd7fee-e623-47d0-9b6c-324afc1c37ca" providerId="ADAL" clId="{DD382197-8138-48D1-AA19-038002D31B77}" dt="2021-05-10T18:29:09.676" v="486"/>
          <ac:spMkLst>
            <pc:docMk/>
            <pc:sldMk cId="2437152744" sldId="259"/>
            <ac:spMk id="19" creationId="{25F535C6-1197-406F-933C-7E8E090135EB}"/>
          </ac:spMkLst>
        </pc:spChg>
        <pc:spChg chg="mod">
          <ac:chgData name="Allison Pass" userId="3bdd7fee-e623-47d0-9b6c-324afc1c37ca" providerId="ADAL" clId="{DD382197-8138-48D1-AA19-038002D31B77}" dt="2021-05-10T18:29:09.676" v="486"/>
          <ac:spMkLst>
            <pc:docMk/>
            <pc:sldMk cId="2437152744" sldId="259"/>
            <ac:spMk id="21" creationId="{40E90BB1-F8B6-4F48-A4D1-B6FAD59DA15C}"/>
          </ac:spMkLst>
        </pc:spChg>
        <pc:spChg chg="mod">
          <ac:chgData name="Allison Pass" userId="3bdd7fee-e623-47d0-9b6c-324afc1c37ca" providerId="ADAL" clId="{DD382197-8138-48D1-AA19-038002D31B77}" dt="2021-05-10T18:29:09.676" v="486"/>
          <ac:spMkLst>
            <pc:docMk/>
            <pc:sldMk cId="2437152744" sldId="259"/>
            <ac:spMk id="23" creationId="{62619C9E-4844-408D-AB03-DAEE300D1F64}"/>
          </ac:spMkLst>
        </pc:spChg>
        <pc:spChg chg="mod">
          <ac:chgData name="Allison Pass" userId="3bdd7fee-e623-47d0-9b6c-324afc1c37ca" providerId="ADAL" clId="{DD382197-8138-48D1-AA19-038002D31B77}" dt="2021-05-10T18:29:09.676" v="486"/>
          <ac:spMkLst>
            <pc:docMk/>
            <pc:sldMk cId="2437152744" sldId="259"/>
            <ac:spMk id="24" creationId="{CB24A142-7FD8-48D3-84BE-6D3889CDEDB9}"/>
          </ac:spMkLst>
        </pc:spChg>
        <pc:spChg chg="add del mod">
          <ac:chgData name="Allison Pass" userId="3bdd7fee-e623-47d0-9b6c-324afc1c37ca" providerId="ADAL" clId="{DD382197-8138-48D1-AA19-038002D31B77}" dt="2021-05-10T18:29:12.470" v="487" actId="478"/>
          <ac:spMkLst>
            <pc:docMk/>
            <pc:sldMk cId="2437152744" sldId="259"/>
            <ac:spMk id="25" creationId="{5A702938-4EB4-4845-82AD-66863EB705FF}"/>
          </ac:spMkLst>
        </pc:spChg>
        <pc:spChg chg="mod">
          <ac:chgData name="Allison Pass" userId="3bdd7fee-e623-47d0-9b6c-324afc1c37ca" providerId="ADAL" clId="{DD382197-8138-48D1-AA19-038002D31B77}" dt="2021-05-10T18:29:09.676" v="486"/>
          <ac:spMkLst>
            <pc:docMk/>
            <pc:sldMk cId="2437152744" sldId="259"/>
            <ac:spMk id="27" creationId="{6784F8D5-E5B0-420D-AEB4-A60B1C301CB8}"/>
          </ac:spMkLst>
        </pc:spChg>
        <pc:spChg chg="mod">
          <ac:chgData name="Allison Pass" userId="3bdd7fee-e623-47d0-9b6c-324afc1c37ca" providerId="ADAL" clId="{DD382197-8138-48D1-AA19-038002D31B77}" dt="2021-05-10T18:29:09.676" v="486"/>
          <ac:spMkLst>
            <pc:docMk/>
            <pc:sldMk cId="2437152744" sldId="259"/>
            <ac:spMk id="29" creationId="{95362261-AF37-43CF-8710-89D319681636}"/>
          </ac:spMkLst>
        </pc:spChg>
        <pc:spChg chg="mod">
          <ac:chgData name="Allison Pass" userId="3bdd7fee-e623-47d0-9b6c-324afc1c37ca" providerId="ADAL" clId="{DD382197-8138-48D1-AA19-038002D31B77}" dt="2021-05-10T18:29:09.676" v="486"/>
          <ac:spMkLst>
            <pc:docMk/>
            <pc:sldMk cId="2437152744" sldId="259"/>
            <ac:spMk id="30" creationId="{AEC82AB0-6878-4356-9981-3FE387F3E996}"/>
          </ac:spMkLst>
        </pc:spChg>
        <pc:spChg chg="mod">
          <ac:chgData name="Allison Pass" userId="3bdd7fee-e623-47d0-9b6c-324afc1c37ca" providerId="ADAL" clId="{DD382197-8138-48D1-AA19-038002D31B77}" dt="2021-05-10T18:29:09.676" v="486"/>
          <ac:spMkLst>
            <pc:docMk/>
            <pc:sldMk cId="2437152744" sldId="259"/>
            <ac:spMk id="33" creationId="{323F270C-679B-4141-A2B6-7DEE1A7D1A9A}"/>
          </ac:spMkLst>
        </pc:spChg>
        <pc:spChg chg="mod">
          <ac:chgData name="Allison Pass" userId="3bdd7fee-e623-47d0-9b6c-324afc1c37ca" providerId="ADAL" clId="{DD382197-8138-48D1-AA19-038002D31B77}" dt="2021-05-10T18:29:09.676" v="486"/>
          <ac:spMkLst>
            <pc:docMk/>
            <pc:sldMk cId="2437152744" sldId="259"/>
            <ac:spMk id="35" creationId="{26AEFACE-745E-4481-86A9-FDD6FFCDF613}"/>
          </ac:spMkLst>
        </pc:spChg>
        <pc:spChg chg="mod">
          <ac:chgData name="Allison Pass" userId="3bdd7fee-e623-47d0-9b6c-324afc1c37ca" providerId="ADAL" clId="{DD382197-8138-48D1-AA19-038002D31B77}" dt="2021-05-10T18:29:09.676" v="486"/>
          <ac:spMkLst>
            <pc:docMk/>
            <pc:sldMk cId="2437152744" sldId="259"/>
            <ac:spMk id="36" creationId="{8463C178-7C49-4FFB-9CDB-0C7A7E06F98F}"/>
          </ac:spMkLst>
        </pc:spChg>
        <pc:spChg chg="mod">
          <ac:chgData name="Allison Pass" userId="3bdd7fee-e623-47d0-9b6c-324afc1c37ca" providerId="ADAL" clId="{DD382197-8138-48D1-AA19-038002D31B77}" dt="2021-05-10T18:29:09.676" v="486"/>
          <ac:spMkLst>
            <pc:docMk/>
            <pc:sldMk cId="2437152744" sldId="259"/>
            <ac:spMk id="37" creationId="{4A43E616-489F-4A53-84A4-2D164E2D0D07}"/>
          </ac:spMkLst>
        </pc:spChg>
        <pc:spChg chg="mod">
          <ac:chgData name="Allison Pass" userId="3bdd7fee-e623-47d0-9b6c-324afc1c37ca" providerId="ADAL" clId="{DD382197-8138-48D1-AA19-038002D31B77}" dt="2021-05-10T18:29:09.676" v="486"/>
          <ac:spMkLst>
            <pc:docMk/>
            <pc:sldMk cId="2437152744" sldId="259"/>
            <ac:spMk id="38" creationId="{121DB3DB-7AC1-4BDD-B015-B1F36646F486}"/>
          </ac:spMkLst>
        </pc:spChg>
        <pc:spChg chg="mod">
          <ac:chgData name="Allison Pass" userId="3bdd7fee-e623-47d0-9b6c-324afc1c37ca" providerId="ADAL" clId="{DD382197-8138-48D1-AA19-038002D31B77}" dt="2021-05-10T18:29:09.676" v="486"/>
          <ac:spMkLst>
            <pc:docMk/>
            <pc:sldMk cId="2437152744" sldId="259"/>
            <ac:spMk id="39" creationId="{25A46378-2527-471F-A79F-DA3BF296DD4F}"/>
          </ac:spMkLst>
        </pc:spChg>
        <pc:spChg chg="mod">
          <ac:chgData name="Allison Pass" userId="3bdd7fee-e623-47d0-9b6c-324afc1c37ca" providerId="ADAL" clId="{DD382197-8138-48D1-AA19-038002D31B77}" dt="2021-05-10T18:29:09.676" v="486"/>
          <ac:spMkLst>
            <pc:docMk/>
            <pc:sldMk cId="2437152744" sldId="259"/>
            <ac:spMk id="40" creationId="{BCDDC02A-55D7-414E-AFF7-62F77EE5CE4C}"/>
          </ac:spMkLst>
        </pc:spChg>
        <pc:spChg chg="mod">
          <ac:chgData name="Allison Pass" userId="3bdd7fee-e623-47d0-9b6c-324afc1c37ca" providerId="ADAL" clId="{DD382197-8138-48D1-AA19-038002D31B77}" dt="2021-05-10T18:29:09.676" v="486"/>
          <ac:spMkLst>
            <pc:docMk/>
            <pc:sldMk cId="2437152744" sldId="259"/>
            <ac:spMk id="41" creationId="{46DC455B-6C38-4FE1-B6A9-6E6F028944BA}"/>
          </ac:spMkLst>
        </pc:spChg>
        <pc:spChg chg="mod">
          <ac:chgData name="Allison Pass" userId="3bdd7fee-e623-47d0-9b6c-324afc1c37ca" providerId="ADAL" clId="{DD382197-8138-48D1-AA19-038002D31B77}" dt="2021-05-10T18:29:09.676" v="486"/>
          <ac:spMkLst>
            <pc:docMk/>
            <pc:sldMk cId="2437152744" sldId="259"/>
            <ac:spMk id="42" creationId="{6674373D-8281-4CAD-8C79-9A88B3146C74}"/>
          </ac:spMkLst>
        </pc:spChg>
        <pc:spChg chg="mod">
          <ac:chgData name="Allison Pass" userId="3bdd7fee-e623-47d0-9b6c-324afc1c37ca" providerId="ADAL" clId="{DD382197-8138-48D1-AA19-038002D31B77}" dt="2021-05-10T18:29:09.676" v="486"/>
          <ac:spMkLst>
            <pc:docMk/>
            <pc:sldMk cId="2437152744" sldId="259"/>
            <ac:spMk id="43" creationId="{612F9F02-2F94-4718-8E20-7965E64C34B4}"/>
          </ac:spMkLst>
        </pc:spChg>
        <pc:spChg chg="mod">
          <ac:chgData name="Allison Pass" userId="3bdd7fee-e623-47d0-9b6c-324afc1c37ca" providerId="ADAL" clId="{DD382197-8138-48D1-AA19-038002D31B77}" dt="2021-05-10T18:29:09.676" v="486"/>
          <ac:spMkLst>
            <pc:docMk/>
            <pc:sldMk cId="2437152744" sldId="259"/>
            <ac:spMk id="45" creationId="{8D1C5F7D-B01E-48FC-91C0-D9CF7A226BB6}"/>
          </ac:spMkLst>
        </pc:spChg>
        <pc:spChg chg="mod">
          <ac:chgData name="Allison Pass" userId="3bdd7fee-e623-47d0-9b6c-324afc1c37ca" providerId="ADAL" clId="{DD382197-8138-48D1-AA19-038002D31B77}" dt="2021-05-10T18:29:09.676" v="486"/>
          <ac:spMkLst>
            <pc:docMk/>
            <pc:sldMk cId="2437152744" sldId="259"/>
            <ac:spMk id="46" creationId="{81446E35-FA04-4FB3-8044-6B0AF662CC8D}"/>
          </ac:spMkLst>
        </pc:spChg>
        <pc:spChg chg="mod">
          <ac:chgData name="Allison Pass" userId="3bdd7fee-e623-47d0-9b6c-324afc1c37ca" providerId="ADAL" clId="{DD382197-8138-48D1-AA19-038002D31B77}" dt="2021-05-10T18:29:09.676" v="486"/>
          <ac:spMkLst>
            <pc:docMk/>
            <pc:sldMk cId="2437152744" sldId="259"/>
            <ac:spMk id="49" creationId="{EA357586-DF56-48D7-8383-28CB12E02AF8}"/>
          </ac:spMkLst>
        </pc:spChg>
        <pc:spChg chg="mod">
          <ac:chgData name="Allison Pass" userId="3bdd7fee-e623-47d0-9b6c-324afc1c37ca" providerId="ADAL" clId="{DD382197-8138-48D1-AA19-038002D31B77}" dt="2021-05-10T18:29:09.676" v="486"/>
          <ac:spMkLst>
            <pc:docMk/>
            <pc:sldMk cId="2437152744" sldId="259"/>
            <ac:spMk id="51" creationId="{3A3FDA51-6DCF-4A1C-90F9-4B5CC1B39694}"/>
          </ac:spMkLst>
        </pc:spChg>
        <pc:spChg chg="mod">
          <ac:chgData name="Allison Pass" userId="3bdd7fee-e623-47d0-9b6c-324afc1c37ca" providerId="ADAL" clId="{DD382197-8138-48D1-AA19-038002D31B77}" dt="2021-05-10T18:29:09.676" v="486"/>
          <ac:spMkLst>
            <pc:docMk/>
            <pc:sldMk cId="2437152744" sldId="259"/>
            <ac:spMk id="52" creationId="{2D981AF8-ADF3-4E60-80E0-EB30A72BC1E2}"/>
          </ac:spMkLst>
        </pc:spChg>
        <pc:spChg chg="mod">
          <ac:chgData name="Allison Pass" userId="3bdd7fee-e623-47d0-9b6c-324afc1c37ca" providerId="ADAL" clId="{DD382197-8138-48D1-AA19-038002D31B77}" dt="2021-05-10T18:29:09.676" v="486"/>
          <ac:spMkLst>
            <pc:docMk/>
            <pc:sldMk cId="2437152744" sldId="259"/>
            <ac:spMk id="53" creationId="{DEDBAE62-7E11-4823-8B38-D3B40C878653}"/>
          </ac:spMkLst>
        </pc:spChg>
        <pc:spChg chg="mod">
          <ac:chgData name="Allison Pass" userId="3bdd7fee-e623-47d0-9b6c-324afc1c37ca" providerId="ADAL" clId="{DD382197-8138-48D1-AA19-038002D31B77}" dt="2021-05-10T18:29:09.676" v="486"/>
          <ac:spMkLst>
            <pc:docMk/>
            <pc:sldMk cId="2437152744" sldId="259"/>
            <ac:spMk id="54" creationId="{D8C43C1D-B841-47AC-8584-66BD2674FBCC}"/>
          </ac:spMkLst>
        </pc:spChg>
        <pc:spChg chg="mod">
          <ac:chgData name="Allison Pass" userId="3bdd7fee-e623-47d0-9b6c-324afc1c37ca" providerId="ADAL" clId="{DD382197-8138-48D1-AA19-038002D31B77}" dt="2021-05-10T18:29:09.676" v="486"/>
          <ac:spMkLst>
            <pc:docMk/>
            <pc:sldMk cId="2437152744" sldId="259"/>
            <ac:spMk id="55" creationId="{97947CCA-4A05-4073-B4A5-F7434ABD92D2}"/>
          </ac:spMkLst>
        </pc:spChg>
        <pc:spChg chg="mod">
          <ac:chgData name="Allison Pass" userId="3bdd7fee-e623-47d0-9b6c-324afc1c37ca" providerId="ADAL" clId="{DD382197-8138-48D1-AA19-038002D31B77}" dt="2021-05-10T18:29:09.676" v="486"/>
          <ac:spMkLst>
            <pc:docMk/>
            <pc:sldMk cId="2437152744" sldId="259"/>
            <ac:spMk id="56" creationId="{BC4F5B5B-1551-450D-AEC7-79FE2F7F728E}"/>
          </ac:spMkLst>
        </pc:spChg>
        <pc:spChg chg="mod">
          <ac:chgData name="Allison Pass" userId="3bdd7fee-e623-47d0-9b6c-324afc1c37ca" providerId="ADAL" clId="{DD382197-8138-48D1-AA19-038002D31B77}" dt="2021-05-10T18:29:09.676" v="486"/>
          <ac:spMkLst>
            <pc:docMk/>
            <pc:sldMk cId="2437152744" sldId="259"/>
            <ac:spMk id="57" creationId="{AB3410F4-9EB2-470A-8608-5404AAB0C7E3}"/>
          </ac:spMkLst>
        </pc:spChg>
        <pc:spChg chg="mod">
          <ac:chgData name="Allison Pass" userId="3bdd7fee-e623-47d0-9b6c-324afc1c37ca" providerId="ADAL" clId="{DD382197-8138-48D1-AA19-038002D31B77}" dt="2021-05-10T18:29:09.676" v="486"/>
          <ac:spMkLst>
            <pc:docMk/>
            <pc:sldMk cId="2437152744" sldId="259"/>
            <ac:spMk id="59" creationId="{3CE4CE07-D574-4442-828C-7F45E475B044}"/>
          </ac:spMkLst>
        </pc:spChg>
        <pc:spChg chg="mod">
          <ac:chgData name="Allison Pass" userId="3bdd7fee-e623-47d0-9b6c-324afc1c37ca" providerId="ADAL" clId="{DD382197-8138-48D1-AA19-038002D31B77}" dt="2021-05-10T18:29:09.676" v="486"/>
          <ac:spMkLst>
            <pc:docMk/>
            <pc:sldMk cId="2437152744" sldId="259"/>
            <ac:spMk id="60" creationId="{051148D4-3FC5-4531-9EB1-4478CB8744E7}"/>
          </ac:spMkLst>
        </pc:spChg>
        <pc:spChg chg="mod">
          <ac:chgData name="Allison Pass" userId="3bdd7fee-e623-47d0-9b6c-324afc1c37ca" providerId="ADAL" clId="{DD382197-8138-48D1-AA19-038002D31B77}" dt="2021-05-10T18:29:09.676" v="486"/>
          <ac:spMkLst>
            <pc:docMk/>
            <pc:sldMk cId="2437152744" sldId="259"/>
            <ac:spMk id="63" creationId="{ED94A365-54F5-4711-B35A-9AB60E35BDDD}"/>
          </ac:spMkLst>
        </pc:spChg>
        <pc:spChg chg="mod">
          <ac:chgData name="Allison Pass" userId="3bdd7fee-e623-47d0-9b6c-324afc1c37ca" providerId="ADAL" clId="{DD382197-8138-48D1-AA19-038002D31B77}" dt="2021-05-10T18:29:09.676" v="486"/>
          <ac:spMkLst>
            <pc:docMk/>
            <pc:sldMk cId="2437152744" sldId="259"/>
            <ac:spMk id="65" creationId="{0012243C-8397-433D-A507-A29E2F841116}"/>
          </ac:spMkLst>
        </pc:spChg>
        <pc:spChg chg="mod">
          <ac:chgData name="Allison Pass" userId="3bdd7fee-e623-47d0-9b6c-324afc1c37ca" providerId="ADAL" clId="{DD382197-8138-48D1-AA19-038002D31B77}" dt="2021-05-10T18:29:09.676" v="486"/>
          <ac:spMkLst>
            <pc:docMk/>
            <pc:sldMk cId="2437152744" sldId="259"/>
            <ac:spMk id="67" creationId="{015F66B1-A11D-48D2-A151-4D58F2FE4B83}"/>
          </ac:spMkLst>
        </pc:spChg>
        <pc:spChg chg="mod">
          <ac:chgData name="Allison Pass" userId="3bdd7fee-e623-47d0-9b6c-324afc1c37ca" providerId="ADAL" clId="{DD382197-8138-48D1-AA19-038002D31B77}" dt="2021-05-10T18:29:09.676" v="486"/>
          <ac:spMkLst>
            <pc:docMk/>
            <pc:sldMk cId="2437152744" sldId="259"/>
            <ac:spMk id="69" creationId="{BB5CBC26-9586-4053-B19A-396E58C002FF}"/>
          </ac:spMkLst>
        </pc:spChg>
        <pc:spChg chg="mod">
          <ac:chgData name="Allison Pass" userId="3bdd7fee-e623-47d0-9b6c-324afc1c37ca" providerId="ADAL" clId="{DD382197-8138-48D1-AA19-038002D31B77}" dt="2021-05-10T18:29:09.676" v="486"/>
          <ac:spMkLst>
            <pc:docMk/>
            <pc:sldMk cId="2437152744" sldId="259"/>
            <ac:spMk id="70" creationId="{D7067BA2-4D03-40A3-8E25-088735FB743D}"/>
          </ac:spMkLst>
        </pc:spChg>
        <pc:spChg chg="add del mod">
          <ac:chgData name="Allison Pass" userId="3bdd7fee-e623-47d0-9b6c-324afc1c37ca" providerId="ADAL" clId="{DD382197-8138-48D1-AA19-038002D31B77}" dt="2021-05-10T18:33:43.711" v="503" actId="478"/>
          <ac:spMkLst>
            <pc:docMk/>
            <pc:sldMk cId="2437152744" sldId="259"/>
            <ac:spMk id="71" creationId="{4B3135B6-0CD3-4F2A-A272-A8F6F0BC6341}"/>
          </ac:spMkLst>
        </pc:spChg>
        <pc:spChg chg="add del mod">
          <ac:chgData name="Allison Pass" userId="3bdd7fee-e623-47d0-9b6c-324afc1c37ca" providerId="ADAL" clId="{DD382197-8138-48D1-AA19-038002D31B77}" dt="2021-05-10T18:33:43.711" v="503" actId="478"/>
          <ac:spMkLst>
            <pc:docMk/>
            <pc:sldMk cId="2437152744" sldId="259"/>
            <ac:spMk id="72" creationId="{AEC320ED-1BB9-4E9C-B236-C07E0A44A7E5}"/>
          </ac:spMkLst>
        </pc:spChg>
        <pc:spChg chg="add del mod">
          <ac:chgData name="Allison Pass" userId="3bdd7fee-e623-47d0-9b6c-324afc1c37ca" providerId="ADAL" clId="{DD382197-8138-48D1-AA19-038002D31B77}" dt="2021-05-10T18:33:43.711" v="503" actId="478"/>
          <ac:spMkLst>
            <pc:docMk/>
            <pc:sldMk cId="2437152744" sldId="259"/>
            <ac:spMk id="73" creationId="{90A1BA7E-3ADA-46FF-BDD7-BCA147F245E2}"/>
          </ac:spMkLst>
        </pc:spChg>
        <pc:spChg chg="add del mod">
          <ac:chgData name="Allison Pass" userId="3bdd7fee-e623-47d0-9b6c-324afc1c37ca" providerId="ADAL" clId="{DD382197-8138-48D1-AA19-038002D31B77}" dt="2021-05-10T18:33:43.711" v="503" actId="478"/>
          <ac:spMkLst>
            <pc:docMk/>
            <pc:sldMk cId="2437152744" sldId="259"/>
            <ac:spMk id="74" creationId="{549B2D0C-DD63-4BD1-BC6D-6C23AE003E10}"/>
          </ac:spMkLst>
        </pc:spChg>
        <pc:spChg chg="add del mod">
          <ac:chgData name="Allison Pass" userId="3bdd7fee-e623-47d0-9b6c-324afc1c37ca" providerId="ADAL" clId="{DD382197-8138-48D1-AA19-038002D31B77}" dt="2021-05-10T18:33:43.711" v="503" actId="478"/>
          <ac:spMkLst>
            <pc:docMk/>
            <pc:sldMk cId="2437152744" sldId="259"/>
            <ac:spMk id="75" creationId="{A0082B40-8769-463E-B4C5-57C53BF87C82}"/>
          </ac:spMkLst>
        </pc:spChg>
        <pc:spChg chg="add del mod">
          <ac:chgData name="Allison Pass" userId="3bdd7fee-e623-47d0-9b6c-324afc1c37ca" providerId="ADAL" clId="{DD382197-8138-48D1-AA19-038002D31B77}" dt="2021-05-10T18:33:43.711" v="503" actId="478"/>
          <ac:spMkLst>
            <pc:docMk/>
            <pc:sldMk cId="2437152744" sldId="259"/>
            <ac:spMk id="76" creationId="{081F564F-C901-4D42-B58F-49926AEC39E2}"/>
          </ac:spMkLst>
        </pc:spChg>
        <pc:spChg chg="add mod">
          <ac:chgData name="Allison Pass" userId="3bdd7fee-e623-47d0-9b6c-324afc1c37ca" providerId="ADAL" clId="{DD382197-8138-48D1-AA19-038002D31B77}" dt="2021-05-10T18:33:39.060" v="502" actId="255"/>
          <ac:spMkLst>
            <pc:docMk/>
            <pc:sldMk cId="2437152744" sldId="259"/>
            <ac:spMk id="77" creationId="{16158160-C34C-4B03-B182-5BF2DE5B2DD7}"/>
          </ac:spMkLst>
        </pc:spChg>
        <pc:spChg chg="add del mod">
          <ac:chgData name="Allison Pass" userId="3bdd7fee-e623-47d0-9b6c-324afc1c37ca" providerId="ADAL" clId="{DD382197-8138-48D1-AA19-038002D31B77}" dt="2021-05-10T18:33:43.711" v="503" actId="478"/>
          <ac:spMkLst>
            <pc:docMk/>
            <pc:sldMk cId="2437152744" sldId="259"/>
            <ac:spMk id="78" creationId="{B47623C4-A09D-4677-8839-97F9A4B391F3}"/>
          </ac:spMkLst>
        </pc:spChg>
        <pc:spChg chg="add del mod">
          <ac:chgData name="Allison Pass" userId="3bdd7fee-e623-47d0-9b6c-324afc1c37ca" providerId="ADAL" clId="{DD382197-8138-48D1-AA19-038002D31B77}" dt="2021-05-10T18:33:43.711" v="503" actId="478"/>
          <ac:spMkLst>
            <pc:docMk/>
            <pc:sldMk cId="2437152744" sldId="259"/>
            <ac:spMk id="79" creationId="{5B03CE32-AB05-4147-B023-C8EFF1B433D1}"/>
          </ac:spMkLst>
        </pc:spChg>
        <pc:spChg chg="mod">
          <ac:chgData name="Allison Pass" userId="3bdd7fee-e623-47d0-9b6c-324afc1c37ca" providerId="ADAL" clId="{DD382197-8138-48D1-AA19-038002D31B77}" dt="2021-05-10T18:29:19.576" v="490"/>
          <ac:spMkLst>
            <pc:docMk/>
            <pc:sldMk cId="2437152744" sldId="259"/>
            <ac:spMk id="81" creationId="{5DD64114-CBFA-49BC-85A9-13E0C5619D31}"/>
          </ac:spMkLst>
        </pc:spChg>
        <pc:spChg chg="mod">
          <ac:chgData name="Allison Pass" userId="3bdd7fee-e623-47d0-9b6c-324afc1c37ca" providerId="ADAL" clId="{DD382197-8138-48D1-AA19-038002D31B77}" dt="2021-05-10T18:29:19.576" v="490"/>
          <ac:spMkLst>
            <pc:docMk/>
            <pc:sldMk cId="2437152744" sldId="259"/>
            <ac:spMk id="83" creationId="{33ADC3D2-A907-4C02-BB43-EF2C003291E0}"/>
          </ac:spMkLst>
        </pc:spChg>
        <pc:spChg chg="mod">
          <ac:chgData name="Allison Pass" userId="3bdd7fee-e623-47d0-9b6c-324afc1c37ca" providerId="ADAL" clId="{DD382197-8138-48D1-AA19-038002D31B77}" dt="2021-05-10T18:29:19.576" v="490"/>
          <ac:spMkLst>
            <pc:docMk/>
            <pc:sldMk cId="2437152744" sldId="259"/>
            <ac:spMk id="84" creationId="{F630808D-0B3D-4A20-87BD-6847F8A2A022}"/>
          </ac:spMkLst>
        </pc:spChg>
        <pc:spChg chg="mod">
          <ac:chgData name="Allison Pass" userId="3bdd7fee-e623-47d0-9b6c-324afc1c37ca" providerId="ADAL" clId="{DD382197-8138-48D1-AA19-038002D31B77}" dt="2021-05-10T18:29:19.576" v="490"/>
          <ac:spMkLst>
            <pc:docMk/>
            <pc:sldMk cId="2437152744" sldId="259"/>
            <ac:spMk id="86" creationId="{6ED8475F-CB4C-40E3-BA52-A88771AF4187}"/>
          </ac:spMkLst>
        </pc:spChg>
        <pc:spChg chg="mod">
          <ac:chgData name="Allison Pass" userId="3bdd7fee-e623-47d0-9b6c-324afc1c37ca" providerId="ADAL" clId="{DD382197-8138-48D1-AA19-038002D31B77}" dt="2021-05-10T18:29:19.576" v="490"/>
          <ac:spMkLst>
            <pc:docMk/>
            <pc:sldMk cId="2437152744" sldId="259"/>
            <ac:spMk id="88" creationId="{9E26E068-5342-435B-B61C-8CB6001D7C49}"/>
          </ac:spMkLst>
        </pc:spChg>
        <pc:spChg chg="mod">
          <ac:chgData name="Allison Pass" userId="3bdd7fee-e623-47d0-9b6c-324afc1c37ca" providerId="ADAL" clId="{DD382197-8138-48D1-AA19-038002D31B77}" dt="2021-05-10T18:29:19.576" v="490"/>
          <ac:spMkLst>
            <pc:docMk/>
            <pc:sldMk cId="2437152744" sldId="259"/>
            <ac:spMk id="89" creationId="{0F67A871-7DD2-460A-AB1B-8E8709A88EBC}"/>
          </ac:spMkLst>
        </pc:spChg>
        <pc:spChg chg="add del mod">
          <ac:chgData name="Allison Pass" userId="3bdd7fee-e623-47d0-9b6c-324afc1c37ca" providerId="ADAL" clId="{DD382197-8138-48D1-AA19-038002D31B77}" dt="2021-05-10T18:33:43.711" v="503" actId="478"/>
          <ac:spMkLst>
            <pc:docMk/>
            <pc:sldMk cId="2437152744" sldId="259"/>
            <ac:spMk id="90" creationId="{B79C74D4-51A9-46BE-B6F7-B9D4471E017C}"/>
          </ac:spMkLst>
        </pc:spChg>
        <pc:spChg chg="mod">
          <ac:chgData name="Allison Pass" userId="3bdd7fee-e623-47d0-9b6c-324afc1c37ca" providerId="ADAL" clId="{DD382197-8138-48D1-AA19-038002D31B77}" dt="2021-05-10T18:29:19.576" v="490"/>
          <ac:spMkLst>
            <pc:docMk/>
            <pc:sldMk cId="2437152744" sldId="259"/>
            <ac:spMk id="92" creationId="{9379771F-0AB9-4C06-9FD2-4940C4E75EF8}"/>
          </ac:spMkLst>
        </pc:spChg>
        <pc:spChg chg="mod">
          <ac:chgData name="Allison Pass" userId="3bdd7fee-e623-47d0-9b6c-324afc1c37ca" providerId="ADAL" clId="{DD382197-8138-48D1-AA19-038002D31B77}" dt="2021-05-10T18:29:19.576" v="490"/>
          <ac:spMkLst>
            <pc:docMk/>
            <pc:sldMk cId="2437152744" sldId="259"/>
            <ac:spMk id="94" creationId="{3413F881-89F2-4630-B9CF-7F097F5AE3CF}"/>
          </ac:spMkLst>
        </pc:spChg>
        <pc:spChg chg="mod">
          <ac:chgData name="Allison Pass" userId="3bdd7fee-e623-47d0-9b6c-324afc1c37ca" providerId="ADAL" clId="{DD382197-8138-48D1-AA19-038002D31B77}" dt="2021-05-10T18:29:19.576" v="490"/>
          <ac:spMkLst>
            <pc:docMk/>
            <pc:sldMk cId="2437152744" sldId="259"/>
            <ac:spMk id="95" creationId="{10ACBCA4-D116-46B8-B733-44FD49042856}"/>
          </ac:spMkLst>
        </pc:spChg>
        <pc:spChg chg="mod">
          <ac:chgData name="Allison Pass" userId="3bdd7fee-e623-47d0-9b6c-324afc1c37ca" providerId="ADAL" clId="{DD382197-8138-48D1-AA19-038002D31B77}" dt="2021-05-10T18:29:19.576" v="490"/>
          <ac:spMkLst>
            <pc:docMk/>
            <pc:sldMk cId="2437152744" sldId="259"/>
            <ac:spMk id="98" creationId="{E6F64764-C0B9-41CA-925F-E06DD54A08E4}"/>
          </ac:spMkLst>
        </pc:spChg>
        <pc:spChg chg="mod">
          <ac:chgData name="Allison Pass" userId="3bdd7fee-e623-47d0-9b6c-324afc1c37ca" providerId="ADAL" clId="{DD382197-8138-48D1-AA19-038002D31B77}" dt="2021-05-10T18:29:19.576" v="490"/>
          <ac:spMkLst>
            <pc:docMk/>
            <pc:sldMk cId="2437152744" sldId="259"/>
            <ac:spMk id="100" creationId="{1CB9CEB3-9970-4F09-A170-2D274A278034}"/>
          </ac:spMkLst>
        </pc:spChg>
        <pc:spChg chg="mod">
          <ac:chgData name="Allison Pass" userId="3bdd7fee-e623-47d0-9b6c-324afc1c37ca" providerId="ADAL" clId="{DD382197-8138-48D1-AA19-038002D31B77}" dt="2021-05-10T18:29:19.576" v="490"/>
          <ac:spMkLst>
            <pc:docMk/>
            <pc:sldMk cId="2437152744" sldId="259"/>
            <ac:spMk id="101" creationId="{4971151A-2F67-45A7-BF14-9E99980467CF}"/>
          </ac:spMkLst>
        </pc:spChg>
        <pc:spChg chg="mod">
          <ac:chgData name="Allison Pass" userId="3bdd7fee-e623-47d0-9b6c-324afc1c37ca" providerId="ADAL" clId="{DD382197-8138-48D1-AA19-038002D31B77}" dt="2021-05-10T18:29:19.576" v="490"/>
          <ac:spMkLst>
            <pc:docMk/>
            <pc:sldMk cId="2437152744" sldId="259"/>
            <ac:spMk id="102" creationId="{1C918693-CD3A-4E7F-8938-1F245053C6A6}"/>
          </ac:spMkLst>
        </pc:spChg>
        <pc:spChg chg="mod">
          <ac:chgData name="Allison Pass" userId="3bdd7fee-e623-47d0-9b6c-324afc1c37ca" providerId="ADAL" clId="{DD382197-8138-48D1-AA19-038002D31B77}" dt="2021-05-10T18:29:19.576" v="490"/>
          <ac:spMkLst>
            <pc:docMk/>
            <pc:sldMk cId="2437152744" sldId="259"/>
            <ac:spMk id="103" creationId="{855368A3-F235-464A-B222-868985992275}"/>
          </ac:spMkLst>
        </pc:spChg>
        <pc:spChg chg="mod">
          <ac:chgData name="Allison Pass" userId="3bdd7fee-e623-47d0-9b6c-324afc1c37ca" providerId="ADAL" clId="{DD382197-8138-48D1-AA19-038002D31B77}" dt="2021-05-10T18:29:19.576" v="490"/>
          <ac:spMkLst>
            <pc:docMk/>
            <pc:sldMk cId="2437152744" sldId="259"/>
            <ac:spMk id="104" creationId="{A5A21B4B-2DA4-4F07-BCB2-92C1E18DDD01}"/>
          </ac:spMkLst>
        </pc:spChg>
        <pc:spChg chg="mod">
          <ac:chgData name="Allison Pass" userId="3bdd7fee-e623-47d0-9b6c-324afc1c37ca" providerId="ADAL" clId="{DD382197-8138-48D1-AA19-038002D31B77}" dt="2021-05-10T18:29:19.576" v="490"/>
          <ac:spMkLst>
            <pc:docMk/>
            <pc:sldMk cId="2437152744" sldId="259"/>
            <ac:spMk id="105" creationId="{A26F4DA4-4CB9-4780-9910-CF0BD9B844C9}"/>
          </ac:spMkLst>
        </pc:spChg>
        <pc:spChg chg="mod">
          <ac:chgData name="Allison Pass" userId="3bdd7fee-e623-47d0-9b6c-324afc1c37ca" providerId="ADAL" clId="{DD382197-8138-48D1-AA19-038002D31B77}" dt="2021-05-10T18:29:19.576" v="490"/>
          <ac:spMkLst>
            <pc:docMk/>
            <pc:sldMk cId="2437152744" sldId="259"/>
            <ac:spMk id="106" creationId="{BAA922BA-8660-41AA-AEE0-7D29EDF3C50E}"/>
          </ac:spMkLst>
        </pc:spChg>
        <pc:spChg chg="mod">
          <ac:chgData name="Allison Pass" userId="3bdd7fee-e623-47d0-9b6c-324afc1c37ca" providerId="ADAL" clId="{DD382197-8138-48D1-AA19-038002D31B77}" dt="2021-05-10T18:29:19.576" v="490"/>
          <ac:spMkLst>
            <pc:docMk/>
            <pc:sldMk cId="2437152744" sldId="259"/>
            <ac:spMk id="107" creationId="{32282B41-910C-48AE-A3D7-3C4FD4B71733}"/>
          </ac:spMkLst>
        </pc:spChg>
        <pc:spChg chg="mod">
          <ac:chgData name="Allison Pass" userId="3bdd7fee-e623-47d0-9b6c-324afc1c37ca" providerId="ADAL" clId="{DD382197-8138-48D1-AA19-038002D31B77}" dt="2021-05-10T18:29:19.576" v="490"/>
          <ac:spMkLst>
            <pc:docMk/>
            <pc:sldMk cId="2437152744" sldId="259"/>
            <ac:spMk id="108" creationId="{AA79AC87-6D98-49F5-8A93-7B65EE2B4BEF}"/>
          </ac:spMkLst>
        </pc:spChg>
        <pc:spChg chg="mod">
          <ac:chgData name="Allison Pass" userId="3bdd7fee-e623-47d0-9b6c-324afc1c37ca" providerId="ADAL" clId="{DD382197-8138-48D1-AA19-038002D31B77}" dt="2021-05-10T18:29:19.576" v="490"/>
          <ac:spMkLst>
            <pc:docMk/>
            <pc:sldMk cId="2437152744" sldId="259"/>
            <ac:spMk id="110" creationId="{CE48372B-D332-452A-A775-0961440C2989}"/>
          </ac:spMkLst>
        </pc:spChg>
        <pc:spChg chg="mod">
          <ac:chgData name="Allison Pass" userId="3bdd7fee-e623-47d0-9b6c-324afc1c37ca" providerId="ADAL" clId="{DD382197-8138-48D1-AA19-038002D31B77}" dt="2021-05-10T18:29:19.576" v="490"/>
          <ac:spMkLst>
            <pc:docMk/>
            <pc:sldMk cId="2437152744" sldId="259"/>
            <ac:spMk id="111" creationId="{6AF3AC94-4879-4D77-AA46-E4E0946E204D}"/>
          </ac:spMkLst>
        </pc:spChg>
        <pc:spChg chg="mod">
          <ac:chgData name="Allison Pass" userId="3bdd7fee-e623-47d0-9b6c-324afc1c37ca" providerId="ADAL" clId="{DD382197-8138-48D1-AA19-038002D31B77}" dt="2021-05-10T18:29:19.576" v="490"/>
          <ac:spMkLst>
            <pc:docMk/>
            <pc:sldMk cId="2437152744" sldId="259"/>
            <ac:spMk id="114" creationId="{D1C73590-505E-40B0-9B49-CFCC3E00A1B6}"/>
          </ac:spMkLst>
        </pc:spChg>
        <pc:spChg chg="mod">
          <ac:chgData name="Allison Pass" userId="3bdd7fee-e623-47d0-9b6c-324afc1c37ca" providerId="ADAL" clId="{DD382197-8138-48D1-AA19-038002D31B77}" dt="2021-05-10T18:29:19.576" v="490"/>
          <ac:spMkLst>
            <pc:docMk/>
            <pc:sldMk cId="2437152744" sldId="259"/>
            <ac:spMk id="116" creationId="{84CB666B-93AE-4046-948C-0526316CEC61}"/>
          </ac:spMkLst>
        </pc:spChg>
        <pc:spChg chg="mod">
          <ac:chgData name="Allison Pass" userId="3bdd7fee-e623-47d0-9b6c-324afc1c37ca" providerId="ADAL" clId="{DD382197-8138-48D1-AA19-038002D31B77}" dt="2021-05-10T18:29:19.576" v="490"/>
          <ac:spMkLst>
            <pc:docMk/>
            <pc:sldMk cId="2437152744" sldId="259"/>
            <ac:spMk id="117" creationId="{989316F1-A43E-4EEF-9863-C9B0B1B7988D}"/>
          </ac:spMkLst>
        </pc:spChg>
        <pc:spChg chg="mod">
          <ac:chgData name="Allison Pass" userId="3bdd7fee-e623-47d0-9b6c-324afc1c37ca" providerId="ADAL" clId="{DD382197-8138-48D1-AA19-038002D31B77}" dt="2021-05-10T18:29:19.576" v="490"/>
          <ac:spMkLst>
            <pc:docMk/>
            <pc:sldMk cId="2437152744" sldId="259"/>
            <ac:spMk id="118" creationId="{4415488F-C302-4F23-8D3B-518D24B29E76}"/>
          </ac:spMkLst>
        </pc:spChg>
        <pc:spChg chg="mod">
          <ac:chgData name="Allison Pass" userId="3bdd7fee-e623-47d0-9b6c-324afc1c37ca" providerId="ADAL" clId="{DD382197-8138-48D1-AA19-038002D31B77}" dt="2021-05-10T18:29:19.576" v="490"/>
          <ac:spMkLst>
            <pc:docMk/>
            <pc:sldMk cId="2437152744" sldId="259"/>
            <ac:spMk id="119" creationId="{E7257514-4888-4671-A347-BA31EBF024E9}"/>
          </ac:spMkLst>
        </pc:spChg>
        <pc:spChg chg="mod">
          <ac:chgData name="Allison Pass" userId="3bdd7fee-e623-47d0-9b6c-324afc1c37ca" providerId="ADAL" clId="{DD382197-8138-48D1-AA19-038002D31B77}" dt="2021-05-10T18:29:19.576" v="490"/>
          <ac:spMkLst>
            <pc:docMk/>
            <pc:sldMk cId="2437152744" sldId="259"/>
            <ac:spMk id="120" creationId="{382A1184-5B3C-4702-A1FA-E80092E8708E}"/>
          </ac:spMkLst>
        </pc:spChg>
        <pc:spChg chg="mod">
          <ac:chgData name="Allison Pass" userId="3bdd7fee-e623-47d0-9b6c-324afc1c37ca" providerId="ADAL" clId="{DD382197-8138-48D1-AA19-038002D31B77}" dt="2021-05-10T18:29:19.576" v="490"/>
          <ac:spMkLst>
            <pc:docMk/>
            <pc:sldMk cId="2437152744" sldId="259"/>
            <ac:spMk id="121" creationId="{6560AA52-D9FB-416A-8E11-02487F6A0BC0}"/>
          </ac:spMkLst>
        </pc:spChg>
        <pc:spChg chg="mod">
          <ac:chgData name="Allison Pass" userId="3bdd7fee-e623-47d0-9b6c-324afc1c37ca" providerId="ADAL" clId="{DD382197-8138-48D1-AA19-038002D31B77}" dt="2021-05-10T18:29:19.576" v="490"/>
          <ac:spMkLst>
            <pc:docMk/>
            <pc:sldMk cId="2437152744" sldId="259"/>
            <ac:spMk id="122" creationId="{3C899E62-6309-4DE8-B14A-0D6695E79D34}"/>
          </ac:spMkLst>
        </pc:spChg>
        <pc:spChg chg="mod">
          <ac:chgData name="Allison Pass" userId="3bdd7fee-e623-47d0-9b6c-324afc1c37ca" providerId="ADAL" clId="{DD382197-8138-48D1-AA19-038002D31B77}" dt="2021-05-10T18:29:19.576" v="490"/>
          <ac:spMkLst>
            <pc:docMk/>
            <pc:sldMk cId="2437152744" sldId="259"/>
            <ac:spMk id="124" creationId="{8390217D-EAF2-44DE-9785-1C1C8D469762}"/>
          </ac:spMkLst>
        </pc:spChg>
        <pc:spChg chg="mod">
          <ac:chgData name="Allison Pass" userId="3bdd7fee-e623-47d0-9b6c-324afc1c37ca" providerId="ADAL" clId="{DD382197-8138-48D1-AA19-038002D31B77}" dt="2021-05-10T18:29:19.576" v="490"/>
          <ac:spMkLst>
            <pc:docMk/>
            <pc:sldMk cId="2437152744" sldId="259"/>
            <ac:spMk id="125" creationId="{E5809492-7564-48A6-8DE8-C1E7E345D2CB}"/>
          </ac:spMkLst>
        </pc:spChg>
        <pc:spChg chg="mod">
          <ac:chgData name="Allison Pass" userId="3bdd7fee-e623-47d0-9b6c-324afc1c37ca" providerId="ADAL" clId="{DD382197-8138-48D1-AA19-038002D31B77}" dt="2021-05-10T18:29:19.576" v="490"/>
          <ac:spMkLst>
            <pc:docMk/>
            <pc:sldMk cId="2437152744" sldId="259"/>
            <ac:spMk id="128" creationId="{47A95B85-9A0A-46F6-A1B9-CA977FDD3257}"/>
          </ac:spMkLst>
        </pc:spChg>
        <pc:spChg chg="mod">
          <ac:chgData name="Allison Pass" userId="3bdd7fee-e623-47d0-9b6c-324afc1c37ca" providerId="ADAL" clId="{DD382197-8138-48D1-AA19-038002D31B77}" dt="2021-05-10T18:29:19.576" v="490"/>
          <ac:spMkLst>
            <pc:docMk/>
            <pc:sldMk cId="2437152744" sldId="259"/>
            <ac:spMk id="130" creationId="{67CF78C4-A276-4989-B792-F64055B7FA67}"/>
          </ac:spMkLst>
        </pc:spChg>
        <pc:spChg chg="mod">
          <ac:chgData name="Allison Pass" userId="3bdd7fee-e623-47d0-9b6c-324afc1c37ca" providerId="ADAL" clId="{DD382197-8138-48D1-AA19-038002D31B77}" dt="2021-05-10T18:29:19.576" v="490"/>
          <ac:spMkLst>
            <pc:docMk/>
            <pc:sldMk cId="2437152744" sldId="259"/>
            <ac:spMk id="132" creationId="{2E54D636-3E05-46A4-A041-B9F9D212D0E7}"/>
          </ac:spMkLst>
        </pc:spChg>
        <pc:spChg chg="mod">
          <ac:chgData name="Allison Pass" userId="3bdd7fee-e623-47d0-9b6c-324afc1c37ca" providerId="ADAL" clId="{DD382197-8138-48D1-AA19-038002D31B77}" dt="2021-05-10T18:29:19.576" v="490"/>
          <ac:spMkLst>
            <pc:docMk/>
            <pc:sldMk cId="2437152744" sldId="259"/>
            <ac:spMk id="134" creationId="{1CB0DF0D-4F92-4235-84B0-0495FF1785BF}"/>
          </ac:spMkLst>
        </pc:spChg>
        <pc:spChg chg="mod">
          <ac:chgData name="Allison Pass" userId="3bdd7fee-e623-47d0-9b6c-324afc1c37ca" providerId="ADAL" clId="{DD382197-8138-48D1-AA19-038002D31B77}" dt="2021-05-10T18:29:19.576" v="490"/>
          <ac:spMkLst>
            <pc:docMk/>
            <pc:sldMk cId="2437152744" sldId="259"/>
            <ac:spMk id="135" creationId="{6DFF257A-FE5B-4809-8A45-28E6EEC1D646}"/>
          </ac:spMkLst>
        </pc:spChg>
        <pc:spChg chg="add del mod">
          <ac:chgData name="Allison Pass" userId="3bdd7fee-e623-47d0-9b6c-324afc1c37ca" providerId="ADAL" clId="{DD382197-8138-48D1-AA19-038002D31B77}" dt="2021-05-10T18:31:04.545" v="493" actId="478"/>
          <ac:spMkLst>
            <pc:docMk/>
            <pc:sldMk cId="2437152744" sldId="259"/>
            <ac:spMk id="136" creationId="{6FA1EF16-45D1-40A3-8CE7-B71DE2205A9B}"/>
          </ac:spMkLst>
        </pc:spChg>
        <pc:spChg chg="add del mod">
          <ac:chgData name="Allison Pass" userId="3bdd7fee-e623-47d0-9b6c-324afc1c37ca" providerId="ADAL" clId="{DD382197-8138-48D1-AA19-038002D31B77}" dt="2021-05-10T18:34:04.664" v="507"/>
          <ac:spMkLst>
            <pc:docMk/>
            <pc:sldMk cId="2437152744" sldId="259"/>
            <ac:spMk id="137" creationId="{FB7953F3-C319-458C-A163-0A82C5F45FF6}"/>
          </ac:spMkLst>
        </pc:spChg>
        <pc:spChg chg="add del mod">
          <ac:chgData name="Allison Pass" userId="3bdd7fee-e623-47d0-9b6c-324afc1c37ca" providerId="ADAL" clId="{DD382197-8138-48D1-AA19-038002D31B77}" dt="2021-05-10T18:34:04.664" v="507"/>
          <ac:spMkLst>
            <pc:docMk/>
            <pc:sldMk cId="2437152744" sldId="259"/>
            <ac:spMk id="138" creationId="{0013F363-9DCF-4F71-96F9-4D813A45AD40}"/>
          </ac:spMkLst>
        </pc:spChg>
        <pc:spChg chg="add del mod">
          <ac:chgData name="Allison Pass" userId="3bdd7fee-e623-47d0-9b6c-324afc1c37ca" providerId="ADAL" clId="{DD382197-8138-48D1-AA19-038002D31B77}" dt="2021-05-10T18:34:04.664" v="507"/>
          <ac:spMkLst>
            <pc:docMk/>
            <pc:sldMk cId="2437152744" sldId="259"/>
            <ac:spMk id="139" creationId="{3576F256-D2E7-49E3-8837-EF6F74C2AA74}"/>
          </ac:spMkLst>
        </pc:spChg>
        <pc:spChg chg="add del mod">
          <ac:chgData name="Allison Pass" userId="3bdd7fee-e623-47d0-9b6c-324afc1c37ca" providerId="ADAL" clId="{DD382197-8138-48D1-AA19-038002D31B77}" dt="2021-05-10T18:34:04.664" v="507"/>
          <ac:spMkLst>
            <pc:docMk/>
            <pc:sldMk cId="2437152744" sldId="259"/>
            <ac:spMk id="140" creationId="{CA11613D-FD86-460A-B294-436687E93301}"/>
          </ac:spMkLst>
        </pc:spChg>
        <pc:spChg chg="add del mod">
          <ac:chgData name="Allison Pass" userId="3bdd7fee-e623-47d0-9b6c-324afc1c37ca" providerId="ADAL" clId="{DD382197-8138-48D1-AA19-038002D31B77}" dt="2021-05-10T18:34:04.664" v="507"/>
          <ac:spMkLst>
            <pc:docMk/>
            <pc:sldMk cId="2437152744" sldId="259"/>
            <ac:spMk id="141" creationId="{84F0E091-9663-4063-A1BE-C6E6AB03795B}"/>
          </ac:spMkLst>
        </pc:spChg>
        <pc:spChg chg="add del mod">
          <ac:chgData name="Allison Pass" userId="3bdd7fee-e623-47d0-9b6c-324afc1c37ca" providerId="ADAL" clId="{DD382197-8138-48D1-AA19-038002D31B77}" dt="2021-05-10T18:34:04.664" v="507"/>
          <ac:spMkLst>
            <pc:docMk/>
            <pc:sldMk cId="2437152744" sldId="259"/>
            <ac:spMk id="142" creationId="{FAEB91B2-5A18-4140-9254-57FBD8AFFD08}"/>
          </ac:spMkLst>
        </pc:spChg>
        <pc:spChg chg="add del mod">
          <ac:chgData name="Allison Pass" userId="3bdd7fee-e623-47d0-9b6c-324afc1c37ca" providerId="ADAL" clId="{DD382197-8138-48D1-AA19-038002D31B77}" dt="2021-05-10T18:34:04.664" v="507"/>
          <ac:spMkLst>
            <pc:docMk/>
            <pc:sldMk cId="2437152744" sldId="259"/>
            <ac:spMk id="143" creationId="{2AEFB2A7-9765-43DC-A65E-2D35F1F8268E}"/>
          </ac:spMkLst>
        </pc:spChg>
        <pc:spChg chg="add del mod">
          <ac:chgData name="Allison Pass" userId="3bdd7fee-e623-47d0-9b6c-324afc1c37ca" providerId="ADAL" clId="{DD382197-8138-48D1-AA19-038002D31B77}" dt="2021-05-10T18:34:04.664" v="507"/>
          <ac:spMkLst>
            <pc:docMk/>
            <pc:sldMk cId="2437152744" sldId="259"/>
            <ac:spMk id="144" creationId="{7C35A02D-03DF-42DD-8049-8B2D10621AC0}"/>
          </ac:spMkLst>
        </pc:spChg>
        <pc:spChg chg="mod">
          <ac:chgData name="Allison Pass" userId="3bdd7fee-e623-47d0-9b6c-324afc1c37ca" providerId="ADAL" clId="{DD382197-8138-48D1-AA19-038002D31B77}" dt="2021-05-10T18:34:00.349" v="506"/>
          <ac:spMkLst>
            <pc:docMk/>
            <pc:sldMk cId="2437152744" sldId="259"/>
            <ac:spMk id="146" creationId="{40B391EB-B872-41B2-9CA7-12AF8D4E8747}"/>
          </ac:spMkLst>
        </pc:spChg>
        <pc:spChg chg="mod">
          <ac:chgData name="Allison Pass" userId="3bdd7fee-e623-47d0-9b6c-324afc1c37ca" providerId="ADAL" clId="{DD382197-8138-48D1-AA19-038002D31B77}" dt="2021-05-10T18:34:00.349" v="506"/>
          <ac:spMkLst>
            <pc:docMk/>
            <pc:sldMk cId="2437152744" sldId="259"/>
            <ac:spMk id="148" creationId="{B744120E-76A8-41B5-A797-99283BF0326B}"/>
          </ac:spMkLst>
        </pc:spChg>
        <pc:spChg chg="mod">
          <ac:chgData name="Allison Pass" userId="3bdd7fee-e623-47d0-9b6c-324afc1c37ca" providerId="ADAL" clId="{DD382197-8138-48D1-AA19-038002D31B77}" dt="2021-05-10T18:34:00.349" v="506"/>
          <ac:spMkLst>
            <pc:docMk/>
            <pc:sldMk cId="2437152744" sldId="259"/>
            <ac:spMk id="149" creationId="{323DE4EE-75A6-4AC5-95A8-EC7C5B17B6CB}"/>
          </ac:spMkLst>
        </pc:spChg>
        <pc:spChg chg="mod">
          <ac:chgData name="Allison Pass" userId="3bdd7fee-e623-47d0-9b6c-324afc1c37ca" providerId="ADAL" clId="{DD382197-8138-48D1-AA19-038002D31B77}" dt="2021-05-10T18:34:00.349" v="506"/>
          <ac:spMkLst>
            <pc:docMk/>
            <pc:sldMk cId="2437152744" sldId="259"/>
            <ac:spMk id="151" creationId="{E9B30D63-3D88-40DD-932E-F0F8137A8085}"/>
          </ac:spMkLst>
        </pc:spChg>
        <pc:spChg chg="mod">
          <ac:chgData name="Allison Pass" userId="3bdd7fee-e623-47d0-9b6c-324afc1c37ca" providerId="ADAL" clId="{DD382197-8138-48D1-AA19-038002D31B77}" dt="2021-05-10T18:34:00.349" v="506"/>
          <ac:spMkLst>
            <pc:docMk/>
            <pc:sldMk cId="2437152744" sldId="259"/>
            <ac:spMk id="153" creationId="{8BF49566-3888-4E5A-86A8-1DF326C151A7}"/>
          </ac:spMkLst>
        </pc:spChg>
        <pc:spChg chg="mod">
          <ac:chgData name="Allison Pass" userId="3bdd7fee-e623-47d0-9b6c-324afc1c37ca" providerId="ADAL" clId="{DD382197-8138-48D1-AA19-038002D31B77}" dt="2021-05-10T18:34:00.349" v="506"/>
          <ac:spMkLst>
            <pc:docMk/>
            <pc:sldMk cId="2437152744" sldId="259"/>
            <ac:spMk id="154" creationId="{A83108B2-7699-49CC-999C-E3C1B54E52B1}"/>
          </ac:spMkLst>
        </pc:spChg>
        <pc:spChg chg="add del mod">
          <ac:chgData name="Allison Pass" userId="3bdd7fee-e623-47d0-9b6c-324afc1c37ca" providerId="ADAL" clId="{DD382197-8138-48D1-AA19-038002D31B77}" dt="2021-05-10T18:34:04.664" v="507"/>
          <ac:spMkLst>
            <pc:docMk/>
            <pc:sldMk cId="2437152744" sldId="259"/>
            <ac:spMk id="155" creationId="{C23AF4C0-B905-4BE6-BDF0-70C1E6738CC0}"/>
          </ac:spMkLst>
        </pc:spChg>
        <pc:spChg chg="mod">
          <ac:chgData name="Allison Pass" userId="3bdd7fee-e623-47d0-9b6c-324afc1c37ca" providerId="ADAL" clId="{DD382197-8138-48D1-AA19-038002D31B77}" dt="2021-05-10T18:34:00.349" v="506"/>
          <ac:spMkLst>
            <pc:docMk/>
            <pc:sldMk cId="2437152744" sldId="259"/>
            <ac:spMk id="157" creationId="{DED15A9E-7E0F-4AA6-B95A-A3AEDC1AB5F6}"/>
          </ac:spMkLst>
        </pc:spChg>
        <pc:spChg chg="mod">
          <ac:chgData name="Allison Pass" userId="3bdd7fee-e623-47d0-9b6c-324afc1c37ca" providerId="ADAL" clId="{DD382197-8138-48D1-AA19-038002D31B77}" dt="2021-05-10T18:34:00.349" v="506"/>
          <ac:spMkLst>
            <pc:docMk/>
            <pc:sldMk cId="2437152744" sldId="259"/>
            <ac:spMk id="159" creationId="{5B32FFC7-3881-4B35-8034-D18DFA0EA6F8}"/>
          </ac:spMkLst>
        </pc:spChg>
        <pc:spChg chg="mod">
          <ac:chgData name="Allison Pass" userId="3bdd7fee-e623-47d0-9b6c-324afc1c37ca" providerId="ADAL" clId="{DD382197-8138-48D1-AA19-038002D31B77}" dt="2021-05-10T18:34:00.349" v="506"/>
          <ac:spMkLst>
            <pc:docMk/>
            <pc:sldMk cId="2437152744" sldId="259"/>
            <ac:spMk id="160" creationId="{1EB421FA-9EB3-47DA-BB0F-797706EABC86}"/>
          </ac:spMkLst>
        </pc:spChg>
        <pc:spChg chg="mod">
          <ac:chgData name="Allison Pass" userId="3bdd7fee-e623-47d0-9b6c-324afc1c37ca" providerId="ADAL" clId="{DD382197-8138-48D1-AA19-038002D31B77}" dt="2021-05-10T18:34:00.349" v="506"/>
          <ac:spMkLst>
            <pc:docMk/>
            <pc:sldMk cId="2437152744" sldId="259"/>
            <ac:spMk id="163" creationId="{263FA3F2-7EF3-4E87-85D2-D7C1C33B2908}"/>
          </ac:spMkLst>
        </pc:spChg>
        <pc:spChg chg="mod">
          <ac:chgData name="Allison Pass" userId="3bdd7fee-e623-47d0-9b6c-324afc1c37ca" providerId="ADAL" clId="{DD382197-8138-48D1-AA19-038002D31B77}" dt="2021-05-10T18:34:00.349" v="506"/>
          <ac:spMkLst>
            <pc:docMk/>
            <pc:sldMk cId="2437152744" sldId="259"/>
            <ac:spMk id="165" creationId="{8CD65E98-5296-4C14-9FBB-3A97EEBFAC85}"/>
          </ac:spMkLst>
        </pc:spChg>
        <pc:spChg chg="mod">
          <ac:chgData name="Allison Pass" userId="3bdd7fee-e623-47d0-9b6c-324afc1c37ca" providerId="ADAL" clId="{DD382197-8138-48D1-AA19-038002D31B77}" dt="2021-05-10T18:34:00.349" v="506"/>
          <ac:spMkLst>
            <pc:docMk/>
            <pc:sldMk cId="2437152744" sldId="259"/>
            <ac:spMk id="166" creationId="{B8F0350F-1832-44D2-AD48-3F4B0027EC8B}"/>
          </ac:spMkLst>
        </pc:spChg>
        <pc:spChg chg="mod">
          <ac:chgData name="Allison Pass" userId="3bdd7fee-e623-47d0-9b6c-324afc1c37ca" providerId="ADAL" clId="{DD382197-8138-48D1-AA19-038002D31B77}" dt="2021-05-10T18:34:00.349" v="506"/>
          <ac:spMkLst>
            <pc:docMk/>
            <pc:sldMk cId="2437152744" sldId="259"/>
            <ac:spMk id="167" creationId="{7E338C87-28EA-416E-96AC-B6E9B39C94DA}"/>
          </ac:spMkLst>
        </pc:spChg>
        <pc:spChg chg="mod">
          <ac:chgData name="Allison Pass" userId="3bdd7fee-e623-47d0-9b6c-324afc1c37ca" providerId="ADAL" clId="{DD382197-8138-48D1-AA19-038002D31B77}" dt="2021-05-10T18:34:00.349" v="506"/>
          <ac:spMkLst>
            <pc:docMk/>
            <pc:sldMk cId="2437152744" sldId="259"/>
            <ac:spMk id="168" creationId="{C443AB67-07C3-4D40-9996-5A9D00BFFB23}"/>
          </ac:spMkLst>
        </pc:spChg>
        <pc:spChg chg="mod">
          <ac:chgData name="Allison Pass" userId="3bdd7fee-e623-47d0-9b6c-324afc1c37ca" providerId="ADAL" clId="{DD382197-8138-48D1-AA19-038002D31B77}" dt="2021-05-10T18:34:00.349" v="506"/>
          <ac:spMkLst>
            <pc:docMk/>
            <pc:sldMk cId="2437152744" sldId="259"/>
            <ac:spMk id="169" creationId="{45406A60-9A71-4674-B964-8B171C39E966}"/>
          </ac:spMkLst>
        </pc:spChg>
        <pc:spChg chg="mod">
          <ac:chgData name="Allison Pass" userId="3bdd7fee-e623-47d0-9b6c-324afc1c37ca" providerId="ADAL" clId="{DD382197-8138-48D1-AA19-038002D31B77}" dt="2021-05-10T18:34:00.349" v="506"/>
          <ac:spMkLst>
            <pc:docMk/>
            <pc:sldMk cId="2437152744" sldId="259"/>
            <ac:spMk id="170" creationId="{48233691-3D2D-462E-AC9A-D7778B6314B3}"/>
          </ac:spMkLst>
        </pc:spChg>
        <pc:spChg chg="mod">
          <ac:chgData name="Allison Pass" userId="3bdd7fee-e623-47d0-9b6c-324afc1c37ca" providerId="ADAL" clId="{DD382197-8138-48D1-AA19-038002D31B77}" dt="2021-05-10T18:34:00.349" v="506"/>
          <ac:spMkLst>
            <pc:docMk/>
            <pc:sldMk cId="2437152744" sldId="259"/>
            <ac:spMk id="171" creationId="{EAEC7F13-459B-48FC-90BA-66C2B60F2EF1}"/>
          </ac:spMkLst>
        </pc:spChg>
        <pc:spChg chg="mod">
          <ac:chgData name="Allison Pass" userId="3bdd7fee-e623-47d0-9b6c-324afc1c37ca" providerId="ADAL" clId="{DD382197-8138-48D1-AA19-038002D31B77}" dt="2021-05-10T18:34:00.349" v="506"/>
          <ac:spMkLst>
            <pc:docMk/>
            <pc:sldMk cId="2437152744" sldId="259"/>
            <ac:spMk id="172" creationId="{37203DAF-1CBA-4586-B788-F6A8ACB49581}"/>
          </ac:spMkLst>
        </pc:spChg>
        <pc:spChg chg="mod">
          <ac:chgData name="Allison Pass" userId="3bdd7fee-e623-47d0-9b6c-324afc1c37ca" providerId="ADAL" clId="{DD382197-8138-48D1-AA19-038002D31B77}" dt="2021-05-10T18:34:00.349" v="506"/>
          <ac:spMkLst>
            <pc:docMk/>
            <pc:sldMk cId="2437152744" sldId="259"/>
            <ac:spMk id="173" creationId="{D63E2385-14B6-423A-9906-68D9BFA6FA25}"/>
          </ac:spMkLst>
        </pc:spChg>
        <pc:spChg chg="mod">
          <ac:chgData name="Allison Pass" userId="3bdd7fee-e623-47d0-9b6c-324afc1c37ca" providerId="ADAL" clId="{DD382197-8138-48D1-AA19-038002D31B77}" dt="2021-05-10T18:34:00.349" v="506"/>
          <ac:spMkLst>
            <pc:docMk/>
            <pc:sldMk cId="2437152744" sldId="259"/>
            <ac:spMk id="175" creationId="{BDBCB428-56AE-40C2-8F14-1F5BD533F438}"/>
          </ac:spMkLst>
        </pc:spChg>
        <pc:spChg chg="mod">
          <ac:chgData name="Allison Pass" userId="3bdd7fee-e623-47d0-9b6c-324afc1c37ca" providerId="ADAL" clId="{DD382197-8138-48D1-AA19-038002D31B77}" dt="2021-05-10T18:34:00.349" v="506"/>
          <ac:spMkLst>
            <pc:docMk/>
            <pc:sldMk cId="2437152744" sldId="259"/>
            <ac:spMk id="176" creationId="{31EC9ED7-9227-4BCB-9E1F-8BF05801394F}"/>
          </ac:spMkLst>
        </pc:spChg>
        <pc:spChg chg="mod">
          <ac:chgData name="Allison Pass" userId="3bdd7fee-e623-47d0-9b6c-324afc1c37ca" providerId="ADAL" clId="{DD382197-8138-48D1-AA19-038002D31B77}" dt="2021-05-10T18:34:00.349" v="506"/>
          <ac:spMkLst>
            <pc:docMk/>
            <pc:sldMk cId="2437152744" sldId="259"/>
            <ac:spMk id="179" creationId="{B4231621-7FFD-4BC1-B585-D8DE32FC115A}"/>
          </ac:spMkLst>
        </pc:spChg>
        <pc:spChg chg="mod">
          <ac:chgData name="Allison Pass" userId="3bdd7fee-e623-47d0-9b6c-324afc1c37ca" providerId="ADAL" clId="{DD382197-8138-48D1-AA19-038002D31B77}" dt="2021-05-10T18:34:00.349" v="506"/>
          <ac:spMkLst>
            <pc:docMk/>
            <pc:sldMk cId="2437152744" sldId="259"/>
            <ac:spMk id="181" creationId="{3015E70B-915B-46E4-9094-5B44127EAA69}"/>
          </ac:spMkLst>
        </pc:spChg>
        <pc:spChg chg="mod">
          <ac:chgData name="Allison Pass" userId="3bdd7fee-e623-47d0-9b6c-324afc1c37ca" providerId="ADAL" clId="{DD382197-8138-48D1-AA19-038002D31B77}" dt="2021-05-10T18:34:00.349" v="506"/>
          <ac:spMkLst>
            <pc:docMk/>
            <pc:sldMk cId="2437152744" sldId="259"/>
            <ac:spMk id="182" creationId="{2245F333-60CB-45C6-9C51-F7CC2FF6762C}"/>
          </ac:spMkLst>
        </pc:spChg>
        <pc:spChg chg="mod">
          <ac:chgData name="Allison Pass" userId="3bdd7fee-e623-47d0-9b6c-324afc1c37ca" providerId="ADAL" clId="{DD382197-8138-48D1-AA19-038002D31B77}" dt="2021-05-10T18:34:00.349" v="506"/>
          <ac:spMkLst>
            <pc:docMk/>
            <pc:sldMk cId="2437152744" sldId="259"/>
            <ac:spMk id="183" creationId="{77936571-9B1C-452B-B78E-F46EF5E3FEC1}"/>
          </ac:spMkLst>
        </pc:spChg>
        <pc:spChg chg="mod">
          <ac:chgData name="Allison Pass" userId="3bdd7fee-e623-47d0-9b6c-324afc1c37ca" providerId="ADAL" clId="{DD382197-8138-48D1-AA19-038002D31B77}" dt="2021-05-10T18:34:00.349" v="506"/>
          <ac:spMkLst>
            <pc:docMk/>
            <pc:sldMk cId="2437152744" sldId="259"/>
            <ac:spMk id="184" creationId="{EA0591D0-E76A-4F2D-B8E4-0AD32F8F9C6D}"/>
          </ac:spMkLst>
        </pc:spChg>
        <pc:spChg chg="mod">
          <ac:chgData name="Allison Pass" userId="3bdd7fee-e623-47d0-9b6c-324afc1c37ca" providerId="ADAL" clId="{DD382197-8138-48D1-AA19-038002D31B77}" dt="2021-05-10T18:34:00.349" v="506"/>
          <ac:spMkLst>
            <pc:docMk/>
            <pc:sldMk cId="2437152744" sldId="259"/>
            <ac:spMk id="185" creationId="{616CFD5E-F380-449B-A79B-D73F50A165F6}"/>
          </ac:spMkLst>
        </pc:spChg>
        <pc:spChg chg="mod">
          <ac:chgData name="Allison Pass" userId="3bdd7fee-e623-47d0-9b6c-324afc1c37ca" providerId="ADAL" clId="{DD382197-8138-48D1-AA19-038002D31B77}" dt="2021-05-10T18:34:00.349" v="506"/>
          <ac:spMkLst>
            <pc:docMk/>
            <pc:sldMk cId="2437152744" sldId="259"/>
            <ac:spMk id="186" creationId="{2AB55976-789D-4D75-8288-DC28D2129114}"/>
          </ac:spMkLst>
        </pc:spChg>
        <pc:spChg chg="mod">
          <ac:chgData name="Allison Pass" userId="3bdd7fee-e623-47d0-9b6c-324afc1c37ca" providerId="ADAL" clId="{DD382197-8138-48D1-AA19-038002D31B77}" dt="2021-05-10T18:34:00.349" v="506"/>
          <ac:spMkLst>
            <pc:docMk/>
            <pc:sldMk cId="2437152744" sldId="259"/>
            <ac:spMk id="187" creationId="{75AE33EF-55D2-4AAE-8559-C134D5B423AC}"/>
          </ac:spMkLst>
        </pc:spChg>
        <pc:spChg chg="mod">
          <ac:chgData name="Allison Pass" userId="3bdd7fee-e623-47d0-9b6c-324afc1c37ca" providerId="ADAL" clId="{DD382197-8138-48D1-AA19-038002D31B77}" dt="2021-05-10T18:34:00.349" v="506"/>
          <ac:spMkLst>
            <pc:docMk/>
            <pc:sldMk cId="2437152744" sldId="259"/>
            <ac:spMk id="189" creationId="{729F7561-6F31-4418-A97F-60E50F1BDACE}"/>
          </ac:spMkLst>
        </pc:spChg>
        <pc:spChg chg="mod">
          <ac:chgData name="Allison Pass" userId="3bdd7fee-e623-47d0-9b6c-324afc1c37ca" providerId="ADAL" clId="{DD382197-8138-48D1-AA19-038002D31B77}" dt="2021-05-10T18:34:00.349" v="506"/>
          <ac:spMkLst>
            <pc:docMk/>
            <pc:sldMk cId="2437152744" sldId="259"/>
            <ac:spMk id="190" creationId="{192F0026-3616-416E-9817-FE17DC8CF18F}"/>
          </ac:spMkLst>
        </pc:spChg>
        <pc:spChg chg="mod">
          <ac:chgData name="Allison Pass" userId="3bdd7fee-e623-47d0-9b6c-324afc1c37ca" providerId="ADAL" clId="{DD382197-8138-48D1-AA19-038002D31B77}" dt="2021-05-10T18:34:00.349" v="506"/>
          <ac:spMkLst>
            <pc:docMk/>
            <pc:sldMk cId="2437152744" sldId="259"/>
            <ac:spMk id="193" creationId="{EB2E72FA-0CD8-4F5D-B70E-13E894FF8ECC}"/>
          </ac:spMkLst>
        </pc:spChg>
        <pc:spChg chg="mod">
          <ac:chgData name="Allison Pass" userId="3bdd7fee-e623-47d0-9b6c-324afc1c37ca" providerId="ADAL" clId="{DD382197-8138-48D1-AA19-038002D31B77}" dt="2021-05-10T18:34:00.349" v="506"/>
          <ac:spMkLst>
            <pc:docMk/>
            <pc:sldMk cId="2437152744" sldId="259"/>
            <ac:spMk id="195" creationId="{8D5EF162-D372-4867-854B-53D5192B0D18}"/>
          </ac:spMkLst>
        </pc:spChg>
        <pc:spChg chg="mod">
          <ac:chgData name="Allison Pass" userId="3bdd7fee-e623-47d0-9b6c-324afc1c37ca" providerId="ADAL" clId="{DD382197-8138-48D1-AA19-038002D31B77}" dt="2021-05-10T18:34:00.349" v="506"/>
          <ac:spMkLst>
            <pc:docMk/>
            <pc:sldMk cId="2437152744" sldId="259"/>
            <ac:spMk id="197" creationId="{BF6AAB03-8AEE-4B53-8333-3810A6B8A0A9}"/>
          </ac:spMkLst>
        </pc:spChg>
        <pc:spChg chg="mod">
          <ac:chgData name="Allison Pass" userId="3bdd7fee-e623-47d0-9b6c-324afc1c37ca" providerId="ADAL" clId="{DD382197-8138-48D1-AA19-038002D31B77}" dt="2021-05-10T18:34:00.349" v="506"/>
          <ac:spMkLst>
            <pc:docMk/>
            <pc:sldMk cId="2437152744" sldId="259"/>
            <ac:spMk id="199" creationId="{E9298ED1-3B17-4C78-A29C-696B594D2D5A}"/>
          </ac:spMkLst>
        </pc:spChg>
        <pc:spChg chg="mod">
          <ac:chgData name="Allison Pass" userId="3bdd7fee-e623-47d0-9b6c-324afc1c37ca" providerId="ADAL" clId="{DD382197-8138-48D1-AA19-038002D31B77}" dt="2021-05-10T18:34:00.349" v="506"/>
          <ac:spMkLst>
            <pc:docMk/>
            <pc:sldMk cId="2437152744" sldId="259"/>
            <ac:spMk id="200" creationId="{65657316-7BBC-4AD4-8364-E2E6285DDF96}"/>
          </ac:spMkLst>
        </pc:spChg>
        <pc:spChg chg="add mod">
          <ac:chgData name="Allison Pass" userId="3bdd7fee-e623-47d0-9b6c-324afc1c37ca" providerId="ADAL" clId="{DD382197-8138-48D1-AA19-038002D31B77}" dt="2021-05-10T18:34:11.566" v="509" actId="1076"/>
          <ac:spMkLst>
            <pc:docMk/>
            <pc:sldMk cId="2437152744" sldId="259"/>
            <ac:spMk id="201" creationId="{1E30E14A-1E30-408D-9B24-962AA0E52533}"/>
          </ac:spMkLst>
        </pc:spChg>
        <pc:spChg chg="add mod">
          <ac:chgData name="Allison Pass" userId="3bdd7fee-e623-47d0-9b6c-324afc1c37ca" providerId="ADAL" clId="{DD382197-8138-48D1-AA19-038002D31B77}" dt="2021-05-10T18:34:11.566" v="509" actId="1076"/>
          <ac:spMkLst>
            <pc:docMk/>
            <pc:sldMk cId="2437152744" sldId="259"/>
            <ac:spMk id="202" creationId="{4B366B2D-E621-4817-BB11-01E4D43A1279}"/>
          </ac:spMkLst>
        </pc:spChg>
        <pc:spChg chg="add mod">
          <ac:chgData name="Allison Pass" userId="3bdd7fee-e623-47d0-9b6c-324afc1c37ca" providerId="ADAL" clId="{DD382197-8138-48D1-AA19-038002D31B77}" dt="2021-05-10T18:34:11.566" v="509" actId="1076"/>
          <ac:spMkLst>
            <pc:docMk/>
            <pc:sldMk cId="2437152744" sldId="259"/>
            <ac:spMk id="203" creationId="{DA9F8B10-2954-4FB2-ACD9-B87FD266EDFB}"/>
          </ac:spMkLst>
        </pc:spChg>
        <pc:spChg chg="add mod">
          <ac:chgData name="Allison Pass" userId="3bdd7fee-e623-47d0-9b6c-324afc1c37ca" providerId="ADAL" clId="{DD382197-8138-48D1-AA19-038002D31B77}" dt="2021-05-10T18:34:11.566" v="509" actId="1076"/>
          <ac:spMkLst>
            <pc:docMk/>
            <pc:sldMk cId="2437152744" sldId="259"/>
            <ac:spMk id="204" creationId="{94899AC0-ED9A-450A-A9C5-50598D2C9407}"/>
          </ac:spMkLst>
        </pc:spChg>
        <pc:spChg chg="add mod">
          <ac:chgData name="Allison Pass" userId="3bdd7fee-e623-47d0-9b6c-324afc1c37ca" providerId="ADAL" clId="{DD382197-8138-48D1-AA19-038002D31B77}" dt="2021-05-10T18:34:11.566" v="509" actId="1076"/>
          <ac:spMkLst>
            <pc:docMk/>
            <pc:sldMk cId="2437152744" sldId="259"/>
            <ac:spMk id="205" creationId="{D0E9489B-963C-48C9-9485-C94CACD7A844}"/>
          </ac:spMkLst>
        </pc:spChg>
        <pc:spChg chg="add mod">
          <ac:chgData name="Allison Pass" userId="3bdd7fee-e623-47d0-9b6c-324afc1c37ca" providerId="ADAL" clId="{DD382197-8138-48D1-AA19-038002D31B77}" dt="2021-05-10T18:34:11.566" v="509" actId="1076"/>
          <ac:spMkLst>
            <pc:docMk/>
            <pc:sldMk cId="2437152744" sldId="259"/>
            <ac:spMk id="206" creationId="{69C1D69E-188A-4D9B-A093-D64DE586A387}"/>
          </ac:spMkLst>
        </pc:spChg>
        <pc:spChg chg="add mod">
          <ac:chgData name="Allison Pass" userId="3bdd7fee-e623-47d0-9b6c-324afc1c37ca" providerId="ADAL" clId="{DD382197-8138-48D1-AA19-038002D31B77}" dt="2021-05-10T18:34:11.566" v="509" actId="1076"/>
          <ac:spMkLst>
            <pc:docMk/>
            <pc:sldMk cId="2437152744" sldId="259"/>
            <ac:spMk id="207" creationId="{DDD917A1-F80F-40A4-8238-C7BD811D8B9C}"/>
          </ac:spMkLst>
        </pc:spChg>
        <pc:spChg chg="add mod">
          <ac:chgData name="Allison Pass" userId="3bdd7fee-e623-47d0-9b6c-324afc1c37ca" providerId="ADAL" clId="{DD382197-8138-48D1-AA19-038002D31B77}" dt="2021-05-10T18:34:11.566" v="509" actId="1076"/>
          <ac:spMkLst>
            <pc:docMk/>
            <pc:sldMk cId="2437152744" sldId="259"/>
            <ac:spMk id="208" creationId="{1BDE982C-C4EA-4154-B774-1466A699F1A7}"/>
          </ac:spMkLst>
        </pc:spChg>
        <pc:spChg chg="mod">
          <ac:chgData name="Allison Pass" userId="3bdd7fee-e623-47d0-9b6c-324afc1c37ca" providerId="ADAL" clId="{DD382197-8138-48D1-AA19-038002D31B77}" dt="2021-05-10T18:34:07.145" v="508"/>
          <ac:spMkLst>
            <pc:docMk/>
            <pc:sldMk cId="2437152744" sldId="259"/>
            <ac:spMk id="210" creationId="{01E60635-5B06-48AB-B889-8FD610766D2D}"/>
          </ac:spMkLst>
        </pc:spChg>
        <pc:spChg chg="mod">
          <ac:chgData name="Allison Pass" userId="3bdd7fee-e623-47d0-9b6c-324afc1c37ca" providerId="ADAL" clId="{DD382197-8138-48D1-AA19-038002D31B77}" dt="2021-05-10T18:34:07.145" v="508"/>
          <ac:spMkLst>
            <pc:docMk/>
            <pc:sldMk cId="2437152744" sldId="259"/>
            <ac:spMk id="212" creationId="{4A1C7B2D-DF9F-49E8-AF54-5ED24783BBC7}"/>
          </ac:spMkLst>
        </pc:spChg>
        <pc:spChg chg="mod">
          <ac:chgData name="Allison Pass" userId="3bdd7fee-e623-47d0-9b6c-324afc1c37ca" providerId="ADAL" clId="{DD382197-8138-48D1-AA19-038002D31B77}" dt="2021-05-10T18:34:07.145" v="508"/>
          <ac:spMkLst>
            <pc:docMk/>
            <pc:sldMk cId="2437152744" sldId="259"/>
            <ac:spMk id="213" creationId="{D942593B-7C95-4102-9405-DC69039DFCAA}"/>
          </ac:spMkLst>
        </pc:spChg>
        <pc:spChg chg="mod">
          <ac:chgData name="Allison Pass" userId="3bdd7fee-e623-47d0-9b6c-324afc1c37ca" providerId="ADAL" clId="{DD382197-8138-48D1-AA19-038002D31B77}" dt="2021-05-10T18:34:07.145" v="508"/>
          <ac:spMkLst>
            <pc:docMk/>
            <pc:sldMk cId="2437152744" sldId="259"/>
            <ac:spMk id="215" creationId="{4AF375F1-EBBF-4795-A1ED-3B7FA3FB3742}"/>
          </ac:spMkLst>
        </pc:spChg>
        <pc:spChg chg="mod">
          <ac:chgData name="Allison Pass" userId="3bdd7fee-e623-47d0-9b6c-324afc1c37ca" providerId="ADAL" clId="{DD382197-8138-48D1-AA19-038002D31B77}" dt="2021-05-10T18:34:07.145" v="508"/>
          <ac:spMkLst>
            <pc:docMk/>
            <pc:sldMk cId="2437152744" sldId="259"/>
            <ac:spMk id="217" creationId="{6622F74F-AF3B-452E-BCFD-B10CEE0F2BC6}"/>
          </ac:spMkLst>
        </pc:spChg>
        <pc:spChg chg="mod">
          <ac:chgData name="Allison Pass" userId="3bdd7fee-e623-47d0-9b6c-324afc1c37ca" providerId="ADAL" clId="{DD382197-8138-48D1-AA19-038002D31B77}" dt="2021-05-10T18:34:07.145" v="508"/>
          <ac:spMkLst>
            <pc:docMk/>
            <pc:sldMk cId="2437152744" sldId="259"/>
            <ac:spMk id="218" creationId="{A6B4ADD9-EA20-439A-98A0-1D90E84EE0DC}"/>
          </ac:spMkLst>
        </pc:spChg>
        <pc:spChg chg="add mod">
          <ac:chgData name="Allison Pass" userId="3bdd7fee-e623-47d0-9b6c-324afc1c37ca" providerId="ADAL" clId="{DD382197-8138-48D1-AA19-038002D31B77}" dt="2021-05-10T18:34:11.566" v="509" actId="1076"/>
          <ac:spMkLst>
            <pc:docMk/>
            <pc:sldMk cId="2437152744" sldId="259"/>
            <ac:spMk id="219" creationId="{A4FDDD72-8E04-4628-A0CD-F1D35B1ADBED}"/>
          </ac:spMkLst>
        </pc:spChg>
        <pc:spChg chg="mod">
          <ac:chgData name="Allison Pass" userId="3bdd7fee-e623-47d0-9b6c-324afc1c37ca" providerId="ADAL" clId="{DD382197-8138-48D1-AA19-038002D31B77}" dt="2021-05-10T18:34:07.145" v="508"/>
          <ac:spMkLst>
            <pc:docMk/>
            <pc:sldMk cId="2437152744" sldId="259"/>
            <ac:spMk id="221" creationId="{998A29DC-11A8-44E3-9292-9F3B73704531}"/>
          </ac:spMkLst>
        </pc:spChg>
        <pc:spChg chg="mod">
          <ac:chgData name="Allison Pass" userId="3bdd7fee-e623-47d0-9b6c-324afc1c37ca" providerId="ADAL" clId="{DD382197-8138-48D1-AA19-038002D31B77}" dt="2021-05-10T18:34:07.145" v="508"/>
          <ac:spMkLst>
            <pc:docMk/>
            <pc:sldMk cId="2437152744" sldId="259"/>
            <ac:spMk id="223" creationId="{D7409AE0-13AA-44ED-B141-94B794913AFA}"/>
          </ac:spMkLst>
        </pc:spChg>
        <pc:spChg chg="mod">
          <ac:chgData name="Allison Pass" userId="3bdd7fee-e623-47d0-9b6c-324afc1c37ca" providerId="ADAL" clId="{DD382197-8138-48D1-AA19-038002D31B77}" dt="2021-05-10T18:34:07.145" v="508"/>
          <ac:spMkLst>
            <pc:docMk/>
            <pc:sldMk cId="2437152744" sldId="259"/>
            <ac:spMk id="224" creationId="{B5D887DA-C8B0-4720-936E-AE7C8D5FC69D}"/>
          </ac:spMkLst>
        </pc:spChg>
        <pc:spChg chg="mod">
          <ac:chgData name="Allison Pass" userId="3bdd7fee-e623-47d0-9b6c-324afc1c37ca" providerId="ADAL" clId="{DD382197-8138-48D1-AA19-038002D31B77}" dt="2021-05-10T18:34:07.145" v="508"/>
          <ac:spMkLst>
            <pc:docMk/>
            <pc:sldMk cId="2437152744" sldId="259"/>
            <ac:spMk id="227" creationId="{9B3B32A0-27ED-4DF6-A5C1-4A92A0D9EFCF}"/>
          </ac:spMkLst>
        </pc:spChg>
        <pc:spChg chg="mod">
          <ac:chgData name="Allison Pass" userId="3bdd7fee-e623-47d0-9b6c-324afc1c37ca" providerId="ADAL" clId="{DD382197-8138-48D1-AA19-038002D31B77}" dt="2021-05-10T18:34:07.145" v="508"/>
          <ac:spMkLst>
            <pc:docMk/>
            <pc:sldMk cId="2437152744" sldId="259"/>
            <ac:spMk id="229" creationId="{0608468B-8834-4369-94D4-B42423AA790A}"/>
          </ac:spMkLst>
        </pc:spChg>
        <pc:spChg chg="mod">
          <ac:chgData name="Allison Pass" userId="3bdd7fee-e623-47d0-9b6c-324afc1c37ca" providerId="ADAL" clId="{DD382197-8138-48D1-AA19-038002D31B77}" dt="2021-05-10T18:34:07.145" v="508"/>
          <ac:spMkLst>
            <pc:docMk/>
            <pc:sldMk cId="2437152744" sldId="259"/>
            <ac:spMk id="230" creationId="{FC32CE09-94AE-4227-94A4-653A2C62340A}"/>
          </ac:spMkLst>
        </pc:spChg>
        <pc:spChg chg="mod">
          <ac:chgData name="Allison Pass" userId="3bdd7fee-e623-47d0-9b6c-324afc1c37ca" providerId="ADAL" clId="{DD382197-8138-48D1-AA19-038002D31B77}" dt="2021-05-10T18:34:07.145" v="508"/>
          <ac:spMkLst>
            <pc:docMk/>
            <pc:sldMk cId="2437152744" sldId="259"/>
            <ac:spMk id="231" creationId="{5EC43CD6-E53B-417C-8B87-739F254D6974}"/>
          </ac:spMkLst>
        </pc:spChg>
        <pc:spChg chg="mod">
          <ac:chgData name="Allison Pass" userId="3bdd7fee-e623-47d0-9b6c-324afc1c37ca" providerId="ADAL" clId="{DD382197-8138-48D1-AA19-038002D31B77}" dt="2021-05-10T18:34:07.145" v="508"/>
          <ac:spMkLst>
            <pc:docMk/>
            <pc:sldMk cId="2437152744" sldId="259"/>
            <ac:spMk id="232" creationId="{14A54F06-A75E-498C-86EF-BA7B30D8CE3C}"/>
          </ac:spMkLst>
        </pc:spChg>
        <pc:spChg chg="mod">
          <ac:chgData name="Allison Pass" userId="3bdd7fee-e623-47d0-9b6c-324afc1c37ca" providerId="ADAL" clId="{DD382197-8138-48D1-AA19-038002D31B77}" dt="2021-05-10T18:34:07.145" v="508"/>
          <ac:spMkLst>
            <pc:docMk/>
            <pc:sldMk cId="2437152744" sldId="259"/>
            <ac:spMk id="233" creationId="{A10BCA52-9FFD-4711-B6CA-A0765C56CCDC}"/>
          </ac:spMkLst>
        </pc:spChg>
        <pc:spChg chg="mod">
          <ac:chgData name="Allison Pass" userId="3bdd7fee-e623-47d0-9b6c-324afc1c37ca" providerId="ADAL" clId="{DD382197-8138-48D1-AA19-038002D31B77}" dt="2021-05-10T18:34:07.145" v="508"/>
          <ac:spMkLst>
            <pc:docMk/>
            <pc:sldMk cId="2437152744" sldId="259"/>
            <ac:spMk id="234" creationId="{377CCD89-D58A-4187-9BDB-6472B11A6DDD}"/>
          </ac:spMkLst>
        </pc:spChg>
        <pc:spChg chg="mod">
          <ac:chgData name="Allison Pass" userId="3bdd7fee-e623-47d0-9b6c-324afc1c37ca" providerId="ADAL" clId="{DD382197-8138-48D1-AA19-038002D31B77}" dt="2021-05-10T18:34:07.145" v="508"/>
          <ac:spMkLst>
            <pc:docMk/>
            <pc:sldMk cId="2437152744" sldId="259"/>
            <ac:spMk id="235" creationId="{5BBE4CF2-F05C-4F01-805E-FCC928D4E356}"/>
          </ac:spMkLst>
        </pc:spChg>
        <pc:spChg chg="mod">
          <ac:chgData name="Allison Pass" userId="3bdd7fee-e623-47d0-9b6c-324afc1c37ca" providerId="ADAL" clId="{DD382197-8138-48D1-AA19-038002D31B77}" dt="2021-05-10T18:34:07.145" v="508"/>
          <ac:spMkLst>
            <pc:docMk/>
            <pc:sldMk cId="2437152744" sldId="259"/>
            <ac:spMk id="236" creationId="{D1C8D1E8-6D9C-4DD9-93CF-6E81ECA91306}"/>
          </ac:spMkLst>
        </pc:spChg>
        <pc:spChg chg="mod">
          <ac:chgData name="Allison Pass" userId="3bdd7fee-e623-47d0-9b6c-324afc1c37ca" providerId="ADAL" clId="{DD382197-8138-48D1-AA19-038002D31B77}" dt="2021-05-10T18:34:07.145" v="508"/>
          <ac:spMkLst>
            <pc:docMk/>
            <pc:sldMk cId="2437152744" sldId="259"/>
            <ac:spMk id="237" creationId="{BE77DDA3-62C2-4575-9DD0-613994F7EA8D}"/>
          </ac:spMkLst>
        </pc:spChg>
        <pc:spChg chg="mod">
          <ac:chgData name="Allison Pass" userId="3bdd7fee-e623-47d0-9b6c-324afc1c37ca" providerId="ADAL" clId="{DD382197-8138-48D1-AA19-038002D31B77}" dt="2021-05-10T18:34:07.145" v="508"/>
          <ac:spMkLst>
            <pc:docMk/>
            <pc:sldMk cId="2437152744" sldId="259"/>
            <ac:spMk id="239" creationId="{D4756075-DFD2-41CD-9DEE-5B73CCF40CD1}"/>
          </ac:spMkLst>
        </pc:spChg>
        <pc:spChg chg="mod">
          <ac:chgData name="Allison Pass" userId="3bdd7fee-e623-47d0-9b6c-324afc1c37ca" providerId="ADAL" clId="{DD382197-8138-48D1-AA19-038002D31B77}" dt="2021-05-10T18:34:07.145" v="508"/>
          <ac:spMkLst>
            <pc:docMk/>
            <pc:sldMk cId="2437152744" sldId="259"/>
            <ac:spMk id="240" creationId="{27123926-39FC-4AFC-A777-5DADDC895312}"/>
          </ac:spMkLst>
        </pc:spChg>
        <pc:spChg chg="mod">
          <ac:chgData name="Allison Pass" userId="3bdd7fee-e623-47d0-9b6c-324afc1c37ca" providerId="ADAL" clId="{DD382197-8138-48D1-AA19-038002D31B77}" dt="2021-05-10T18:34:07.145" v="508"/>
          <ac:spMkLst>
            <pc:docMk/>
            <pc:sldMk cId="2437152744" sldId="259"/>
            <ac:spMk id="243" creationId="{ACE0037E-249D-4AB3-B3A0-785100F3652B}"/>
          </ac:spMkLst>
        </pc:spChg>
        <pc:spChg chg="mod">
          <ac:chgData name="Allison Pass" userId="3bdd7fee-e623-47d0-9b6c-324afc1c37ca" providerId="ADAL" clId="{DD382197-8138-48D1-AA19-038002D31B77}" dt="2021-05-10T18:34:07.145" v="508"/>
          <ac:spMkLst>
            <pc:docMk/>
            <pc:sldMk cId="2437152744" sldId="259"/>
            <ac:spMk id="245" creationId="{BDD9A0E5-F266-49A5-A8CE-2CB2FEC253BC}"/>
          </ac:spMkLst>
        </pc:spChg>
        <pc:spChg chg="mod">
          <ac:chgData name="Allison Pass" userId="3bdd7fee-e623-47d0-9b6c-324afc1c37ca" providerId="ADAL" clId="{DD382197-8138-48D1-AA19-038002D31B77}" dt="2021-05-10T18:34:07.145" v="508"/>
          <ac:spMkLst>
            <pc:docMk/>
            <pc:sldMk cId="2437152744" sldId="259"/>
            <ac:spMk id="246" creationId="{D7883323-36FC-4154-8429-6999B98CF486}"/>
          </ac:spMkLst>
        </pc:spChg>
        <pc:spChg chg="mod">
          <ac:chgData name="Allison Pass" userId="3bdd7fee-e623-47d0-9b6c-324afc1c37ca" providerId="ADAL" clId="{DD382197-8138-48D1-AA19-038002D31B77}" dt="2021-05-10T18:34:07.145" v="508"/>
          <ac:spMkLst>
            <pc:docMk/>
            <pc:sldMk cId="2437152744" sldId="259"/>
            <ac:spMk id="247" creationId="{628B1CAD-FFD3-44E2-848E-93E5DA754A64}"/>
          </ac:spMkLst>
        </pc:spChg>
        <pc:spChg chg="mod">
          <ac:chgData name="Allison Pass" userId="3bdd7fee-e623-47d0-9b6c-324afc1c37ca" providerId="ADAL" clId="{DD382197-8138-48D1-AA19-038002D31B77}" dt="2021-05-10T18:34:07.145" v="508"/>
          <ac:spMkLst>
            <pc:docMk/>
            <pc:sldMk cId="2437152744" sldId="259"/>
            <ac:spMk id="248" creationId="{65CBACC6-9E65-4A1E-B736-B98A4D858809}"/>
          </ac:spMkLst>
        </pc:spChg>
        <pc:spChg chg="mod">
          <ac:chgData name="Allison Pass" userId="3bdd7fee-e623-47d0-9b6c-324afc1c37ca" providerId="ADAL" clId="{DD382197-8138-48D1-AA19-038002D31B77}" dt="2021-05-10T18:34:07.145" v="508"/>
          <ac:spMkLst>
            <pc:docMk/>
            <pc:sldMk cId="2437152744" sldId="259"/>
            <ac:spMk id="249" creationId="{E008DB55-75ED-47B7-A8A0-9C13F7CF69FB}"/>
          </ac:spMkLst>
        </pc:spChg>
        <pc:spChg chg="mod">
          <ac:chgData name="Allison Pass" userId="3bdd7fee-e623-47d0-9b6c-324afc1c37ca" providerId="ADAL" clId="{DD382197-8138-48D1-AA19-038002D31B77}" dt="2021-05-10T18:34:07.145" v="508"/>
          <ac:spMkLst>
            <pc:docMk/>
            <pc:sldMk cId="2437152744" sldId="259"/>
            <ac:spMk id="250" creationId="{9FFBA9FE-D80D-4076-BDAF-449874CE5247}"/>
          </ac:spMkLst>
        </pc:spChg>
        <pc:spChg chg="mod">
          <ac:chgData name="Allison Pass" userId="3bdd7fee-e623-47d0-9b6c-324afc1c37ca" providerId="ADAL" clId="{DD382197-8138-48D1-AA19-038002D31B77}" dt="2021-05-10T18:34:07.145" v="508"/>
          <ac:spMkLst>
            <pc:docMk/>
            <pc:sldMk cId="2437152744" sldId="259"/>
            <ac:spMk id="251" creationId="{8538FD16-72F9-4E3F-8864-AD1603F32FFC}"/>
          </ac:spMkLst>
        </pc:spChg>
        <pc:spChg chg="mod">
          <ac:chgData name="Allison Pass" userId="3bdd7fee-e623-47d0-9b6c-324afc1c37ca" providerId="ADAL" clId="{DD382197-8138-48D1-AA19-038002D31B77}" dt="2021-05-10T18:34:07.145" v="508"/>
          <ac:spMkLst>
            <pc:docMk/>
            <pc:sldMk cId="2437152744" sldId="259"/>
            <ac:spMk id="253" creationId="{DE1BEAF4-5ED5-46A5-AB7E-BCB5BD6D4B63}"/>
          </ac:spMkLst>
        </pc:spChg>
        <pc:spChg chg="mod">
          <ac:chgData name="Allison Pass" userId="3bdd7fee-e623-47d0-9b6c-324afc1c37ca" providerId="ADAL" clId="{DD382197-8138-48D1-AA19-038002D31B77}" dt="2021-05-10T18:34:07.145" v="508"/>
          <ac:spMkLst>
            <pc:docMk/>
            <pc:sldMk cId="2437152744" sldId="259"/>
            <ac:spMk id="254" creationId="{DF6055FF-AE93-4E3B-8DAC-3305AB79E9DF}"/>
          </ac:spMkLst>
        </pc:spChg>
        <pc:spChg chg="mod">
          <ac:chgData name="Allison Pass" userId="3bdd7fee-e623-47d0-9b6c-324afc1c37ca" providerId="ADAL" clId="{DD382197-8138-48D1-AA19-038002D31B77}" dt="2021-05-10T18:34:07.145" v="508"/>
          <ac:spMkLst>
            <pc:docMk/>
            <pc:sldMk cId="2437152744" sldId="259"/>
            <ac:spMk id="257" creationId="{7E16CA5B-3AE4-4378-9B44-0FF8B19F5FFA}"/>
          </ac:spMkLst>
        </pc:spChg>
        <pc:spChg chg="mod">
          <ac:chgData name="Allison Pass" userId="3bdd7fee-e623-47d0-9b6c-324afc1c37ca" providerId="ADAL" clId="{DD382197-8138-48D1-AA19-038002D31B77}" dt="2021-05-10T18:34:07.145" v="508"/>
          <ac:spMkLst>
            <pc:docMk/>
            <pc:sldMk cId="2437152744" sldId="259"/>
            <ac:spMk id="259" creationId="{FBC024A2-E5AF-4D93-9043-F5D4F5008B6D}"/>
          </ac:spMkLst>
        </pc:spChg>
        <pc:spChg chg="mod">
          <ac:chgData name="Allison Pass" userId="3bdd7fee-e623-47d0-9b6c-324afc1c37ca" providerId="ADAL" clId="{DD382197-8138-48D1-AA19-038002D31B77}" dt="2021-05-10T18:34:07.145" v="508"/>
          <ac:spMkLst>
            <pc:docMk/>
            <pc:sldMk cId="2437152744" sldId="259"/>
            <ac:spMk id="261" creationId="{99BF29A8-AF9B-4840-B291-3DA9B25E9D6F}"/>
          </ac:spMkLst>
        </pc:spChg>
        <pc:spChg chg="mod">
          <ac:chgData name="Allison Pass" userId="3bdd7fee-e623-47d0-9b6c-324afc1c37ca" providerId="ADAL" clId="{DD382197-8138-48D1-AA19-038002D31B77}" dt="2021-05-10T18:34:07.145" v="508"/>
          <ac:spMkLst>
            <pc:docMk/>
            <pc:sldMk cId="2437152744" sldId="259"/>
            <ac:spMk id="263" creationId="{ED736305-168B-47CA-874C-45008A6FF532}"/>
          </ac:spMkLst>
        </pc:spChg>
        <pc:spChg chg="mod">
          <ac:chgData name="Allison Pass" userId="3bdd7fee-e623-47d0-9b6c-324afc1c37ca" providerId="ADAL" clId="{DD382197-8138-48D1-AA19-038002D31B77}" dt="2021-05-10T18:34:07.145" v="508"/>
          <ac:spMkLst>
            <pc:docMk/>
            <pc:sldMk cId="2437152744" sldId="259"/>
            <ac:spMk id="264" creationId="{041222D8-8490-4587-B472-2953E34C5195}"/>
          </ac:spMkLst>
        </pc:spChg>
        <pc:grpChg chg="add del mod">
          <ac:chgData name="Allison Pass" userId="3bdd7fee-e623-47d0-9b6c-324afc1c37ca" providerId="ADAL" clId="{DD382197-8138-48D1-AA19-038002D31B77}" dt="2021-05-10T18:29:12.470" v="487" actId="478"/>
          <ac:grpSpMkLst>
            <pc:docMk/>
            <pc:sldMk cId="2437152744" sldId="259"/>
            <ac:grpSpMk id="15" creationId="{CEEC0D58-6E45-4CAC-A5A1-AE7FDAD73338}"/>
          </ac:grpSpMkLst>
        </pc:grpChg>
        <pc:grpChg chg="mod">
          <ac:chgData name="Allison Pass" userId="3bdd7fee-e623-47d0-9b6c-324afc1c37ca" providerId="ADAL" clId="{DD382197-8138-48D1-AA19-038002D31B77}" dt="2021-05-10T18:29:09.676" v="486"/>
          <ac:grpSpMkLst>
            <pc:docMk/>
            <pc:sldMk cId="2437152744" sldId="259"/>
            <ac:grpSpMk id="17" creationId="{3054A857-4137-403A-B0C6-71BBEE512625}"/>
          </ac:grpSpMkLst>
        </pc:grpChg>
        <pc:grpChg chg="add del mod">
          <ac:chgData name="Allison Pass" userId="3bdd7fee-e623-47d0-9b6c-324afc1c37ca" providerId="ADAL" clId="{DD382197-8138-48D1-AA19-038002D31B77}" dt="2021-05-10T18:29:12.470" v="487" actId="478"/>
          <ac:grpSpMkLst>
            <pc:docMk/>
            <pc:sldMk cId="2437152744" sldId="259"/>
            <ac:grpSpMk id="20" creationId="{0FEA1A6C-34DE-4AF2-A9E4-D49251F1AE91}"/>
          </ac:grpSpMkLst>
        </pc:grpChg>
        <pc:grpChg chg="mod">
          <ac:chgData name="Allison Pass" userId="3bdd7fee-e623-47d0-9b6c-324afc1c37ca" providerId="ADAL" clId="{DD382197-8138-48D1-AA19-038002D31B77}" dt="2021-05-10T18:29:09.676" v="486"/>
          <ac:grpSpMkLst>
            <pc:docMk/>
            <pc:sldMk cId="2437152744" sldId="259"/>
            <ac:grpSpMk id="22" creationId="{588D092B-3DD5-45B5-97F6-C82B6C37D424}"/>
          </ac:grpSpMkLst>
        </pc:grpChg>
        <pc:grpChg chg="add del mod">
          <ac:chgData name="Allison Pass" userId="3bdd7fee-e623-47d0-9b6c-324afc1c37ca" providerId="ADAL" clId="{DD382197-8138-48D1-AA19-038002D31B77}" dt="2021-05-10T18:29:12.470" v="487" actId="478"/>
          <ac:grpSpMkLst>
            <pc:docMk/>
            <pc:sldMk cId="2437152744" sldId="259"/>
            <ac:grpSpMk id="26" creationId="{A1C2520E-4B8D-4601-93EC-F01AE6389362}"/>
          </ac:grpSpMkLst>
        </pc:grpChg>
        <pc:grpChg chg="mod">
          <ac:chgData name="Allison Pass" userId="3bdd7fee-e623-47d0-9b6c-324afc1c37ca" providerId="ADAL" clId="{DD382197-8138-48D1-AA19-038002D31B77}" dt="2021-05-10T18:29:09.676" v="486"/>
          <ac:grpSpMkLst>
            <pc:docMk/>
            <pc:sldMk cId="2437152744" sldId="259"/>
            <ac:grpSpMk id="28" creationId="{E735D559-0D57-42A3-BD8C-89BD6EB851F2}"/>
          </ac:grpSpMkLst>
        </pc:grpChg>
        <pc:grpChg chg="add del mod">
          <ac:chgData name="Allison Pass" userId="3bdd7fee-e623-47d0-9b6c-324afc1c37ca" providerId="ADAL" clId="{DD382197-8138-48D1-AA19-038002D31B77}" dt="2021-05-10T18:29:12.470" v="487" actId="478"/>
          <ac:grpSpMkLst>
            <pc:docMk/>
            <pc:sldMk cId="2437152744" sldId="259"/>
            <ac:grpSpMk id="31" creationId="{5D5D36EC-3F53-4B40-A7E6-85E8465B60E8}"/>
          </ac:grpSpMkLst>
        </pc:grpChg>
        <pc:grpChg chg="mod">
          <ac:chgData name="Allison Pass" userId="3bdd7fee-e623-47d0-9b6c-324afc1c37ca" providerId="ADAL" clId="{DD382197-8138-48D1-AA19-038002D31B77}" dt="2021-05-10T18:29:09.676" v="486"/>
          <ac:grpSpMkLst>
            <pc:docMk/>
            <pc:sldMk cId="2437152744" sldId="259"/>
            <ac:grpSpMk id="32" creationId="{A653D9FB-0C60-41BA-96EB-6099BAB25C21}"/>
          </ac:grpSpMkLst>
        </pc:grpChg>
        <pc:grpChg chg="mod">
          <ac:chgData name="Allison Pass" userId="3bdd7fee-e623-47d0-9b6c-324afc1c37ca" providerId="ADAL" clId="{DD382197-8138-48D1-AA19-038002D31B77}" dt="2021-05-10T18:29:09.676" v="486"/>
          <ac:grpSpMkLst>
            <pc:docMk/>
            <pc:sldMk cId="2437152744" sldId="259"/>
            <ac:grpSpMk id="34" creationId="{A0749BE7-A67B-4217-9531-B8B3E66A05AF}"/>
          </ac:grpSpMkLst>
        </pc:grpChg>
        <pc:grpChg chg="mod">
          <ac:chgData name="Allison Pass" userId="3bdd7fee-e623-47d0-9b6c-324afc1c37ca" providerId="ADAL" clId="{DD382197-8138-48D1-AA19-038002D31B77}" dt="2021-05-10T18:29:09.676" v="486"/>
          <ac:grpSpMkLst>
            <pc:docMk/>
            <pc:sldMk cId="2437152744" sldId="259"/>
            <ac:grpSpMk id="44" creationId="{F21BEB78-7E1C-494F-BBD6-A524E8101991}"/>
          </ac:grpSpMkLst>
        </pc:grpChg>
        <pc:grpChg chg="add del mod">
          <ac:chgData name="Allison Pass" userId="3bdd7fee-e623-47d0-9b6c-324afc1c37ca" providerId="ADAL" clId="{DD382197-8138-48D1-AA19-038002D31B77}" dt="2021-05-10T18:29:12.470" v="487" actId="478"/>
          <ac:grpSpMkLst>
            <pc:docMk/>
            <pc:sldMk cId="2437152744" sldId="259"/>
            <ac:grpSpMk id="47" creationId="{00BB7D55-FBEC-4DAD-8029-487E4C1790A3}"/>
          </ac:grpSpMkLst>
        </pc:grpChg>
        <pc:grpChg chg="mod">
          <ac:chgData name="Allison Pass" userId="3bdd7fee-e623-47d0-9b6c-324afc1c37ca" providerId="ADAL" clId="{DD382197-8138-48D1-AA19-038002D31B77}" dt="2021-05-10T18:29:09.676" v="486"/>
          <ac:grpSpMkLst>
            <pc:docMk/>
            <pc:sldMk cId="2437152744" sldId="259"/>
            <ac:grpSpMk id="48" creationId="{D017614C-2664-4534-94FA-F826405BD12F}"/>
          </ac:grpSpMkLst>
        </pc:grpChg>
        <pc:grpChg chg="mod">
          <ac:chgData name="Allison Pass" userId="3bdd7fee-e623-47d0-9b6c-324afc1c37ca" providerId="ADAL" clId="{DD382197-8138-48D1-AA19-038002D31B77}" dt="2021-05-10T18:29:09.676" v="486"/>
          <ac:grpSpMkLst>
            <pc:docMk/>
            <pc:sldMk cId="2437152744" sldId="259"/>
            <ac:grpSpMk id="50" creationId="{F7EAEC7A-E606-4A86-8404-C0689FBDFDE4}"/>
          </ac:grpSpMkLst>
        </pc:grpChg>
        <pc:grpChg chg="mod">
          <ac:chgData name="Allison Pass" userId="3bdd7fee-e623-47d0-9b6c-324afc1c37ca" providerId="ADAL" clId="{DD382197-8138-48D1-AA19-038002D31B77}" dt="2021-05-10T18:29:09.676" v="486"/>
          <ac:grpSpMkLst>
            <pc:docMk/>
            <pc:sldMk cId="2437152744" sldId="259"/>
            <ac:grpSpMk id="58" creationId="{38665FD7-0DE5-4F23-A305-4DE21CD7A596}"/>
          </ac:grpSpMkLst>
        </pc:grpChg>
        <pc:grpChg chg="add del mod">
          <ac:chgData name="Allison Pass" userId="3bdd7fee-e623-47d0-9b6c-324afc1c37ca" providerId="ADAL" clId="{DD382197-8138-48D1-AA19-038002D31B77}" dt="2021-05-10T18:29:12.470" v="487" actId="478"/>
          <ac:grpSpMkLst>
            <pc:docMk/>
            <pc:sldMk cId="2437152744" sldId="259"/>
            <ac:grpSpMk id="61" creationId="{921EFA14-CFEE-4209-8A3A-1776679CBB57}"/>
          </ac:grpSpMkLst>
        </pc:grpChg>
        <pc:grpChg chg="mod">
          <ac:chgData name="Allison Pass" userId="3bdd7fee-e623-47d0-9b6c-324afc1c37ca" providerId="ADAL" clId="{DD382197-8138-48D1-AA19-038002D31B77}" dt="2021-05-10T18:29:09.676" v="486"/>
          <ac:grpSpMkLst>
            <pc:docMk/>
            <pc:sldMk cId="2437152744" sldId="259"/>
            <ac:grpSpMk id="62" creationId="{E27FC48E-8A87-493E-B21C-DF5FC6A7DA65}"/>
          </ac:grpSpMkLst>
        </pc:grpChg>
        <pc:grpChg chg="mod">
          <ac:chgData name="Allison Pass" userId="3bdd7fee-e623-47d0-9b6c-324afc1c37ca" providerId="ADAL" clId="{DD382197-8138-48D1-AA19-038002D31B77}" dt="2021-05-10T18:29:09.676" v="486"/>
          <ac:grpSpMkLst>
            <pc:docMk/>
            <pc:sldMk cId="2437152744" sldId="259"/>
            <ac:grpSpMk id="64" creationId="{BA410E4F-F9D0-4BE9-8C6F-69B467061967}"/>
          </ac:grpSpMkLst>
        </pc:grpChg>
        <pc:grpChg chg="mod">
          <ac:chgData name="Allison Pass" userId="3bdd7fee-e623-47d0-9b6c-324afc1c37ca" providerId="ADAL" clId="{DD382197-8138-48D1-AA19-038002D31B77}" dt="2021-05-10T18:29:09.676" v="486"/>
          <ac:grpSpMkLst>
            <pc:docMk/>
            <pc:sldMk cId="2437152744" sldId="259"/>
            <ac:grpSpMk id="68" creationId="{814C4EBD-2D90-466B-8397-EF83373FE36C}"/>
          </ac:grpSpMkLst>
        </pc:grpChg>
        <pc:grpChg chg="add del mod">
          <ac:chgData name="Allison Pass" userId="3bdd7fee-e623-47d0-9b6c-324afc1c37ca" providerId="ADAL" clId="{DD382197-8138-48D1-AA19-038002D31B77}" dt="2021-05-10T18:33:49.771" v="505" actId="478"/>
          <ac:grpSpMkLst>
            <pc:docMk/>
            <pc:sldMk cId="2437152744" sldId="259"/>
            <ac:grpSpMk id="80" creationId="{956712A0-2E6F-48DD-8B29-F6FFB0DF20F9}"/>
          </ac:grpSpMkLst>
        </pc:grpChg>
        <pc:grpChg chg="mod">
          <ac:chgData name="Allison Pass" userId="3bdd7fee-e623-47d0-9b6c-324afc1c37ca" providerId="ADAL" clId="{DD382197-8138-48D1-AA19-038002D31B77}" dt="2021-05-10T18:29:19.576" v="490"/>
          <ac:grpSpMkLst>
            <pc:docMk/>
            <pc:sldMk cId="2437152744" sldId="259"/>
            <ac:grpSpMk id="82" creationId="{B1A2407E-F68C-4AE6-93CA-B9E3D974DF86}"/>
          </ac:grpSpMkLst>
        </pc:grpChg>
        <pc:grpChg chg="add del mod">
          <ac:chgData name="Allison Pass" userId="3bdd7fee-e623-47d0-9b6c-324afc1c37ca" providerId="ADAL" clId="{DD382197-8138-48D1-AA19-038002D31B77}" dt="2021-05-10T18:33:43.711" v="503" actId="478"/>
          <ac:grpSpMkLst>
            <pc:docMk/>
            <pc:sldMk cId="2437152744" sldId="259"/>
            <ac:grpSpMk id="85" creationId="{0CD51C60-983A-4F7E-B899-693ACB4767EE}"/>
          </ac:grpSpMkLst>
        </pc:grpChg>
        <pc:grpChg chg="mod">
          <ac:chgData name="Allison Pass" userId="3bdd7fee-e623-47d0-9b6c-324afc1c37ca" providerId="ADAL" clId="{DD382197-8138-48D1-AA19-038002D31B77}" dt="2021-05-10T18:29:19.576" v="490"/>
          <ac:grpSpMkLst>
            <pc:docMk/>
            <pc:sldMk cId="2437152744" sldId="259"/>
            <ac:grpSpMk id="87" creationId="{31447FC5-13AD-4A8A-B366-9EF6C16BCB44}"/>
          </ac:grpSpMkLst>
        </pc:grpChg>
        <pc:grpChg chg="add del mod">
          <ac:chgData name="Allison Pass" userId="3bdd7fee-e623-47d0-9b6c-324afc1c37ca" providerId="ADAL" clId="{DD382197-8138-48D1-AA19-038002D31B77}" dt="2021-05-10T18:33:47.946" v="504" actId="478"/>
          <ac:grpSpMkLst>
            <pc:docMk/>
            <pc:sldMk cId="2437152744" sldId="259"/>
            <ac:grpSpMk id="91" creationId="{8C31CF18-E145-4327-A2C8-81DFE44DA85E}"/>
          </ac:grpSpMkLst>
        </pc:grpChg>
        <pc:grpChg chg="mod">
          <ac:chgData name="Allison Pass" userId="3bdd7fee-e623-47d0-9b6c-324afc1c37ca" providerId="ADAL" clId="{DD382197-8138-48D1-AA19-038002D31B77}" dt="2021-05-10T18:29:19.576" v="490"/>
          <ac:grpSpMkLst>
            <pc:docMk/>
            <pc:sldMk cId="2437152744" sldId="259"/>
            <ac:grpSpMk id="93" creationId="{EE09320D-C92C-42F4-9214-50BE26005FD6}"/>
          </ac:grpSpMkLst>
        </pc:grpChg>
        <pc:grpChg chg="add del mod">
          <ac:chgData name="Allison Pass" userId="3bdd7fee-e623-47d0-9b6c-324afc1c37ca" providerId="ADAL" clId="{DD382197-8138-48D1-AA19-038002D31B77}" dt="2021-05-10T18:33:43.711" v="503" actId="478"/>
          <ac:grpSpMkLst>
            <pc:docMk/>
            <pc:sldMk cId="2437152744" sldId="259"/>
            <ac:grpSpMk id="96" creationId="{B0A5A1E1-4BA8-4048-BCA4-470D87E36559}"/>
          </ac:grpSpMkLst>
        </pc:grpChg>
        <pc:grpChg chg="mod">
          <ac:chgData name="Allison Pass" userId="3bdd7fee-e623-47d0-9b6c-324afc1c37ca" providerId="ADAL" clId="{DD382197-8138-48D1-AA19-038002D31B77}" dt="2021-05-10T18:29:19.576" v="490"/>
          <ac:grpSpMkLst>
            <pc:docMk/>
            <pc:sldMk cId="2437152744" sldId="259"/>
            <ac:grpSpMk id="97" creationId="{5557A3C8-029B-45CC-9814-F858293A1B3B}"/>
          </ac:grpSpMkLst>
        </pc:grpChg>
        <pc:grpChg chg="mod">
          <ac:chgData name="Allison Pass" userId="3bdd7fee-e623-47d0-9b6c-324afc1c37ca" providerId="ADAL" clId="{DD382197-8138-48D1-AA19-038002D31B77}" dt="2021-05-10T18:29:19.576" v="490"/>
          <ac:grpSpMkLst>
            <pc:docMk/>
            <pc:sldMk cId="2437152744" sldId="259"/>
            <ac:grpSpMk id="99" creationId="{D9B89F13-92D1-4FD8-BF4A-4CBB18903C89}"/>
          </ac:grpSpMkLst>
        </pc:grpChg>
        <pc:grpChg chg="mod">
          <ac:chgData name="Allison Pass" userId="3bdd7fee-e623-47d0-9b6c-324afc1c37ca" providerId="ADAL" clId="{DD382197-8138-48D1-AA19-038002D31B77}" dt="2021-05-10T18:29:19.576" v="490"/>
          <ac:grpSpMkLst>
            <pc:docMk/>
            <pc:sldMk cId="2437152744" sldId="259"/>
            <ac:grpSpMk id="109" creationId="{F027FE4B-1BD0-4C2E-B32F-D7B76422E44D}"/>
          </ac:grpSpMkLst>
        </pc:grpChg>
        <pc:grpChg chg="add del mod">
          <ac:chgData name="Allison Pass" userId="3bdd7fee-e623-47d0-9b6c-324afc1c37ca" providerId="ADAL" clId="{DD382197-8138-48D1-AA19-038002D31B77}" dt="2021-05-10T18:33:43.711" v="503" actId="478"/>
          <ac:grpSpMkLst>
            <pc:docMk/>
            <pc:sldMk cId="2437152744" sldId="259"/>
            <ac:grpSpMk id="112" creationId="{DB21D96A-F82B-456C-8640-41EC539BEE24}"/>
          </ac:grpSpMkLst>
        </pc:grpChg>
        <pc:grpChg chg="mod">
          <ac:chgData name="Allison Pass" userId="3bdd7fee-e623-47d0-9b6c-324afc1c37ca" providerId="ADAL" clId="{DD382197-8138-48D1-AA19-038002D31B77}" dt="2021-05-10T18:29:19.576" v="490"/>
          <ac:grpSpMkLst>
            <pc:docMk/>
            <pc:sldMk cId="2437152744" sldId="259"/>
            <ac:grpSpMk id="113" creationId="{95054510-0E3E-48D0-AD30-60A5BDEC423A}"/>
          </ac:grpSpMkLst>
        </pc:grpChg>
        <pc:grpChg chg="mod">
          <ac:chgData name="Allison Pass" userId="3bdd7fee-e623-47d0-9b6c-324afc1c37ca" providerId="ADAL" clId="{DD382197-8138-48D1-AA19-038002D31B77}" dt="2021-05-10T18:29:19.576" v="490"/>
          <ac:grpSpMkLst>
            <pc:docMk/>
            <pc:sldMk cId="2437152744" sldId="259"/>
            <ac:grpSpMk id="115" creationId="{4C8B6CCA-78A3-4261-8E29-8E7E8FF80C3F}"/>
          </ac:grpSpMkLst>
        </pc:grpChg>
        <pc:grpChg chg="mod">
          <ac:chgData name="Allison Pass" userId="3bdd7fee-e623-47d0-9b6c-324afc1c37ca" providerId="ADAL" clId="{DD382197-8138-48D1-AA19-038002D31B77}" dt="2021-05-10T18:29:19.576" v="490"/>
          <ac:grpSpMkLst>
            <pc:docMk/>
            <pc:sldMk cId="2437152744" sldId="259"/>
            <ac:grpSpMk id="123" creationId="{7F549755-1D79-491D-B92A-58FB69B4E9D9}"/>
          </ac:grpSpMkLst>
        </pc:grpChg>
        <pc:grpChg chg="add del mod">
          <ac:chgData name="Allison Pass" userId="3bdd7fee-e623-47d0-9b6c-324afc1c37ca" providerId="ADAL" clId="{DD382197-8138-48D1-AA19-038002D31B77}" dt="2021-05-10T18:33:43.711" v="503" actId="478"/>
          <ac:grpSpMkLst>
            <pc:docMk/>
            <pc:sldMk cId="2437152744" sldId="259"/>
            <ac:grpSpMk id="126" creationId="{08CF6DFA-BE94-46C4-8466-CB8FCB8F1157}"/>
          </ac:grpSpMkLst>
        </pc:grpChg>
        <pc:grpChg chg="mod">
          <ac:chgData name="Allison Pass" userId="3bdd7fee-e623-47d0-9b6c-324afc1c37ca" providerId="ADAL" clId="{DD382197-8138-48D1-AA19-038002D31B77}" dt="2021-05-10T18:29:19.576" v="490"/>
          <ac:grpSpMkLst>
            <pc:docMk/>
            <pc:sldMk cId="2437152744" sldId="259"/>
            <ac:grpSpMk id="127" creationId="{844879B2-633D-479F-840B-0157145E3FFD}"/>
          </ac:grpSpMkLst>
        </pc:grpChg>
        <pc:grpChg chg="mod">
          <ac:chgData name="Allison Pass" userId="3bdd7fee-e623-47d0-9b6c-324afc1c37ca" providerId="ADAL" clId="{DD382197-8138-48D1-AA19-038002D31B77}" dt="2021-05-10T18:29:19.576" v="490"/>
          <ac:grpSpMkLst>
            <pc:docMk/>
            <pc:sldMk cId="2437152744" sldId="259"/>
            <ac:grpSpMk id="129" creationId="{4DB3B48C-507E-4C2E-AABE-4974DF3F405E}"/>
          </ac:grpSpMkLst>
        </pc:grpChg>
        <pc:grpChg chg="mod">
          <ac:chgData name="Allison Pass" userId="3bdd7fee-e623-47d0-9b6c-324afc1c37ca" providerId="ADAL" clId="{DD382197-8138-48D1-AA19-038002D31B77}" dt="2021-05-10T18:29:19.576" v="490"/>
          <ac:grpSpMkLst>
            <pc:docMk/>
            <pc:sldMk cId="2437152744" sldId="259"/>
            <ac:grpSpMk id="133" creationId="{B84E790F-3B20-4C24-AB5A-6E7274049B32}"/>
          </ac:grpSpMkLst>
        </pc:grpChg>
        <pc:grpChg chg="add del mod">
          <ac:chgData name="Allison Pass" userId="3bdd7fee-e623-47d0-9b6c-324afc1c37ca" providerId="ADAL" clId="{DD382197-8138-48D1-AA19-038002D31B77}" dt="2021-05-10T18:34:04.664" v="507"/>
          <ac:grpSpMkLst>
            <pc:docMk/>
            <pc:sldMk cId="2437152744" sldId="259"/>
            <ac:grpSpMk id="145" creationId="{A03FA789-ADBD-44BD-B297-1ADE10B37027}"/>
          </ac:grpSpMkLst>
        </pc:grpChg>
        <pc:grpChg chg="mod">
          <ac:chgData name="Allison Pass" userId="3bdd7fee-e623-47d0-9b6c-324afc1c37ca" providerId="ADAL" clId="{DD382197-8138-48D1-AA19-038002D31B77}" dt="2021-05-10T18:34:00.349" v="506"/>
          <ac:grpSpMkLst>
            <pc:docMk/>
            <pc:sldMk cId="2437152744" sldId="259"/>
            <ac:grpSpMk id="147" creationId="{8FE51868-A1E1-492D-AB0C-B55328A69B47}"/>
          </ac:grpSpMkLst>
        </pc:grpChg>
        <pc:grpChg chg="add del mod">
          <ac:chgData name="Allison Pass" userId="3bdd7fee-e623-47d0-9b6c-324afc1c37ca" providerId="ADAL" clId="{DD382197-8138-48D1-AA19-038002D31B77}" dt="2021-05-10T18:34:04.664" v="507"/>
          <ac:grpSpMkLst>
            <pc:docMk/>
            <pc:sldMk cId="2437152744" sldId="259"/>
            <ac:grpSpMk id="150" creationId="{BF823CC0-C784-454B-946F-3CE41A37873D}"/>
          </ac:grpSpMkLst>
        </pc:grpChg>
        <pc:grpChg chg="mod">
          <ac:chgData name="Allison Pass" userId="3bdd7fee-e623-47d0-9b6c-324afc1c37ca" providerId="ADAL" clId="{DD382197-8138-48D1-AA19-038002D31B77}" dt="2021-05-10T18:34:00.349" v="506"/>
          <ac:grpSpMkLst>
            <pc:docMk/>
            <pc:sldMk cId="2437152744" sldId="259"/>
            <ac:grpSpMk id="152" creationId="{3B2E0CCA-00A7-46A2-A729-71BD1B4C4FA8}"/>
          </ac:grpSpMkLst>
        </pc:grpChg>
        <pc:grpChg chg="add del mod">
          <ac:chgData name="Allison Pass" userId="3bdd7fee-e623-47d0-9b6c-324afc1c37ca" providerId="ADAL" clId="{DD382197-8138-48D1-AA19-038002D31B77}" dt="2021-05-10T18:34:04.664" v="507"/>
          <ac:grpSpMkLst>
            <pc:docMk/>
            <pc:sldMk cId="2437152744" sldId="259"/>
            <ac:grpSpMk id="156" creationId="{8C681464-D271-4DB1-B016-F5EA74BD2135}"/>
          </ac:grpSpMkLst>
        </pc:grpChg>
        <pc:grpChg chg="mod">
          <ac:chgData name="Allison Pass" userId="3bdd7fee-e623-47d0-9b6c-324afc1c37ca" providerId="ADAL" clId="{DD382197-8138-48D1-AA19-038002D31B77}" dt="2021-05-10T18:34:00.349" v="506"/>
          <ac:grpSpMkLst>
            <pc:docMk/>
            <pc:sldMk cId="2437152744" sldId="259"/>
            <ac:grpSpMk id="158" creationId="{1C2CE8C8-C6CC-4BB1-A6F7-78A022E4C94C}"/>
          </ac:grpSpMkLst>
        </pc:grpChg>
        <pc:grpChg chg="add del mod">
          <ac:chgData name="Allison Pass" userId="3bdd7fee-e623-47d0-9b6c-324afc1c37ca" providerId="ADAL" clId="{DD382197-8138-48D1-AA19-038002D31B77}" dt="2021-05-10T18:34:04.664" v="507"/>
          <ac:grpSpMkLst>
            <pc:docMk/>
            <pc:sldMk cId="2437152744" sldId="259"/>
            <ac:grpSpMk id="161" creationId="{549A8B49-2582-4D54-BAFE-EDC8AC3D57DA}"/>
          </ac:grpSpMkLst>
        </pc:grpChg>
        <pc:grpChg chg="mod">
          <ac:chgData name="Allison Pass" userId="3bdd7fee-e623-47d0-9b6c-324afc1c37ca" providerId="ADAL" clId="{DD382197-8138-48D1-AA19-038002D31B77}" dt="2021-05-10T18:34:00.349" v="506"/>
          <ac:grpSpMkLst>
            <pc:docMk/>
            <pc:sldMk cId="2437152744" sldId="259"/>
            <ac:grpSpMk id="162" creationId="{083D3274-0235-4C51-8438-717F112E26E7}"/>
          </ac:grpSpMkLst>
        </pc:grpChg>
        <pc:grpChg chg="mod">
          <ac:chgData name="Allison Pass" userId="3bdd7fee-e623-47d0-9b6c-324afc1c37ca" providerId="ADAL" clId="{DD382197-8138-48D1-AA19-038002D31B77}" dt="2021-05-10T18:34:00.349" v="506"/>
          <ac:grpSpMkLst>
            <pc:docMk/>
            <pc:sldMk cId="2437152744" sldId="259"/>
            <ac:grpSpMk id="164" creationId="{CD03823F-D592-400B-9E1D-119A380C2C8A}"/>
          </ac:grpSpMkLst>
        </pc:grpChg>
        <pc:grpChg chg="mod">
          <ac:chgData name="Allison Pass" userId="3bdd7fee-e623-47d0-9b6c-324afc1c37ca" providerId="ADAL" clId="{DD382197-8138-48D1-AA19-038002D31B77}" dt="2021-05-10T18:34:00.349" v="506"/>
          <ac:grpSpMkLst>
            <pc:docMk/>
            <pc:sldMk cId="2437152744" sldId="259"/>
            <ac:grpSpMk id="174" creationId="{10E866CE-AEDD-4D6C-ACE5-DDC344589F2D}"/>
          </ac:grpSpMkLst>
        </pc:grpChg>
        <pc:grpChg chg="add del mod">
          <ac:chgData name="Allison Pass" userId="3bdd7fee-e623-47d0-9b6c-324afc1c37ca" providerId="ADAL" clId="{DD382197-8138-48D1-AA19-038002D31B77}" dt="2021-05-10T18:34:04.664" v="507"/>
          <ac:grpSpMkLst>
            <pc:docMk/>
            <pc:sldMk cId="2437152744" sldId="259"/>
            <ac:grpSpMk id="177" creationId="{38164C10-1157-45E8-B1C7-DBBF94CC3C6A}"/>
          </ac:grpSpMkLst>
        </pc:grpChg>
        <pc:grpChg chg="mod">
          <ac:chgData name="Allison Pass" userId="3bdd7fee-e623-47d0-9b6c-324afc1c37ca" providerId="ADAL" clId="{DD382197-8138-48D1-AA19-038002D31B77}" dt="2021-05-10T18:34:00.349" v="506"/>
          <ac:grpSpMkLst>
            <pc:docMk/>
            <pc:sldMk cId="2437152744" sldId="259"/>
            <ac:grpSpMk id="178" creationId="{AE0B4DF7-C4BF-43EE-A692-81DEC6D21EB6}"/>
          </ac:grpSpMkLst>
        </pc:grpChg>
        <pc:grpChg chg="mod">
          <ac:chgData name="Allison Pass" userId="3bdd7fee-e623-47d0-9b6c-324afc1c37ca" providerId="ADAL" clId="{DD382197-8138-48D1-AA19-038002D31B77}" dt="2021-05-10T18:34:00.349" v="506"/>
          <ac:grpSpMkLst>
            <pc:docMk/>
            <pc:sldMk cId="2437152744" sldId="259"/>
            <ac:grpSpMk id="180" creationId="{72233C08-FFC2-4829-8D49-E0CCF76731F5}"/>
          </ac:grpSpMkLst>
        </pc:grpChg>
        <pc:grpChg chg="mod">
          <ac:chgData name="Allison Pass" userId="3bdd7fee-e623-47d0-9b6c-324afc1c37ca" providerId="ADAL" clId="{DD382197-8138-48D1-AA19-038002D31B77}" dt="2021-05-10T18:34:00.349" v="506"/>
          <ac:grpSpMkLst>
            <pc:docMk/>
            <pc:sldMk cId="2437152744" sldId="259"/>
            <ac:grpSpMk id="188" creationId="{28A0FBD9-248C-46F5-B86F-054FE55350D3}"/>
          </ac:grpSpMkLst>
        </pc:grpChg>
        <pc:grpChg chg="add del mod">
          <ac:chgData name="Allison Pass" userId="3bdd7fee-e623-47d0-9b6c-324afc1c37ca" providerId="ADAL" clId="{DD382197-8138-48D1-AA19-038002D31B77}" dt="2021-05-10T18:34:04.664" v="507"/>
          <ac:grpSpMkLst>
            <pc:docMk/>
            <pc:sldMk cId="2437152744" sldId="259"/>
            <ac:grpSpMk id="191" creationId="{7E6201B2-2B27-47C1-AA41-EA084B677371}"/>
          </ac:grpSpMkLst>
        </pc:grpChg>
        <pc:grpChg chg="mod">
          <ac:chgData name="Allison Pass" userId="3bdd7fee-e623-47d0-9b6c-324afc1c37ca" providerId="ADAL" clId="{DD382197-8138-48D1-AA19-038002D31B77}" dt="2021-05-10T18:34:00.349" v="506"/>
          <ac:grpSpMkLst>
            <pc:docMk/>
            <pc:sldMk cId="2437152744" sldId="259"/>
            <ac:grpSpMk id="192" creationId="{A51CF74A-4933-4649-8C85-450EE0FAEEEC}"/>
          </ac:grpSpMkLst>
        </pc:grpChg>
        <pc:grpChg chg="mod">
          <ac:chgData name="Allison Pass" userId="3bdd7fee-e623-47d0-9b6c-324afc1c37ca" providerId="ADAL" clId="{DD382197-8138-48D1-AA19-038002D31B77}" dt="2021-05-10T18:34:00.349" v="506"/>
          <ac:grpSpMkLst>
            <pc:docMk/>
            <pc:sldMk cId="2437152744" sldId="259"/>
            <ac:grpSpMk id="194" creationId="{122BA011-2DB5-49DC-B3B0-6CA05B6CD17B}"/>
          </ac:grpSpMkLst>
        </pc:grpChg>
        <pc:grpChg chg="mod">
          <ac:chgData name="Allison Pass" userId="3bdd7fee-e623-47d0-9b6c-324afc1c37ca" providerId="ADAL" clId="{DD382197-8138-48D1-AA19-038002D31B77}" dt="2021-05-10T18:34:00.349" v="506"/>
          <ac:grpSpMkLst>
            <pc:docMk/>
            <pc:sldMk cId="2437152744" sldId="259"/>
            <ac:grpSpMk id="198" creationId="{462B3219-42EC-43AF-9024-11917D82A12C}"/>
          </ac:grpSpMkLst>
        </pc:grpChg>
        <pc:grpChg chg="add mod">
          <ac:chgData name="Allison Pass" userId="3bdd7fee-e623-47d0-9b6c-324afc1c37ca" providerId="ADAL" clId="{DD382197-8138-48D1-AA19-038002D31B77}" dt="2021-05-10T18:34:11.566" v="509" actId="1076"/>
          <ac:grpSpMkLst>
            <pc:docMk/>
            <pc:sldMk cId="2437152744" sldId="259"/>
            <ac:grpSpMk id="209" creationId="{1C8714F9-C46A-4FD1-B66B-DE8E6743664C}"/>
          </ac:grpSpMkLst>
        </pc:grpChg>
        <pc:grpChg chg="mod">
          <ac:chgData name="Allison Pass" userId="3bdd7fee-e623-47d0-9b6c-324afc1c37ca" providerId="ADAL" clId="{DD382197-8138-48D1-AA19-038002D31B77}" dt="2021-05-10T18:34:07.145" v="508"/>
          <ac:grpSpMkLst>
            <pc:docMk/>
            <pc:sldMk cId="2437152744" sldId="259"/>
            <ac:grpSpMk id="211" creationId="{9836F710-9C7D-46BC-AA5B-FFE1415DC328}"/>
          </ac:grpSpMkLst>
        </pc:grpChg>
        <pc:grpChg chg="add mod">
          <ac:chgData name="Allison Pass" userId="3bdd7fee-e623-47d0-9b6c-324afc1c37ca" providerId="ADAL" clId="{DD382197-8138-48D1-AA19-038002D31B77}" dt="2021-05-10T18:34:11.566" v="509" actId="1076"/>
          <ac:grpSpMkLst>
            <pc:docMk/>
            <pc:sldMk cId="2437152744" sldId="259"/>
            <ac:grpSpMk id="214" creationId="{BDE9A32D-400A-44EF-9919-DF51621D6E2C}"/>
          </ac:grpSpMkLst>
        </pc:grpChg>
        <pc:grpChg chg="mod">
          <ac:chgData name="Allison Pass" userId="3bdd7fee-e623-47d0-9b6c-324afc1c37ca" providerId="ADAL" clId="{DD382197-8138-48D1-AA19-038002D31B77}" dt="2021-05-10T18:34:07.145" v="508"/>
          <ac:grpSpMkLst>
            <pc:docMk/>
            <pc:sldMk cId="2437152744" sldId="259"/>
            <ac:grpSpMk id="216" creationId="{56A32FD3-3218-4AAC-8211-3B7E58A06C0F}"/>
          </ac:grpSpMkLst>
        </pc:grpChg>
        <pc:grpChg chg="add mod">
          <ac:chgData name="Allison Pass" userId="3bdd7fee-e623-47d0-9b6c-324afc1c37ca" providerId="ADAL" clId="{DD382197-8138-48D1-AA19-038002D31B77}" dt="2021-05-10T18:34:11.566" v="509" actId="1076"/>
          <ac:grpSpMkLst>
            <pc:docMk/>
            <pc:sldMk cId="2437152744" sldId="259"/>
            <ac:grpSpMk id="220" creationId="{6ECFB57C-5518-480A-98C2-FF64737F71BD}"/>
          </ac:grpSpMkLst>
        </pc:grpChg>
        <pc:grpChg chg="mod">
          <ac:chgData name="Allison Pass" userId="3bdd7fee-e623-47d0-9b6c-324afc1c37ca" providerId="ADAL" clId="{DD382197-8138-48D1-AA19-038002D31B77}" dt="2021-05-10T18:34:07.145" v="508"/>
          <ac:grpSpMkLst>
            <pc:docMk/>
            <pc:sldMk cId="2437152744" sldId="259"/>
            <ac:grpSpMk id="222" creationId="{0F88FDEA-26B9-4CD1-8100-7577D22D40C0}"/>
          </ac:grpSpMkLst>
        </pc:grpChg>
        <pc:grpChg chg="add mod">
          <ac:chgData name="Allison Pass" userId="3bdd7fee-e623-47d0-9b6c-324afc1c37ca" providerId="ADAL" clId="{DD382197-8138-48D1-AA19-038002D31B77}" dt="2021-05-10T18:34:11.566" v="509" actId="1076"/>
          <ac:grpSpMkLst>
            <pc:docMk/>
            <pc:sldMk cId="2437152744" sldId="259"/>
            <ac:grpSpMk id="225" creationId="{0F88BF77-B2A7-4238-A175-4D24A319AF9B}"/>
          </ac:grpSpMkLst>
        </pc:grpChg>
        <pc:grpChg chg="mod">
          <ac:chgData name="Allison Pass" userId="3bdd7fee-e623-47d0-9b6c-324afc1c37ca" providerId="ADAL" clId="{DD382197-8138-48D1-AA19-038002D31B77}" dt="2021-05-10T18:34:07.145" v="508"/>
          <ac:grpSpMkLst>
            <pc:docMk/>
            <pc:sldMk cId="2437152744" sldId="259"/>
            <ac:grpSpMk id="226" creationId="{5ACDEF99-3D6A-4833-B95F-30F242EBF18B}"/>
          </ac:grpSpMkLst>
        </pc:grpChg>
        <pc:grpChg chg="mod">
          <ac:chgData name="Allison Pass" userId="3bdd7fee-e623-47d0-9b6c-324afc1c37ca" providerId="ADAL" clId="{DD382197-8138-48D1-AA19-038002D31B77}" dt="2021-05-10T18:34:07.145" v="508"/>
          <ac:grpSpMkLst>
            <pc:docMk/>
            <pc:sldMk cId="2437152744" sldId="259"/>
            <ac:grpSpMk id="228" creationId="{767FF0AA-7C1B-4556-AECF-E5DD5E2D99B5}"/>
          </ac:grpSpMkLst>
        </pc:grpChg>
        <pc:grpChg chg="mod">
          <ac:chgData name="Allison Pass" userId="3bdd7fee-e623-47d0-9b6c-324afc1c37ca" providerId="ADAL" clId="{DD382197-8138-48D1-AA19-038002D31B77}" dt="2021-05-10T18:34:07.145" v="508"/>
          <ac:grpSpMkLst>
            <pc:docMk/>
            <pc:sldMk cId="2437152744" sldId="259"/>
            <ac:grpSpMk id="238" creationId="{E82F7E75-C186-4865-AB13-BA8EE48DCB7A}"/>
          </ac:grpSpMkLst>
        </pc:grpChg>
        <pc:grpChg chg="add mod">
          <ac:chgData name="Allison Pass" userId="3bdd7fee-e623-47d0-9b6c-324afc1c37ca" providerId="ADAL" clId="{DD382197-8138-48D1-AA19-038002D31B77}" dt="2021-05-10T18:34:11.566" v="509" actId="1076"/>
          <ac:grpSpMkLst>
            <pc:docMk/>
            <pc:sldMk cId="2437152744" sldId="259"/>
            <ac:grpSpMk id="241" creationId="{EECDC82D-BB06-4F43-84BE-0F6972D7A03E}"/>
          </ac:grpSpMkLst>
        </pc:grpChg>
        <pc:grpChg chg="mod">
          <ac:chgData name="Allison Pass" userId="3bdd7fee-e623-47d0-9b6c-324afc1c37ca" providerId="ADAL" clId="{DD382197-8138-48D1-AA19-038002D31B77}" dt="2021-05-10T18:34:07.145" v="508"/>
          <ac:grpSpMkLst>
            <pc:docMk/>
            <pc:sldMk cId="2437152744" sldId="259"/>
            <ac:grpSpMk id="242" creationId="{A88F5842-3FAB-42A0-9730-010D0D27FC08}"/>
          </ac:grpSpMkLst>
        </pc:grpChg>
        <pc:grpChg chg="mod">
          <ac:chgData name="Allison Pass" userId="3bdd7fee-e623-47d0-9b6c-324afc1c37ca" providerId="ADAL" clId="{DD382197-8138-48D1-AA19-038002D31B77}" dt="2021-05-10T18:34:07.145" v="508"/>
          <ac:grpSpMkLst>
            <pc:docMk/>
            <pc:sldMk cId="2437152744" sldId="259"/>
            <ac:grpSpMk id="244" creationId="{78517E1C-1763-4EE3-92F4-661139887916}"/>
          </ac:grpSpMkLst>
        </pc:grpChg>
        <pc:grpChg chg="mod">
          <ac:chgData name="Allison Pass" userId="3bdd7fee-e623-47d0-9b6c-324afc1c37ca" providerId="ADAL" clId="{DD382197-8138-48D1-AA19-038002D31B77}" dt="2021-05-10T18:34:07.145" v="508"/>
          <ac:grpSpMkLst>
            <pc:docMk/>
            <pc:sldMk cId="2437152744" sldId="259"/>
            <ac:grpSpMk id="252" creationId="{32E72E5F-0E2A-40A8-94B8-6767A3EBFE8D}"/>
          </ac:grpSpMkLst>
        </pc:grpChg>
        <pc:grpChg chg="add mod">
          <ac:chgData name="Allison Pass" userId="3bdd7fee-e623-47d0-9b6c-324afc1c37ca" providerId="ADAL" clId="{DD382197-8138-48D1-AA19-038002D31B77}" dt="2021-05-10T18:34:11.566" v="509" actId="1076"/>
          <ac:grpSpMkLst>
            <pc:docMk/>
            <pc:sldMk cId="2437152744" sldId="259"/>
            <ac:grpSpMk id="255" creationId="{1F23C1EE-70AD-4BCA-9DC8-9697A62EE8B2}"/>
          </ac:grpSpMkLst>
        </pc:grpChg>
        <pc:grpChg chg="mod">
          <ac:chgData name="Allison Pass" userId="3bdd7fee-e623-47d0-9b6c-324afc1c37ca" providerId="ADAL" clId="{DD382197-8138-48D1-AA19-038002D31B77}" dt="2021-05-10T18:34:07.145" v="508"/>
          <ac:grpSpMkLst>
            <pc:docMk/>
            <pc:sldMk cId="2437152744" sldId="259"/>
            <ac:grpSpMk id="256" creationId="{B6E3791F-B78D-4151-8056-A9850E2A681C}"/>
          </ac:grpSpMkLst>
        </pc:grpChg>
        <pc:grpChg chg="mod">
          <ac:chgData name="Allison Pass" userId="3bdd7fee-e623-47d0-9b6c-324afc1c37ca" providerId="ADAL" clId="{DD382197-8138-48D1-AA19-038002D31B77}" dt="2021-05-10T18:34:07.145" v="508"/>
          <ac:grpSpMkLst>
            <pc:docMk/>
            <pc:sldMk cId="2437152744" sldId="259"/>
            <ac:grpSpMk id="258" creationId="{5D5A7826-E92B-472C-864D-6157CF3E9673}"/>
          </ac:grpSpMkLst>
        </pc:grpChg>
        <pc:grpChg chg="mod">
          <ac:chgData name="Allison Pass" userId="3bdd7fee-e623-47d0-9b6c-324afc1c37ca" providerId="ADAL" clId="{DD382197-8138-48D1-AA19-038002D31B77}" dt="2021-05-10T18:34:07.145" v="508"/>
          <ac:grpSpMkLst>
            <pc:docMk/>
            <pc:sldMk cId="2437152744" sldId="259"/>
            <ac:grpSpMk id="262" creationId="{B54A1CA0-FFDC-48B9-8660-C851B81F30B9}"/>
          </ac:grpSpMkLst>
        </pc:grpChg>
        <pc:picChg chg="mod">
          <ac:chgData name="Allison Pass" userId="3bdd7fee-e623-47d0-9b6c-324afc1c37ca" providerId="ADAL" clId="{DD382197-8138-48D1-AA19-038002D31B77}" dt="2021-05-10T18:29:09.676" v="486"/>
          <ac:picMkLst>
            <pc:docMk/>
            <pc:sldMk cId="2437152744" sldId="259"/>
            <ac:picMk id="66" creationId="{98661BA2-A6EA-41C6-A8E9-BA0CC4F387F8}"/>
          </ac:picMkLst>
        </pc:picChg>
        <pc:picChg chg="mod">
          <ac:chgData name="Allison Pass" userId="3bdd7fee-e623-47d0-9b6c-324afc1c37ca" providerId="ADAL" clId="{DD382197-8138-48D1-AA19-038002D31B77}" dt="2021-05-10T18:29:19.576" v="490"/>
          <ac:picMkLst>
            <pc:docMk/>
            <pc:sldMk cId="2437152744" sldId="259"/>
            <ac:picMk id="131" creationId="{B8F0DA88-B602-4E54-A9FB-C8DCFA87AE9C}"/>
          </ac:picMkLst>
        </pc:picChg>
        <pc:picChg chg="mod">
          <ac:chgData name="Allison Pass" userId="3bdd7fee-e623-47d0-9b6c-324afc1c37ca" providerId="ADAL" clId="{DD382197-8138-48D1-AA19-038002D31B77}" dt="2021-05-10T18:34:00.349" v="506"/>
          <ac:picMkLst>
            <pc:docMk/>
            <pc:sldMk cId="2437152744" sldId="259"/>
            <ac:picMk id="196" creationId="{4334D1DB-6F63-4660-BAD0-CAFB852E0D7F}"/>
          </ac:picMkLst>
        </pc:picChg>
        <pc:picChg chg="mod">
          <ac:chgData name="Allison Pass" userId="3bdd7fee-e623-47d0-9b6c-324afc1c37ca" providerId="ADAL" clId="{DD382197-8138-48D1-AA19-038002D31B77}" dt="2021-05-10T18:34:07.145" v="508"/>
          <ac:picMkLst>
            <pc:docMk/>
            <pc:sldMk cId="2437152744" sldId="259"/>
            <ac:picMk id="260" creationId="{C076BD6B-059D-4586-AD03-7849F83A79F9}"/>
          </ac:picMkLst>
        </pc:picChg>
      </pc:sldChg>
      <pc:sldChg chg="del">
        <pc:chgData name="Allison Pass" userId="3bdd7fee-e623-47d0-9b6c-324afc1c37ca" providerId="ADAL" clId="{DD382197-8138-48D1-AA19-038002D31B77}" dt="2021-05-10T18:50:08.144" v="515" actId="47"/>
        <pc:sldMkLst>
          <pc:docMk/>
          <pc:sldMk cId="3733141535" sldId="260"/>
        </pc:sldMkLst>
      </pc:sldChg>
      <pc:sldChg chg="modSp mod">
        <pc:chgData name="Allison Pass" userId="3bdd7fee-e623-47d0-9b6c-324afc1c37ca" providerId="ADAL" clId="{DD382197-8138-48D1-AA19-038002D31B77}" dt="2021-05-07T21:01:55.245" v="309" actId="20577"/>
        <pc:sldMkLst>
          <pc:docMk/>
          <pc:sldMk cId="1191690117" sldId="261"/>
        </pc:sldMkLst>
        <pc:spChg chg="mod">
          <ac:chgData name="Allison Pass" userId="3bdd7fee-e623-47d0-9b6c-324afc1c37ca" providerId="ADAL" clId="{DD382197-8138-48D1-AA19-038002D31B77}" dt="2021-05-07T21:01:31.679" v="301" actId="20577"/>
          <ac:spMkLst>
            <pc:docMk/>
            <pc:sldMk cId="1191690117" sldId="261"/>
            <ac:spMk id="11" creationId="{0DF1EA4B-C8D7-F34B-954C-9ADBD4844B2B}"/>
          </ac:spMkLst>
        </pc:spChg>
        <pc:spChg chg="mod">
          <ac:chgData name="Allison Pass" userId="3bdd7fee-e623-47d0-9b6c-324afc1c37ca" providerId="ADAL" clId="{DD382197-8138-48D1-AA19-038002D31B77}" dt="2021-05-07T21:01:55.245" v="309" actId="20577"/>
          <ac:spMkLst>
            <pc:docMk/>
            <pc:sldMk cId="1191690117" sldId="261"/>
            <ac:spMk id="13" creationId="{D8F76857-639B-A84E-8A04-B50501672DF1}"/>
          </ac:spMkLst>
        </pc:spChg>
      </pc:sldChg>
      <pc:sldChg chg="addSp modSp mod">
        <pc:chgData name="Allison Pass" userId="3bdd7fee-e623-47d0-9b6c-324afc1c37ca" providerId="ADAL" clId="{DD382197-8138-48D1-AA19-038002D31B77}" dt="2021-05-10T22:14:06.422" v="567" actId="1076"/>
        <pc:sldMkLst>
          <pc:docMk/>
          <pc:sldMk cId="4153297329" sldId="262"/>
        </pc:sldMkLst>
        <pc:spChg chg="mod">
          <ac:chgData name="Allison Pass" userId="3bdd7fee-e623-47d0-9b6c-324afc1c37ca" providerId="ADAL" clId="{DD382197-8138-48D1-AA19-038002D31B77}" dt="2021-05-10T22:14:02.445" v="566" actId="1076"/>
          <ac:spMkLst>
            <pc:docMk/>
            <pc:sldMk cId="4153297329" sldId="262"/>
            <ac:spMk id="3" creationId="{5E2BA83C-2EFE-3A4B-84CD-3583705D8180}"/>
          </ac:spMkLst>
        </pc:spChg>
        <pc:spChg chg="mod">
          <ac:chgData name="Allison Pass" userId="3bdd7fee-e623-47d0-9b6c-324afc1c37ca" providerId="ADAL" clId="{DD382197-8138-48D1-AA19-038002D31B77}" dt="2021-05-07T21:28:16.134" v="455" actId="1076"/>
          <ac:spMkLst>
            <pc:docMk/>
            <pc:sldMk cId="4153297329" sldId="262"/>
            <ac:spMk id="4" creationId="{C0294FDF-3910-424A-97FF-63A5E40896F4}"/>
          </ac:spMkLst>
        </pc:spChg>
        <pc:spChg chg="mod">
          <ac:chgData name="Allison Pass" userId="3bdd7fee-e623-47d0-9b6c-324afc1c37ca" providerId="ADAL" clId="{DD382197-8138-48D1-AA19-038002D31B77}" dt="2021-05-10T22:14:06.422" v="567" actId="1076"/>
          <ac:spMkLst>
            <pc:docMk/>
            <pc:sldMk cId="4153297329" sldId="262"/>
            <ac:spMk id="6" creationId="{BA16A303-D92A-4D35-AD1F-A25BF73076AC}"/>
          </ac:spMkLst>
        </pc:spChg>
        <pc:grpChg chg="add mod">
          <ac:chgData name="Allison Pass" userId="3bdd7fee-e623-47d0-9b6c-324afc1c37ca" providerId="ADAL" clId="{DD382197-8138-48D1-AA19-038002D31B77}" dt="2021-05-10T22:14:06.422" v="567" actId="1076"/>
          <ac:grpSpMkLst>
            <pc:docMk/>
            <pc:sldMk cId="4153297329" sldId="262"/>
            <ac:grpSpMk id="5" creationId="{621AFCE9-3FE5-46B2-8D16-0003878B8AB5}"/>
          </ac:grpSpMkLst>
        </pc:grpChg>
        <pc:picChg chg="mod">
          <ac:chgData name="Allison Pass" userId="3bdd7fee-e623-47d0-9b6c-324afc1c37ca" providerId="ADAL" clId="{DD382197-8138-48D1-AA19-038002D31B77}" dt="2021-05-10T22:14:06.422" v="567" actId="1076"/>
          <ac:picMkLst>
            <pc:docMk/>
            <pc:sldMk cId="4153297329" sldId="262"/>
            <ac:picMk id="7" creationId="{5B008A5E-4853-4035-B405-E2073ED8B2B1}"/>
          </ac:picMkLst>
        </pc:picChg>
      </pc:sldChg>
      <pc:sldChg chg="new del">
        <pc:chgData name="Allison Pass" userId="3bdd7fee-e623-47d0-9b6c-324afc1c37ca" providerId="ADAL" clId="{DD382197-8138-48D1-AA19-038002D31B77}" dt="2021-05-07T21:02:51.268" v="312" actId="2696"/>
        <pc:sldMkLst>
          <pc:docMk/>
          <pc:sldMk cId="3111803878" sldId="264"/>
        </pc:sldMkLst>
      </pc:sldChg>
      <pc:sldChg chg="addSp delSp modSp new mod modNotesTx">
        <pc:chgData name="Allison Pass" userId="3bdd7fee-e623-47d0-9b6c-324afc1c37ca" providerId="ADAL" clId="{DD382197-8138-48D1-AA19-038002D31B77}" dt="2021-05-10T22:14:19.134" v="568" actId="1076"/>
        <pc:sldMkLst>
          <pc:docMk/>
          <pc:sldMk cId="510685341" sldId="265"/>
        </pc:sldMkLst>
        <pc:spChg chg="mod">
          <ac:chgData name="Allison Pass" userId="3bdd7fee-e623-47d0-9b6c-324afc1c37ca" providerId="ADAL" clId="{DD382197-8138-48D1-AA19-038002D31B77}" dt="2021-05-10T18:53:24.907" v="546" actId="1076"/>
          <ac:spMkLst>
            <pc:docMk/>
            <pc:sldMk cId="510685341" sldId="265"/>
            <ac:spMk id="2" creationId="{80EE6418-467C-4540-83DE-6339461AFDC4}"/>
          </ac:spMkLst>
        </pc:spChg>
        <pc:spChg chg="del">
          <ac:chgData name="Allison Pass" userId="3bdd7fee-e623-47d0-9b6c-324afc1c37ca" providerId="ADAL" clId="{DD382197-8138-48D1-AA19-038002D31B77}" dt="2021-05-10T18:53:13.246" v="542" actId="478"/>
          <ac:spMkLst>
            <pc:docMk/>
            <pc:sldMk cId="510685341" sldId="265"/>
            <ac:spMk id="3" creationId="{F0F1D2D1-4392-45C5-AD95-4D8FFA1E41F7}"/>
          </ac:spMkLst>
        </pc:spChg>
        <pc:picChg chg="add mod">
          <ac:chgData name="Allison Pass" userId="3bdd7fee-e623-47d0-9b6c-324afc1c37ca" providerId="ADAL" clId="{DD382197-8138-48D1-AA19-038002D31B77}" dt="2021-05-10T22:14:19.134" v="568" actId="1076"/>
          <ac:picMkLst>
            <pc:docMk/>
            <pc:sldMk cId="510685341" sldId="265"/>
            <ac:picMk id="5" creationId="{C31D85BA-4757-4CB2-82FC-493545D5283B}"/>
          </ac:picMkLst>
        </pc:picChg>
      </pc:sldChg>
      <pc:sldChg chg="add">
        <pc:chgData name="Allison Pass" userId="3bdd7fee-e623-47d0-9b6c-324afc1c37ca" providerId="ADAL" clId="{DD382197-8138-48D1-AA19-038002D31B77}" dt="2021-05-10T18:49:22.305" v="511" actId="22"/>
        <pc:sldMkLst>
          <pc:docMk/>
          <pc:sldMk cId="636219663" sldId="2076137511"/>
        </pc:sldMkLst>
      </pc:sldChg>
      <pc:sldChg chg="add">
        <pc:chgData name="Allison Pass" userId="3bdd7fee-e623-47d0-9b6c-324afc1c37ca" providerId="ADAL" clId="{DD382197-8138-48D1-AA19-038002D31B77}" dt="2021-05-10T18:49:22.305" v="511" actId="22"/>
        <pc:sldMkLst>
          <pc:docMk/>
          <pc:sldMk cId="2507716521" sldId="2076137512"/>
        </pc:sldMkLst>
      </pc:sldChg>
      <pc:sldChg chg="modSp add mod">
        <pc:chgData name="Allison Pass" userId="3bdd7fee-e623-47d0-9b6c-324afc1c37ca" providerId="ADAL" clId="{DD382197-8138-48D1-AA19-038002D31B77}" dt="2021-05-10T18:49:57.625" v="514" actId="14100"/>
        <pc:sldMkLst>
          <pc:docMk/>
          <pc:sldMk cId="768608626" sldId="2076137513"/>
        </pc:sldMkLst>
        <pc:spChg chg="mod">
          <ac:chgData name="Allison Pass" userId="3bdd7fee-e623-47d0-9b6c-324afc1c37ca" providerId="ADAL" clId="{DD382197-8138-48D1-AA19-038002D31B77}" dt="2021-05-10T18:49:49.226" v="512" actId="1076"/>
          <ac:spMkLst>
            <pc:docMk/>
            <pc:sldMk cId="768608626" sldId="2076137513"/>
            <ac:spMk id="62" creationId="{08D65DF6-6E21-4C59-9D8B-1103E22890E1}"/>
          </ac:spMkLst>
        </pc:spChg>
        <pc:spChg chg="mod">
          <ac:chgData name="Allison Pass" userId="3bdd7fee-e623-47d0-9b6c-324afc1c37ca" providerId="ADAL" clId="{DD382197-8138-48D1-AA19-038002D31B77}" dt="2021-05-10T18:49:49.226" v="512" actId="1076"/>
          <ac:spMkLst>
            <pc:docMk/>
            <pc:sldMk cId="768608626" sldId="2076137513"/>
            <ac:spMk id="63" creationId="{6A97C628-A900-4E39-A95D-122F8C5672D6}"/>
          </ac:spMkLst>
        </pc:spChg>
        <pc:spChg chg="mod">
          <ac:chgData name="Allison Pass" userId="3bdd7fee-e623-47d0-9b6c-324afc1c37ca" providerId="ADAL" clId="{DD382197-8138-48D1-AA19-038002D31B77}" dt="2021-05-10T18:49:49.226" v="512" actId="1076"/>
          <ac:spMkLst>
            <pc:docMk/>
            <pc:sldMk cId="768608626" sldId="2076137513"/>
            <ac:spMk id="64" creationId="{90F6FEE3-9044-4E86-B0EC-B8BB1575405A}"/>
          </ac:spMkLst>
        </pc:spChg>
        <pc:spChg chg="mod">
          <ac:chgData name="Allison Pass" userId="3bdd7fee-e623-47d0-9b6c-324afc1c37ca" providerId="ADAL" clId="{DD382197-8138-48D1-AA19-038002D31B77}" dt="2021-05-10T18:49:49.226" v="512" actId="1076"/>
          <ac:spMkLst>
            <pc:docMk/>
            <pc:sldMk cId="768608626" sldId="2076137513"/>
            <ac:spMk id="65" creationId="{517048DC-4905-47B0-AE8D-18446A208B6E}"/>
          </ac:spMkLst>
        </pc:spChg>
        <pc:spChg chg="mod">
          <ac:chgData name="Allison Pass" userId="3bdd7fee-e623-47d0-9b6c-324afc1c37ca" providerId="ADAL" clId="{DD382197-8138-48D1-AA19-038002D31B77}" dt="2021-05-10T18:49:57.625" v="514" actId="14100"/>
          <ac:spMkLst>
            <pc:docMk/>
            <pc:sldMk cId="768608626" sldId="2076137513"/>
            <ac:spMk id="67" creationId="{C917AB45-F889-4327-B3A5-A5BAF56DC6E7}"/>
          </ac:spMkLst>
        </pc:spChg>
        <pc:spChg chg="mod">
          <ac:chgData name="Allison Pass" userId="3bdd7fee-e623-47d0-9b6c-324afc1c37ca" providerId="ADAL" clId="{DD382197-8138-48D1-AA19-038002D31B77}" dt="2021-05-10T18:49:49.226" v="512" actId="1076"/>
          <ac:spMkLst>
            <pc:docMk/>
            <pc:sldMk cId="768608626" sldId="2076137513"/>
            <ac:spMk id="71" creationId="{0A12D97A-5EC2-468C-8965-89642F151061}"/>
          </ac:spMkLst>
        </pc:spChg>
        <pc:spChg chg="mod">
          <ac:chgData name="Allison Pass" userId="3bdd7fee-e623-47d0-9b6c-324afc1c37ca" providerId="ADAL" clId="{DD382197-8138-48D1-AA19-038002D31B77}" dt="2021-05-10T18:49:49.226" v="512" actId="1076"/>
          <ac:spMkLst>
            <pc:docMk/>
            <pc:sldMk cId="768608626" sldId="2076137513"/>
            <ac:spMk id="72" creationId="{819EE1B7-4B05-4B76-8249-6D0EC8CFFC78}"/>
          </ac:spMkLst>
        </pc:spChg>
        <pc:spChg chg="mod">
          <ac:chgData name="Allison Pass" userId="3bdd7fee-e623-47d0-9b6c-324afc1c37ca" providerId="ADAL" clId="{DD382197-8138-48D1-AA19-038002D31B77}" dt="2021-05-10T18:49:49.226" v="512" actId="1076"/>
          <ac:spMkLst>
            <pc:docMk/>
            <pc:sldMk cId="768608626" sldId="2076137513"/>
            <ac:spMk id="74" creationId="{02167414-A857-4501-B077-ECEE4EC63057}"/>
          </ac:spMkLst>
        </pc:spChg>
        <pc:spChg chg="mod">
          <ac:chgData name="Allison Pass" userId="3bdd7fee-e623-47d0-9b6c-324afc1c37ca" providerId="ADAL" clId="{DD382197-8138-48D1-AA19-038002D31B77}" dt="2021-05-10T18:49:49.226" v="512" actId="1076"/>
          <ac:spMkLst>
            <pc:docMk/>
            <pc:sldMk cId="768608626" sldId="2076137513"/>
            <ac:spMk id="75" creationId="{D9478F12-7C9A-4440-BBAA-91C3CBE37D1C}"/>
          </ac:spMkLst>
        </pc:spChg>
        <pc:spChg chg="mod">
          <ac:chgData name="Allison Pass" userId="3bdd7fee-e623-47d0-9b6c-324afc1c37ca" providerId="ADAL" clId="{DD382197-8138-48D1-AA19-038002D31B77}" dt="2021-05-10T18:49:49.226" v="512" actId="1076"/>
          <ac:spMkLst>
            <pc:docMk/>
            <pc:sldMk cId="768608626" sldId="2076137513"/>
            <ac:spMk id="84" creationId="{A68D6BFA-979C-4C7E-92BC-721D97F34691}"/>
          </ac:spMkLst>
        </pc:spChg>
        <pc:spChg chg="mod">
          <ac:chgData name="Allison Pass" userId="3bdd7fee-e623-47d0-9b6c-324afc1c37ca" providerId="ADAL" clId="{DD382197-8138-48D1-AA19-038002D31B77}" dt="2021-05-10T18:49:49.226" v="512" actId="1076"/>
          <ac:spMkLst>
            <pc:docMk/>
            <pc:sldMk cId="768608626" sldId="2076137513"/>
            <ac:spMk id="85" creationId="{AAC25C7A-9DFF-4E8D-955D-6C61F7C6E39E}"/>
          </ac:spMkLst>
        </pc:spChg>
        <pc:spChg chg="mod">
          <ac:chgData name="Allison Pass" userId="3bdd7fee-e623-47d0-9b6c-324afc1c37ca" providerId="ADAL" clId="{DD382197-8138-48D1-AA19-038002D31B77}" dt="2021-05-10T18:49:49.226" v="512" actId="1076"/>
          <ac:spMkLst>
            <pc:docMk/>
            <pc:sldMk cId="768608626" sldId="2076137513"/>
            <ac:spMk id="130" creationId="{6F93E2FB-7A8F-4165-8BD2-994749343274}"/>
          </ac:spMkLst>
        </pc:spChg>
        <pc:spChg chg="mod">
          <ac:chgData name="Allison Pass" userId="3bdd7fee-e623-47d0-9b6c-324afc1c37ca" providerId="ADAL" clId="{DD382197-8138-48D1-AA19-038002D31B77}" dt="2021-05-10T18:49:49.226" v="512" actId="1076"/>
          <ac:spMkLst>
            <pc:docMk/>
            <pc:sldMk cId="768608626" sldId="2076137513"/>
            <ac:spMk id="132" creationId="{5FFDB79A-6D25-4892-BD12-45DCE59B84B7}"/>
          </ac:spMkLst>
        </pc:spChg>
        <pc:spChg chg="mod">
          <ac:chgData name="Allison Pass" userId="3bdd7fee-e623-47d0-9b6c-324afc1c37ca" providerId="ADAL" clId="{DD382197-8138-48D1-AA19-038002D31B77}" dt="2021-05-10T18:49:49.226" v="512" actId="1076"/>
          <ac:spMkLst>
            <pc:docMk/>
            <pc:sldMk cId="768608626" sldId="2076137513"/>
            <ac:spMk id="133" creationId="{C426F0EE-39A2-4C29-95AD-4985EBD089C1}"/>
          </ac:spMkLst>
        </pc:spChg>
        <pc:spChg chg="mod">
          <ac:chgData name="Allison Pass" userId="3bdd7fee-e623-47d0-9b6c-324afc1c37ca" providerId="ADAL" clId="{DD382197-8138-48D1-AA19-038002D31B77}" dt="2021-05-10T18:49:49.226" v="512" actId="1076"/>
          <ac:spMkLst>
            <pc:docMk/>
            <pc:sldMk cId="768608626" sldId="2076137513"/>
            <ac:spMk id="134" creationId="{C9799981-E490-4C56-BD8D-F16443085C6B}"/>
          </ac:spMkLst>
        </pc:spChg>
        <pc:spChg chg="mod">
          <ac:chgData name="Allison Pass" userId="3bdd7fee-e623-47d0-9b6c-324afc1c37ca" providerId="ADAL" clId="{DD382197-8138-48D1-AA19-038002D31B77}" dt="2021-05-10T18:49:49.226" v="512" actId="1076"/>
          <ac:spMkLst>
            <pc:docMk/>
            <pc:sldMk cId="768608626" sldId="2076137513"/>
            <ac:spMk id="135" creationId="{EBEB99F4-6F6E-42E2-A7A1-DDCEA4109664}"/>
          </ac:spMkLst>
        </pc:spChg>
        <pc:spChg chg="mod">
          <ac:chgData name="Allison Pass" userId="3bdd7fee-e623-47d0-9b6c-324afc1c37ca" providerId="ADAL" clId="{DD382197-8138-48D1-AA19-038002D31B77}" dt="2021-05-10T18:49:49.226" v="512" actId="1076"/>
          <ac:spMkLst>
            <pc:docMk/>
            <pc:sldMk cId="768608626" sldId="2076137513"/>
            <ac:spMk id="136" creationId="{F37AFEFB-BEC4-4282-BD3C-2CB9EE9F7A39}"/>
          </ac:spMkLst>
        </pc:spChg>
        <pc:spChg chg="mod">
          <ac:chgData name="Allison Pass" userId="3bdd7fee-e623-47d0-9b6c-324afc1c37ca" providerId="ADAL" clId="{DD382197-8138-48D1-AA19-038002D31B77}" dt="2021-05-10T18:49:49.226" v="512" actId="1076"/>
          <ac:spMkLst>
            <pc:docMk/>
            <pc:sldMk cId="768608626" sldId="2076137513"/>
            <ac:spMk id="137" creationId="{E74BC8A8-41A1-446E-9F3A-3FF0D0E08F31}"/>
          </ac:spMkLst>
        </pc:spChg>
        <pc:spChg chg="mod">
          <ac:chgData name="Allison Pass" userId="3bdd7fee-e623-47d0-9b6c-324afc1c37ca" providerId="ADAL" clId="{DD382197-8138-48D1-AA19-038002D31B77}" dt="2021-05-10T18:49:49.226" v="512" actId="1076"/>
          <ac:spMkLst>
            <pc:docMk/>
            <pc:sldMk cId="768608626" sldId="2076137513"/>
            <ac:spMk id="138" creationId="{6449E8C1-044C-44D6-BDB1-72AA76AD0479}"/>
          </ac:spMkLst>
        </pc:spChg>
        <pc:spChg chg="mod">
          <ac:chgData name="Allison Pass" userId="3bdd7fee-e623-47d0-9b6c-324afc1c37ca" providerId="ADAL" clId="{DD382197-8138-48D1-AA19-038002D31B77}" dt="2021-05-10T18:49:49.226" v="512" actId="1076"/>
          <ac:spMkLst>
            <pc:docMk/>
            <pc:sldMk cId="768608626" sldId="2076137513"/>
            <ac:spMk id="139" creationId="{41B6BB64-C8D8-422B-B7A5-3A6F90CA498F}"/>
          </ac:spMkLst>
        </pc:spChg>
        <pc:spChg chg="mod">
          <ac:chgData name="Allison Pass" userId="3bdd7fee-e623-47d0-9b6c-324afc1c37ca" providerId="ADAL" clId="{DD382197-8138-48D1-AA19-038002D31B77}" dt="2021-05-10T18:49:49.226" v="512" actId="1076"/>
          <ac:spMkLst>
            <pc:docMk/>
            <pc:sldMk cId="768608626" sldId="2076137513"/>
            <ac:spMk id="140" creationId="{938D456F-BD9D-4969-977E-3084865B6013}"/>
          </ac:spMkLst>
        </pc:spChg>
        <pc:spChg chg="mod">
          <ac:chgData name="Allison Pass" userId="3bdd7fee-e623-47d0-9b6c-324afc1c37ca" providerId="ADAL" clId="{DD382197-8138-48D1-AA19-038002D31B77}" dt="2021-05-10T18:49:49.226" v="512" actId="1076"/>
          <ac:spMkLst>
            <pc:docMk/>
            <pc:sldMk cId="768608626" sldId="2076137513"/>
            <ac:spMk id="141" creationId="{AAD4904F-3AC8-42CC-9C2C-8E323B028987}"/>
          </ac:spMkLst>
        </pc:spChg>
        <pc:spChg chg="mod">
          <ac:chgData name="Allison Pass" userId="3bdd7fee-e623-47d0-9b6c-324afc1c37ca" providerId="ADAL" clId="{DD382197-8138-48D1-AA19-038002D31B77}" dt="2021-05-10T18:49:49.226" v="512" actId="1076"/>
          <ac:spMkLst>
            <pc:docMk/>
            <pc:sldMk cId="768608626" sldId="2076137513"/>
            <ac:spMk id="158" creationId="{65C14A28-2BA1-4258-9B27-A566DBD6E34F}"/>
          </ac:spMkLst>
        </pc:spChg>
        <pc:spChg chg="mod">
          <ac:chgData name="Allison Pass" userId="3bdd7fee-e623-47d0-9b6c-324afc1c37ca" providerId="ADAL" clId="{DD382197-8138-48D1-AA19-038002D31B77}" dt="2021-05-10T18:49:49.226" v="512" actId="1076"/>
          <ac:spMkLst>
            <pc:docMk/>
            <pc:sldMk cId="768608626" sldId="2076137513"/>
            <ac:spMk id="160" creationId="{3F3EFE6E-15E6-4304-A826-74942482AD20}"/>
          </ac:spMkLst>
        </pc:spChg>
        <pc:spChg chg="mod">
          <ac:chgData name="Allison Pass" userId="3bdd7fee-e623-47d0-9b6c-324afc1c37ca" providerId="ADAL" clId="{DD382197-8138-48D1-AA19-038002D31B77}" dt="2021-05-10T18:49:49.226" v="512" actId="1076"/>
          <ac:spMkLst>
            <pc:docMk/>
            <pc:sldMk cId="768608626" sldId="2076137513"/>
            <ac:spMk id="161" creationId="{0AC81FD3-FD1D-4F02-9D5A-45DB44F80EDA}"/>
          </ac:spMkLst>
        </pc:spChg>
        <pc:spChg chg="mod">
          <ac:chgData name="Allison Pass" userId="3bdd7fee-e623-47d0-9b6c-324afc1c37ca" providerId="ADAL" clId="{DD382197-8138-48D1-AA19-038002D31B77}" dt="2021-05-10T18:49:49.226" v="512" actId="1076"/>
          <ac:spMkLst>
            <pc:docMk/>
            <pc:sldMk cId="768608626" sldId="2076137513"/>
            <ac:spMk id="162" creationId="{6DA13AF4-2C2E-4749-A88D-7833F5C96FA1}"/>
          </ac:spMkLst>
        </pc:spChg>
        <pc:spChg chg="mod">
          <ac:chgData name="Allison Pass" userId="3bdd7fee-e623-47d0-9b6c-324afc1c37ca" providerId="ADAL" clId="{DD382197-8138-48D1-AA19-038002D31B77}" dt="2021-05-10T18:49:49.226" v="512" actId="1076"/>
          <ac:spMkLst>
            <pc:docMk/>
            <pc:sldMk cId="768608626" sldId="2076137513"/>
            <ac:spMk id="163" creationId="{CB514F95-D2D2-4FC9-B0D5-33F66F5808C2}"/>
          </ac:spMkLst>
        </pc:spChg>
        <pc:spChg chg="mod">
          <ac:chgData name="Allison Pass" userId="3bdd7fee-e623-47d0-9b6c-324afc1c37ca" providerId="ADAL" clId="{DD382197-8138-48D1-AA19-038002D31B77}" dt="2021-05-10T18:49:49.226" v="512" actId="1076"/>
          <ac:spMkLst>
            <pc:docMk/>
            <pc:sldMk cId="768608626" sldId="2076137513"/>
            <ac:spMk id="164" creationId="{2B64AA62-9992-446C-82C6-B4C79287E10B}"/>
          </ac:spMkLst>
        </pc:spChg>
        <pc:spChg chg="mod">
          <ac:chgData name="Allison Pass" userId="3bdd7fee-e623-47d0-9b6c-324afc1c37ca" providerId="ADAL" clId="{DD382197-8138-48D1-AA19-038002D31B77}" dt="2021-05-10T18:49:49.226" v="512" actId="1076"/>
          <ac:spMkLst>
            <pc:docMk/>
            <pc:sldMk cId="768608626" sldId="2076137513"/>
            <ac:spMk id="191" creationId="{147A9D1A-A7AA-4BE6-B333-4A8D3B2A1EAD}"/>
          </ac:spMkLst>
        </pc:spChg>
        <pc:spChg chg="mod">
          <ac:chgData name="Allison Pass" userId="3bdd7fee-e623-47d0-9b6c-324afc1c37ca" providerId="ADAL" clId="{DD382197-8138-48D1-AA19-038002D31B77}" dt="2021-05-10T18:49:49.226" v="512" actId="1076"/>
          <ac:spMkLst>
            <pc:docMk/>
            <pc:sldMk cId="768608626" sldId="2076137513"/>
            <ac:spMk id="193" creationId="{1596E44A-3F9C-4264-B54F-59EE581734F9}"/>
          </ac:spMkLst>
        </pc:spChg>
        <pc:spChg chg="mod">
          <ac:chgData name="Allison Pass" userId="3bdd7fee-e623-47d0-9b6c-324afc1c37ca" providerId="ADAL" clId="{DD382197-8138-48D1-AA19-038002D31B77}" dt="2021-05-10T18:49:49.226" v="512" actId="1076"/>
          <ac:spMkLst>
            <pc:docMk/>
            <pc:sldMk cId="768608626" sldId="2076137513"/>
            <ac:spMk id="194" creationId="{62981D9B-B10D-4013-8A0B-510AFAA3F50B}"/>
          </ac:spMkLst>
        </pc:spChg>
        <pc:spChg chg="mod">
          <ac:chgData name="Allison Pass" userId="3bdd7fee-e623-47d0-9b6c-324afc1c37ca" providerId="ADAL" clId="{DD382197-8138-48D1-AA19-038002D31B77}" dt="2021-05-10T18:49:49.226" v="512" actId="1076"/>
          <ac:spMkLst>
            <pc:docMk/>
            <pc:sldMk cId="768608626" sldId="2076137513"/>
            <ac:spMk id="195" creationId="{CDBDA134-5B0B-4008-9892-72A89107A555}"/>
          </ac:spMkLst>
        </pc:spChg>
        <pc:spChg chg="mod">
          <ac:chgData name="Allison Pass" userId="3bdd7fee-e623-47d0-9b6c-324afc1c37ca" providerId="ADAL" clId="{DD382197-8138-48D1-AA19-038002D31B77}" dt="2021-05-10T18:49:49.226" v="512" actId="1076"/>
          <ac:spMkLst>
            <pc:docMk/>
            <pc:sldMk cId="768608626" sldId="2076137513"/>
            <ac:spMk id="196" creationId="{2E6C0578-E029-4F49-8F72-EC628D711D9E}"/>
          </ac:spMkLst>
        </pc:spChg>
        <pc:spChg chg="mod">
          <ac:chgData name="Allison Pass" userId="3bdd7fee-e623-47d0-9b6c-324afc1c37ca" providerId="ADAL" clId="{DD382197-8138-48D1-AA19-038002D31B77}" dt="2021-05-10T18:49:49.226" v="512" actId="1076"/>
          <ac:spMkLst>
            <pc:docMk/>
            <pc:sldMk cId="768608626" sldId="2076137513"/>
            <ac:spMk id="197" creationId="{9967341E-8CBA-4616-B6F0-F8C88FD29178}"/>
          </ac:spMkLst>
        </pc:spChg>
        <pc:grpChg chg="mod">
          <ac:chgData name="Allison Pass" userId="3bdd7fee-e623-47d0-9b6c-324afc1c37ca" providerId="ADAL" clId="{DD382197-8138-48D1-AA19-038002D31B77}" dt="2021-05-10T18:49:49.226" v="512" actId="1076"/>
          <ac:grpSpMkLst>
            <pc:docMk/>
            <pc:sldMk cId="768608626" sldId="2076137513"/>
            <ac:grpSpMk id="129" creationId="{9C5890E8-75B7-4FD2-8ABE-5E46E79F002F}"/>
          </ac:grpSpMkLst>
        </pc:grpChg>
        <pc:grpChg chg="mod">
          <ac:chgData name="Allison Pass" userId="3bdd7fee-e623-47d0-9b6c-324afc1c37ca" providerId="ADAL" clId="{DD382197-8138-48D1-AA19-038002D31B77}" dt="2021-05-10T18:49:49.226" v="512" actId="1076"/>
          <ac:grpSpMkLst>
            <pc:docMk/>
            <pc:sldMk cId="768608626" sldId="2076137513"/>
            <ac:grpSpMk id="131" creationId="{2E9AED12-D460-4906-A3A8-84ACC9421299}"/>
          </ac:grpSpMkLst>
        </pc:grpChg>
        <pc:grpChg chg="mod">
          <ac:chgData name="Allison Pass" userId="3bdd7fee-e623-47d0-9b6c-324afc1c37ca" providerId="ADAL" clId="{DD382197-8138-48D1-AA19-038002D31B77}" dt="2021-05-10T18:49:49.226" v="512" actId="1076"/>
          <ac:grpSpMkLst>
            <pc:docMk/>
            <pc:sldMk cId="768608626" sldId="2076137513"/>
            <ac:grpSpMk id="157" creationId="{615A23C1-84BA-4E00-8E32-FD85563EBF18}"/>
          </ac:grpSpMkLst>
        </pc:grpChg>
        <pc:grpChg chg="mod">
          <ac:chgData name="Allison Pass" userId="3bdd7fee-e623-47d0-9b6c-324afc1c37ca" providerId="ADAL" clId="{DD382197-8138-48D1-AA19-038002D31B77}" dt="2021-05-10T18:49:49.226" v="512" actId="1076"/>
          <ac:grpSpMkLst>
            <pc:docMk/>
            <pc:sldMk cId="768608626" sldId="2076137513"/>
            <ac:grpSpMk id="159" creationId="{6AD43C1E-607D-42C3-8438-E835995D05E8}"/>
          </ac:grpSpMkLst>
        </pc:grpChg>
        <pc:grpChg chg="mod">
          <ac:chgData name="Allison Pass" userId="3bdd7fee-e623-47d0-9b6c-324afc1c37ca" providerId="ADAL" clId="{DD382197-8138-48D1-AA19-038002D31B77}" dt="2021-05-10T18:49:49.226" v="512" actId="1076"/>
          <ac:grpSpMkLst>
            <pc:docMk/>
            <pc:sldMk cId="768608626" sldId="2076137513"/>
            <ac:grpSpMk id="190" creationId="{8338CC69-6E90-4B4C-915E-B85422BCA522}"/>
          </ac:grpSpMkLst>
        </pc:grpChg>
        <pc:grpChg chg="mod">
          <ac:chgData name="Allison Pass" userId="3bdd7fee-e623-47d0-9b6c-324afc1c37ca" providerId="ADAL" clId="{DD382197-8138-48D1-AA19-038002D31B77}" dt="2021-05-10T18:49:49.226" v="512" actId="1076"/>
          <ac:grpSpMkLst>
            <pc:docMk/>
            <pc:sldMk cId="768608626" sldId="2076137513"/>
            <ac:grpSpMk id="192" creationId="{85F491DE-8E1E-4FF9-A657-F518F111EC91}"/>
          </ac:grpSpMkLst>
        </pc:grpChg>
        <pc:picChg chg="mod">
          <ac:chgData name="Allison Pass" userId="3bdd7fee-e623-47d0-9b6c-324afc1c37ca" providerId="ADAL" clId="{DD382197-8138-48D1-AA19-038002D31B77}" dt="2021-05-10T18:49:49.226" v="512" actId="1076"/>
          <ac:picMkLst>
            <pc:docMk/>
            <pc:sldMk cId="768608626" sldId="2076137513"/>
            <ac:picMk id="78" creationId="{37AE6466-F812-48C4-A082-5B0CA0BAF4D1}"/>
          </ac:picMkLst>
        </pc:picChg>
        <pc:picChg chg="mod">
          <ac:chgData name="Allison Pass" userId="3bdd7fee-e623-47d0-9b6c-324afc1c37ca" providerId="ADAL" clId="{DD382197-8138-48D1-AA19-038002D31B77}" dt="2021-05-10T18:49:49.226" v="512" actId="1076"/>
          <ac:picMkLst>
            <pc:docMk/>
            <pc:sldMk cId="768608626" sldId="2076137513"/>
            <ac:picMk id="79" creationId="{85A7898F-A3DC-42C7-ABCA-16822025A588}"/>
          </ac:picMkLst>
        </pc:picChg>
        <pc:picChg chg="mod">
          <ac:chgData name="Allison Pass" userId="3bdd7fee-e623-47d0-9b6c-324afc1c37ca" providerId="ADAL" clId="{DD382197-8138-48D1-AA19-038002D31B77}" dt="2021-05-10T18:49:49.226" v="512" actId="1076"/>
          <ac:picMkLst>
            <pc:docMk/>
            <pc:sldMk cId="768608626" sldId="2076137513"/>
            <ac:picMk id="80" creationId="{D73FEFF0-5997-4FB5-AA49-668FAF544BAE}"/>
          </ac:picMkLst>
        </pc:picChg>
        <pc:picChg chg="mod">
          <ac:chgData name="Allison Pass" userId="3bdd7fee-e623-47d0-9b6c-324afc1c37ca" providerId="ADAL" clId="{DD382197-8138-48D1-AA19-038002D31B77}" dt="2021-05-10T18:49:49.226" v="512" actId="1076"/>
          <ac:picMkLst>
            <pc:docMk/>
            <pc:sldMk cId="768608626" sldId="2076137513"/>
            <ac:picMk id="165" creationId="{823A6CB5-63C8-4DA8-B86F-70C6B34AF7DD}"/>
          </ac:picMkLst>
        </pc:picChg>
        <pc:picChg chg="mod">
          <ac:chgData name="Allison Pass" userId="3bdd7fee-e623-47d0-9b6c-324afc1c37ca" providerId="ADAL" clId="{DD382197-8138-48D1-AA19-038002D31B77}" dt="2021-05-10T18:49:49.226" v="512" actId="1076"/>
          <ac:picMkLst>
            <pc:docMk/>
            <pc:sldMk cId="768608626" sldId="2076137513"/>
            <ac:picMk id="198" creationId="{9056B4D5-B8D9-4D45-9597-AD0FE57CA764}"/>
          </ac:picMkLst>
        </pc:picChg>
        <pc:cxnChg chg="mod">
          <ac:chgData name="Allison Pass" userId="3bdd7fee-e623-47d0-9b6c-324afc1c37ca" providerId="ADAL" clId="{DD382197-8138-48D1-AA19-038002D31B77}" dt="2021-05-10T18:49:49.226" v="512" actId="1076"/>
          <ac:cxnSpMkLst>
            <pc:docMk/>
            <pc:sldMk cId="768608626" sldId="2076137513"/>
            <ac:cxnSpMk id="68" creationId="{BC1CB755-476C-4ED2-AC86-358DC5FDB713}"/>
          </ac:cxnSpMkLst>
        </pc:cxnChg>
        <pc:cxnChg chg="mod">
          <ac:chgData name="Allison Pass" userId="3bdd7fee-e623-47d0-9b6c-324afc1c37ca" providerId="ADAL" clId="{DD382197-8138-48D1-AA19-038002D31B77}" dt="2021-05-10T18:49:49.226" v="512" actId="1076"/>
          <ac:cxnSpMkLst>
            <pc:docMk/>
            <pc:sldMk cId="768608626" sldId="2076137513"/>
            <ac:cxnSpMk id="69" creationId="{D4352AAF-BCE1-4F20-8721-5185E40D4D45}"/>
          </ac:cxnSpMkLst>
        </pc:cxnChg>
        <pc:cxnChg chg="mod">
          <ac:chgData name="Allison Pass" userId="3bdd7fee-e623-47d0-9b6c-324afc1c37ca" providerId="ADAL" clId="{DD382197-8138-48D1-AA19-038002D31B77}" dt="2021-05-10T18:49:49.226" v="512" actId="1076"/>
          <ac:cxnSpMkLst>
            <pc:docMk/>
            <pc:sldMk cId="768608626" sldId="2076137513"/>
            <ac:cxnSpMk id="70" creationId="{DBE7B64D-032A-4ED7-9590-9F3BD25DEE9B}"/>
          </ac:cxnSpMkLst>
        </pc:cxnChg>
        <pc:cxnChg chg="mod">
          <ac:chgData name="Allison Pass" userId="3bdd7fee-e623-47d0-9b6c-324afc1c37ca" providerId="ADAL" clId="{DD382197-8138-48D1-AA19-038002D31B77}" dt="2021-05-10T18:49:57.625" v="514" actId="14100"/>
          <ac:cxnSpMkLst>
            <pc:docMk/>
            <pc:sldMk cId="768608626" sldId="2076137513"/>
            <ac:cxnSpMk id="77" creationId="{50D9854F-3FC0-4DF9-AAA1-8B343E56ABAF}"/>
          </ac:cxnSpMkLst>
        </pc:cxnChg>
        <pc:cxnChg chg="mod">
          <ac:chgData name="Allison Pass" userId="3bdd7fee-e623-47d0-9b6c-324afc1c37ca" providerId="ADAL" clId="{DD382197-8138-48D1-AA19-038002D31B77}" dt="2021-05-10T18:49:49.226" v="512" actId="1076"/>
          <ac:cxnSpMkLst>
            <pc:docMk/>
            <pc:sldMk cId="768608626" sldId="2076137513"/>
            <ac:cxnSpMk id="81" creationId="{7B3837A2-01EF-4ED1-B09D-2AD5B3E93E69}"/>
          </ac:cxnSpMkLst>
        </pc:cxnChg>
        <pc:cxnChg chg="mod">
          <ac:chgData name="Allison Pass" userId="3bdd7fee-e623-47d0-9b6c-324afc1c37ca" providerId="ADAL" clId="{DD382197-8138-48D1-AA19-038002D31B77}" dt="2021-05-10T18:49:49.226" v="512" actId="1076"/>
          <ac:cxnSpMkLst>
            <pc:docMk/>
            <pc:sldMk cId="768608626" sldId="2076137513"/>
            <ac:cxnSpMk id="82" creationId="{3CDFB771-1CA6-4DFC-ADD1-A70A957E84BA}"/>
          </ac:cxnSpMkLst>
        </pc:cxnChg>
        <pc:cxnChg chg="mod">
          <ac:chgData name="Allison Pass" userId="3bdd7fee-e623-47d0-9b6c-324afc1c37ca" providerId="ADAL" clId="{DD382197-8138-48D1-AA19-038002D31B77}" dt="2021-05-10T18:49:49.226" v="512" actId="1076"/>
          <ac:cxnSpMkLst>
            <pc:docMk/>
            <pc:sldMk cId="768608626" sldId="2076137513"/>
            <ac:cxnSpMk id="83" creationId="{0388B4C5-2DA8-4ACF-86EA-AABBD1B076DB}"/>
          </ac:cxnSpMkLst>
        </pc:cxnChg>
      </pc:sldChg>
      <pc:sldChg chg="modSp new mod modNotesTx">
        <pc:chgData name="Allison Pass" userId="3bdd7fee-e623-47d0-9b6c-324afc1c37ca" providerId="ADAL" clId="{DD382197-8138-48D1-AA19-038002D31B77}" dt="2021-05-10T18:51:03.397" v="524"/>
        <pc:sldMkLst>
          <pc:docMk/>
          <pc:sldMk cId="859670316" sldId="2076138211"/>
        </pc:sldMkLst>
        <pc:spChg chg="mod">
          <ac:chgData name="Allison Pass" userId="3bdd7fee-e623-47d0-9b6c-324afc1c37ca" providerId="ADAL" clId="{DD382197-8138-48D1-AA19-038002D31B77}" dt="2021-05-10T18:50:42.545" v="523" actId="20577"/>
          <ac:spMkLst>
            <pc:docMk/>
            <pc:sldMk cId="859670316" sldId="2076138211"/>
            <ac:spMk id="2" creationId="{73B475B1-C0E5-443F-B3F9-6D233C4E837B}"/>
          </ac:spMkLst>
        </pc:spChg>
      </pc:sldChg>
      <pc:sldChg chg="add del">
        <pc:chgData name="Allison Pass" userId="3bdd7fee-e623-47d0-9b6c-324afc1c37ca" providerId="ADAL" clId="{DD382197-8138-48D1-AA19-038002D31B77}" dt="2021-05-10T18:34:15.427" v="510" actId="47"/>
        <pc:sldMkLst>
          <pc:docMk/>
          <pc:sldMk cId="3499646163" sldId="2076138409"/>
        </pc:sldMkLst>
      </pc:sldChg>
      <pc:sldChg chg="add del modNotesTx">
        <pc:chgData name="Allison Pass" userId="3bdd7fee-e623-47d0-9b6c-324afc1c37ca" providerId="ADAL" clId="{DD382197-8138-48D1-AA19-038002D31B77}" dt="2021-05-10T18:50:22.808" v="517" actId="47"/>
        <pc:sldMkLst>
          <pc:docMk/>
          <pc:sldMk cId="683629557" sldId="2147469433"/>
        </pc:sldMkLst>
      </pc:sldChg>
      <pc:sldMasterChg chg="addSldLayout modSldLayout">
        <pc:chgData name="Allison Pass" userId="3bdd7fee-e623-47d0-9b6c-324afc1c37ca" providerId="ADAL" clId="{DD382197-8138-48D1-AA19-038002D31B77}" dt="2021-05-10T18:49:22.305" v="511" actId="22"/>
        <pc:sldMasterMkLst>
          <pc:docMk/>
          <pc:sldMasterMk cId="14513726" sldId="2147485397"/>
        </pc:sldMasterMkLst>
        <pc:sldLayoutChg chg="add mod">
          <pc:chgData name="Allison Pass" userId="3bdd7fee-e623-47d0-9b6c-324afc1c37ca" providerId="ADAL" clId="{DD382197-8138-48D1-AA19-038002D31B77}" dt="2021-05-10T18:28:48.211" v="485" actId="22"/>
          <pc:sldLayoutMkLst>
            <pc:docMk/>
            <pc:sldMasterMk cId="14513726" sldId="2147485397"/>
            <pc:sldLayoutMk cId="3091391837" sldId="2147485516"/>
          </pc:sldLayoutMkLst>
        </pc:sldLayoutChg>
        <pc:sldLayoutChg chg="add mod">
          <pc:chgData name="Allison Pass" userId="3bdd7fee-e623-47d0-9b6c-324afc1c37ca" providerId="ADAL" clId="{DD382197-8138-48D1-AA19-038002D31B77}" dt="2021-05-10T18:49:22.305" v="511" actId="22"/>
          <pc:sldLayoutMkLst>
            <pc:docMk/>
            <pc:sldMasterMk cId="14513726" sldId="2147485397"/>
            <pc:sldLayoutMk cId="3255610650" sldId="2147485517"/>
          </pc:sldLayoutMkLst>
        </pc:sldLayoutChg>
      </pc:sldMasterChg>
      <pc:sldMasterChg chg="addSldLayout modSldLayout">
        <pc:chgData name="Allison Pass" userId="3bdd7fee-e623-47d0-9b6c-324afc1c37ca" providerId="ADAL" clId="{DD382197-8138-48D1-AA19-038002D31B77}" dt="2021-05-10T18:09:42.917" v="461" actId="22"/>
        <pc:sldMasterMkLst>
          <pc:docMk/>
          <pc:sldMasterMk cId="698660179" sldId="2147485525"/>
        </pc:sldMasterMkLst>
        <pc:sldLayoutChg chg="add mod">
          <pc:chgData name="Allison Pass" userId="3bdd7fee-e623-47d0-9b6c-324afc1c37ca" providerId="ADAL" clId="{DD382197-8138-48D1-AA19-038002D31B77}" dt="2021-05-10T18:09:42.917" v="461" actId="22"/>
          <pc:sldLayoutMkLst>
            <pc:docMk/>
            <pc:sldMasterMk cId="698660179" sldId="2147485525"/>
            <pc:sldLayoutMk cId="3484288599" sldId="2147485558"/>
          </pc:sldLayoutMkLst>
        </pc:sldLayoutChg>
      </pc:sldMasterChg>
    </pc:docChg>
  </pc:docChgLst>
  <pc:docChgLst>
    <pc:chgData name="Allison Pass" userId="3bdd7fee-e623-47d0-9b6c-324afc1c37ca" providerId="ADAL" clId="{54C2CAAB-7369-4E7D-9621-B47082E7FE42}"/>
    <pc:docChg chg="delSld modSection">
      <pc:chgData name="Allison Pass" userId="3bdd7fee-e623-47d0-9b6c-324afc1c37ca" providerId="ADAL" clId="{54C2CAAB-7369-4E7D-9621-B47082E7FE42}" dt="2021-06-25T21:29:06.128" v="0" actId="2696"/>
      <pc:docMkLst>
        <pc:docMk/>
      </pc:docMkLst>
      <pc:sldChg chg="del">
        <pc:chgData name="Allison Pass" userId="3bdd7fee-e623-47d0-9b6c-324afc1c37ca" providerId="ADAL" clId="{54C2CAAB-7369-4E7D-9621-B47082E7FE42}" dt="2021-06-25T21:29:06.128" v="0" actId="2696"/>
        <pc:sldMkLst>
          <pc:docMk/>
          <pc:sldMk cId="79068787" sldId="2076138213"/>
        </pc:sldMkLst>
      </pc:sldChg>
    </pc:docChg>
  </pc:docChgLst>
  <pc:docChgLst>
    <pc:chgData name="Renee Christensen (Valence Group Inc.)" userId="S::v-reneech@microsoft.com::3cfe5060-30b9-419c-92a3-ffbbf1fdce50" providerId="AD" clId="Web-{4D82B4F6-4383-4FD9-B4A1-EE7F81DDB6BF}"/>
    <pc:docChg chg="modSld">
      <pc:chgData name="Renee Christensen (Valence Group Inc.)" userId="S::v-reneech@microsoft.com::3cfe5060-30b9-419c-92a3-ffbbf1fdce50" providerId="AD" clId="Web-{4D82B4F6-4383-4FD9-B4A1-EE7F81DDB6BF}" dt="2021-05-11T18:39:11.889" v="1" actId="20577"/>
      <pc:docMkLst>
        <pc:docMk/>
      </pc:docMkLst>
      <pc:sldChg chg="modSp">
        <pc:chgData name="Renee Christensen (Valence Group Inc.)" userId="S::v-reneech@microsoft.com::3cfe5060-30b9-419c-92a3-ffbbf1fdce50" providerId="AD" clId="Web-{4D82B4F6-4383-4FD9-B4A1-EE7F81DDB6BF}" dt="2021-05-11T18:39:11.889" v="1" actId="20577"/>
        <pc:sldMkLst>
          <pc:docMk/>
          <pc:sldMk cId="1191690117" sldId="261"/>
        </pc:sldMkLst>
        <pc:spChg chg="mod">
          <ac:chgData name="Renee Christensen (Valence Group Inc.)" userId="S::v-reneech@microsoft.com::3cfe5060-30b9-419c-92a3-ffbbf1fdce50" providerId="AD" clId="Web-{4D82B4F6-4383-4FD9-B4A1-EE7F81DDB6BF}" dt="2021-05-11T18:39:11.889" v="1" actId="20577"/>
          <ac:spMkLst>
            <pc:docMk/>
            <pc:sldMk cId="1191690117" sldId="261"/>
            <ac:spMk id="13" creationId="{D8F76857-639B-A84E-8A04-B50501672DF1}"/>
          </ac:spMkLst>
        </pc:spChg>
      </pc:sldChg>
    </pc:docChg>
  </pc:docChgLst>
  <pc:docChgLst>
    <pc:chgData name="Alan Luder (Valence Group Inc.)" userId="9f14a4d2-8b5c-4fb0-9a7b-d779ed5a424b" providerId="ADAL" clId="{CB793C73-2F9F-F146-A87A-3A49835A72DD}"/>
    <pc:docChg chg="undo redo custSel delSld modSld delMainMaster modMainMaster modSection">
      <pc:chgData name="Alan Luder (Valence Group Inc.)" userId="9f14a4d2-8b5c-4fb0-9a7b-d779ed5a424b" providerId="ADAL" clId="{CB793C73-2F9F-F146-A87A-3A49835A72DD}" dt="2021-05-26T18:51:51.629" v="674" actId="478"/>
      <pc:docMkLst>
        <pc:docMk/>
      </pc:docMkLst>
      <pc:sldChg chg="del">
        <pc:chgData name="Alan Luder (Valence Group Inc.)" userId="9f14a4d2-8b5c-4fb0-9a7b-d779ed5a424b" providerId="ADAL" clId="{CB793C73-2F9F-F146-A87A-3A49835A72DD}" dt="2021-05-26T18:35:45.602" v="637" actId="2696"/>
        <pc:sldMkLst>
          <pc:docMk/>
          <pc:sldMk cId="3283109790" sldId="258"/>
        </pc:sldMkLst>
      </pc:sldChg>
      <pc:sldChg chg="addSp delSp modSp mod modClrScheme chgLayout">
        <pc:chgData name="Alan Luder (Valence Group Inc.)" userId="9f14a4d2-8b5c-4fb0-9a7b-d779ed5a424b" providerId="ADAL" clId="{CB793C73-2F9F-F146-A87A-3A49835A72DD}" dt="2021-05-26T17:04:43.495" v="173" actId="14100"/>
        <pc:sldMkLst>
          <pc:docMk/>
          <pc:sldMk cId="2437152744" sldId="259"/>
        </pc:sldMkLst>
        <pc:spChg chg="add del mod ord">
          <ac:chgData name="Alan Luder (Valence Group Inc.)" userId="9f14a4d2-8b5c-4fb0-9a7b-d779ed5a424b" providerId="ADAL" clId="{CB793C73-2F9F-F146-A87A-3A49835A72DD}" dt="2021-05-26T16:38:16.258" v="108" actId="478"/>
          <ac:spMkLst>
            <pc:docMk/>
            <pc:sldMk cId="2437152744" sldId="259"/>
            <ac:spMk id="2" creationId="{B91D3CC4-AF5D-9742-8D1A-773FD7BE8333}"/>
          </ac:spMkLst>
        </pc:spChg>
        <pc:spChg chg="mod ord">
          <ac:chgData name="Alan Luder (Valence Group Inc.)" userId="9f14a4d2-8b5c-4fb0-9a7b-d779ed5a424b" providerId="ADAL" clId="{CB793C73-2F9F-F146-A87A-3A49835A72DD}" dt="2021-05-26T16:38:12.611" v="107" actId="700"/>
          <ac:spMkLst>
            <pc:docMk/>
            <pc:sldMk cId="2437152744" sldId="259"/>
            <ac:spMk id="77" creationId="{16158160-C34C-4B03-B182-5BF2DE5B2DD7}"/>
          </ac:spMkLst>
        </pc:spChg>
        <pc:spChg chg="mod">
          <ac:chgData name="Alan Luder (Valence Group Inc.)" userId="9f14a4d2-8b5c-4fb0-9a7b-d779ed5a424b" providerId="ADAL" clId="{CB793C73-2F9F-F146-A87A-3A49835A72DD}" dt="2021-05-26T17:03:58.020" v="166" actId="1076"/>
          <ac:spMkLst>
            <pc:docMk/>
            <pc:sldMk cId="2437152744" sldId="259"/>
            <ac:spMk id="201" creationId="{1E30E14A-1E30-408D-9B24-962AA0E52533}"/>
          </ac:spMkLst>
        </pc:spChg>
        <pc:spChg chg="mod">
          <ac:chgData name="Alan Luder (Valence Group Inc.)" userId="9f14a4d2-8b5c-4fb0-9a7b-d779ed5a424b" providerId="ADAL" clId="{CB793C73-2F9F-F146-A87A-3A49835A72DD}" dt="2021-05-26T17:04:06.963" v="167" actId="1076"/>
          <ac:spMkLst>
            <pc:docMk/>
            <pc:sldMk cId="2437152744" sldId="259"/>
            <ac:spMk id="204" creationId="{94899AC0-ED9A-450A-A9C5-50598D2C9407}"/>
          </ac:spMkLst>
        </pc:spChg>
        <pc:spChg chg="mod">
          <ac:chgData name="Alan Luder (Valence Group Inc.)" userId="9f14a4d2-8b5c-4fb0-9a7b-d779ed5a424b" providerId="ADAL" clId="{CB793C73-2F9F-F146-A87A-3A49835A72DD}" dt="2021-05-26T17:04:11.653" v="168" actId="1076"/>
          <ac:spMkLst>
            <pc:docMk/>
            <pc:sldMk cId="2437152744" sldId="259"/>
            <ac:spMk id="207" creationId="{DDD917A1-F80F-40A4-8238-C7BD811D8B9C}"/>
          </ac:spMkLst>
        </pc:spChg>
        <pc:spChg chg="mod">
          <ac:chgData name="Alan Luder (Valence Group Inc.)" userId="9f14a4d2-8b5c-4fb0-9a7b-d779ed5a424b" providerId="ADAL" clId="{CB793C73-2F9F-F146-A87A-3A49835A72DD}" dt="2021-05-26T17:04:25.551" v="171" actId="14100"/>
          <ac:spMkLst>
            <pc:docMk/>
            <pc:sldMk cId="2437152744" sldId="259"/>
            <ac:spMk id="213" creationId="{D942593B-7C95-4102-9405-DC69039DFCAA}"/>
          </ac:spMkLst>
        </pc:spChg>
        <pc:spChg chg="mod">
          <ac:chgData name="Alan Luder (Valence Group Inc.)" userId="9f14a4d2-8b5c-4fb0-9a7b-d779ed5a424b" providerId="ADAL" clId="{CB793C73-2F9F-F146-A87A-3A49835A72DD}" dt="2021-05-26T17:04:31.502" v="172" actId="14100"/>
          <ac:spMkLst>
            <pc:docMk/>
            <pc:sldMk cId="2437152744" sldId="259"/>
            <ac:spMk id="218" creationId="{A6B4ADD9-EA20-439A-98A0-1D90E84EE0DC}"/>
          </ac:spMkLst>
        </pc:spChg>
        <pc:spChg chg="mod">
          <ac:chgData name="Alan Luder (Valence Group Inc.)" userId="9f14a4d2-8b5c-4fb0-9a7b-d779ed5a424b" providerId="ADAL" clId="{CB793C73-2F9F-F146-A87A-3A49835A72DD}" dt="2021-05-26T17:04:43.495" v="173" actId="14100"/>
          <ac:spMkLst>
            <pc:docMk/>
            <pc:sldMk cId="2437152744" sldId="259"/>
            <ac:spMk id="223" creationId="{D7409AE0-13AA-44ED-B141-94B794913AFA}"/>
          </ac:spMkLst>
        </pc:spChg>
        <pc:grpChg chg="mod">
          <ac:chgData name="Alan Luder (Valence Group Inc.)" userId="9f14a4d2-8b5c-4fb0-9a7b-d779ed5a424b" providerId="ADAL" clId="{CB793C73-2F9F-F146-A87A-3A49835A72DD}" dt="2021-05-26T17:04:06.963" v="167" actId="1076"/>
          <ac:grpSpMkLst>
            <pc:docMk/>
            <pc:sldMk cId="2437152744" sldId="259"/>
            <ac:grpSpMk id="209" creationId="{1C8714F9-C46A-4FD1-B66B-DE8E6743664C}"/>
          </ac:grpSpMkLst>
        </pc:grpChg>
      </pc:sldChg>
      <pc:sldChg chg="addSp delSp modSp mod">
        <pc:chgData name="Alan Luder (Valence Group Inc.)" userId="9f14a4d2-8b5c-4fb0-9a7b-d779ed5a424b" providerId="ADAL" clId="{CB793C73-2F9F-F146-A87A-3A49835A72DD}" dt="2021-05-26T16:31:34.744" v="61" actId="20577"/>
        <pc:sldMkLst>
          <pc:docMk/>
          <pc:sldMk cId="1191690117" sldId="261"/>
        </pc:sldMkLst>
        <pc:spChg chg="add mod">
          <ac:chgData name="Alan Luder (Valence Group Inc.)" userId="9f14a4d2-8b5c-4fb0-9a7b-d779ed5a424b" providerId="ADAL" clId="{CB793C73-2F9F-F146-A87A-3A49835A72DD}" dt="2021-05-20T16:53:01.355" v="16" actId="767"/>
          <ac:spMkLst>
            <pc:docMk/>
            <pc:sldMk cId="1191690117" sldId="261"/>
            <ac:spMk id="2" creationId="{A20B8697-297E-1F47-A53A-DF6E5A07EECB}"/>
          </ac:spMkLst>
        </pc:spChg>
        <pc:spChg chg="mod">
          <ac:chgData name="Alan Luder (Valence Group Inc.)" userId="9f14a4d2-8b5c-4fb0-9a7b-d779ed5a424b" providerId="ADAL" clId="{CB793C73-2F9F-F146-A87A-3A49835A72DD}" dt="2021-05-20T16:53:45.847" v="24" actId="1076"/>
          <ac:spMkLst>
            <pc:docMk/>
            <pc:sldMk cId="1191690117" sldId="261"/>
            <ac:spMk id="11" creationId="{0DF1EA4B-C8D7-F34B-954C-9ADBD4844B2B}"/>
          </ac:spMkLst>
        </pc:spChg>
        <pc:spChg chg="mod">
          <ac:chgData name="Alan Luder (Valence Group Inc.)" userId="9f14a4d2-8b5c-4fb0-9a7b-d779ed5a424b" providerId="ADAL" clId="{CB793C73-2F9F-F146-A87A-3A49835A72DD}" dt="2021-05-26T16:31:34.744" v="61" actId="20577"/>
          <ac:spMkLst>
            <pc:docMk/>
            <pc:sldMk cId="1191690117" sldId="261"/>
            <ac:spMk id="13" creationId="{D8F76857-639B-A84E-8A04-B50501672DF1}"/>
          </ac:spMkLst>
        </pc:spChg>
        <pc:picChg chg="del mod modCrop">
          <ac:chgData name="Alan Luder (Valence Group Inc.)" userId="9f14a4d2-8b5c-4fb0-9a7b-d779ed5a424b" providerId="ADAL" clId="{CB793C73-2F9F-F146-A87A-3A49835A72DD}" dt="2021-05-20T17:03:24.702" v="44" actId="478"/>
          <ac:picMkLst>
            <pc:docMk/>
            <pc:sldMk cId="1191690117" sldId="261"/>
            <ac:picMk id="3" creationId="{CB1A308D-0D95-466E-B777-3873889CE648}"/>
          </ac:picMkLst>
        </pc:picChg>
        <pc:picChg chg="add mod modCrop">
          <ac:chgData name="Alan Luder (Valence Group Inc.)" userId="9f14a4d2-8b5c-4fb0-9a7b-d779ed5a424b" providerId="ADAL" clId="{CB793C73-2F9F-F146-A87A-3A49835A72DD}" dt="2021-05-20T17:04:30.406" v="59" actId="18131"/>
          <ac:picMkLst>
            <pc:docMk/>
            <pc:sldMk cId="1191690117" sldId="261"/>
            <ac:picMk id="5" creationId="{359ACAE8-D649-E84C-A0FD-0541ED6B7E5D}"/>
          </ac:picMkLst>
        </pc:picChg>
      </pc:sldChg>
      <pc:sldChg chg="addSp delSp modSp mod">
        <pc:chgData name="Alan Luder (Valence Group Inc.)" userId="9f14a4d2-8b5c-4fb0-9a7b-d779ed5a424b" providerId="ADAL" clId="{CB793C73-2F9F-F146-A87A-3A49835A72DD}" dt="2021-05-26T18:46:06.606" v="667" actId="1076"/>
        <pc:sldMkLst>
          <pc:docMk/>
          <pc:sldMk cId="4153297329" sldId="262"/>
        </pc:sldMkLst>
        <pc:spChg chg="add">
          <ac:chgData name="Alan Luder (Valence Group Inc.)" userId="9f14a4d2-8b5c-4fb0-9a7b-d779ed5a424b" providerId="ADAL" clId="{CB793C73-2F9F-F146-A87A-3A49835A72DD}" dt="2021-05-26T18:36:08.369" v="638" actId="22"/>
          <ac:spMkLst>
            <pc:docMk/>
            <pc:sldMk cId="4153297329" sldId="262"/>
            <ac:spMk id="2" creationId="{1221BD31-F014-084A-82BB-A5CAED99475E}"/>
          </ac:spMkLst>
        </pc:spChg>
        <pc:spChg chg="add del">
          <ac:chgData name="Alan Luder (Valence Group Inc.)" userId="9f14a4d2-8b5c-4fb0-9a7b-d779ed5a424b" providerId="ADAL" clId="{CB793C73-2F9F-F146-A87A-3A49835A72DD}" dt="2021-05-26T18:36:50.661" v="646" actId="478"/>
          <ac:spMkLst>
            <pc:docMk/>
            <pc:sldMk cId="4153297329" sldId="262"/>
            <ac:spMk id="3" creationId="{5E2BA83C-2EFE-3A4B-84CD-3583705D8180}"/>
          </ac:spMkLst>
        </pc:spChg>
        <pc:spChg chg="mod">
          <ac:chgData name="Alan Luder (Valence Group Inc.)" userId="9f14a4d2-8b5c-4fb0-9a7b-d779ed5a424b" providerId="ADAL" clId="{CB793C73-2F9F-F146-A87A-3A49835A72DD}" dt="2021-05-26T18:33:59.043" v="636" actId="1076"/>
          <ac:spMkLst>
            <pc:docMk/>
            <pc:sldMk cId="4153297329" sldId="262"/>
            <ac:spMk id="4" creationId="{C0294FDF-3910-424A-97FF-63A5E40896F4}"/>
          </ac:spMkLst>
        </pc:spChg>
        <pc:spChg chg="add del mod">
          <ac:chgData name="Alan Luder (Valence Group Inc.)" userId="9f14a4d2-8b5c-4fb0-9a7b-d779ed5a424b" providerId="ADAL" clId="{CB793C73-2F9F-F146-A87A-3A49835A72DD}" dt="2021-05-26T18:36:51.541" v="647" actId="478"/>
          <ac:spMkLst>
            <pc:docMk/>
            <pc:sldMk cId="4153297329" sldId="262"/>
            <ac:spMk id="13" creationId="{FD77B6A6-D99E-E341-97D0-279E03F6EEE8}"/>
          </ac:spMkLst>
        </pc:spChg>
        <pc:spChg chg="mod">
          <ac:chgData name="Alan Luder (Valence Group Inc.)" userId="9f14a4d2-8b5c-4fb0-9a7b-d779ed5a424b" providerId="ADAL" clId="{CB793C73-2F9F-F146-A87A-3A49835A72DD}" dt="2021-05-26T18:45:55.281" v="665" actId="20577"/>
          <ac:spMkLst>
            <pc:docMk/>
            <pc:sldMk cId="4153297329" sldId="262"/>
            <ac:spMk id="15" creationId="{635E1C08-1EE7-3F4C-B341-AE01E1B24518}"/>
          </ac:spMkLst>
        </pc:spChg>
        <pc:grpChg chg="del">
          <ac:chgData name="Alan Luder (Valence Group Inc.)" userId="9f14a4d2-8b5c-4fb0-9a7b-d779ed5a424b" providerId="ADAL" clId="{CB793C73-2F9F-F146-A87A-3A49835A72DD}" dt="2021-05-26T18:36:10.780" v="639" actId="478"/>
          <ac:grpSpMkLst>
            <pc:docMk/>
            <pc:sldMk cId="4153297329" sldId="262"/>
            <ac:grpSpMk id="5" creationId="{621AFCE9-3FE5-46B2-8D16-0003878B8AB5}"/>
          </ac:grpSpMkLst>
        </pc:grpChg>
        <pc:grpChg chg="add mod">
          <ac:chgData name="Alan Luder (Valence Group Inc.)" userId="9f14a4d2-8b5c-4fb0-9a7b-d779ed5a424b" providerId="ADAL" clId="{CB793C73-2F9F-F146-A87A-3A49835A72DD}" dt="2021-05-26T18:46:06.606" v="667" actId="1076"/>
          <ac:grpSpMkLst>
            <pc:docMk/>
            <pc:sldMk cId="4153297329" sldId="262"/>
            <ac:grpSpMk id="11" creationId="{0B106641-4CC3-C14D-8DB1-7B282FC8AC50}"/>
          </ac:grpSpMkLst>
        </pc:grpChg>
        <pc:grpChg chg="add mod">
          <ac:chgData name="Alan Luder (Valence Group Inc.)" userId="9f14a4d2-8b5c-4fb0-9a7b-d779ed5a424b" providerId="ADAL" clId="{CB793C73-2F9F-F146-A87A-3A49835A72DD}" dt="2021-05-26T18:46:06.606" v="667" actId="1076"/>
          <ac:grpSpMkLst>
            <pc:docMk/>
            <pc:sldMk cId="4153297329" sldId="262"/>
            <ac:grpSpMk id="14" creationId="{937959C2-F854-3A40-B462-D0BAED694C45}"/>
          </ac:grpSpMkLst>
        </pc:grpChg>
        <pc:picChg chg="add">
          <ac:chgData name="Alan Luder (Valence Group Inc.)" userId="9f14a4d2-8b5c-4fb0-9a7b-d779ed5a424b" providerId="ADAL" clId="{CB793C73-2F9F-F146-A87A-3A49835A72DD}" dt="2021-05-26T18:36:08.369" v="638" actId="22"/>
          <ac:picMkLst>
            <pc:docMk/>
            <pc:sldMk cId="4153297329" sldId="262"/>
            <ac:picMk id="10" creationId="{565B7FB5-53E7-8545-945C-A10A97E3F536}"/>
          </ac:picMkLst>
        </pc:picChg>
        <pc:picChg chg="mod">
          <ac:chgData name="Alan Luder (Valence Group Inc.)" userId="9f14a4d2-8b5c-4fb0-9a7b-d779ed5a424b" providerId="ADAL" clId="{CB793C73-2F9F-F146-A87A-3A49835A72DD}" dt="2021-05-26T18:45:40.531" v="648"/>
          <ac:picMkLst>
            <pc:docMk/>
            <pc:sldMk cId="4153297329" sldId="262"/>
            <ac:picMk id="16" creationId="{CFFE3799-F371-AB45-B680-92AC5F3E7FB8}"/>
          </ac:picMkLst>
        </pc:picChg>
      </pc:sldChg>
      <pc:sldChg chg="del">
        <pc:chgData name="Alan Luder (Valence Group Inc.)" userId="9f14a4d2-8b5c-4fb0-9a7b-d779ed5a424b" providerId="ADAL" clId="{CB793C73-2F9F-F146-A87A-3A49835A72DD}" dt="2021-05-26T18:35:45.602" v="637" actId="2696"/>
        <pc:sldMkLst>
          <pc:docMk/>
          <pc:sldMk cId="2353544625" sldId="263"/>
        </pc:sldMkLst>
      </pc:sldChg>
      <pc:sldChg chg="addSp delSp modSp mod chgLayout">
        <pc:chgData name="Alan Luder (Valence Group Inc.)" userId="9f14a4d2-8b5c-4fb0-9a7b-d779ed5a424b" providerId="ADAL" clId="{CB793C73-2F9F-F146-A87A-3A49835A72DD}" dt="2021-05-26T18:30:28.174" v="621" actId="1076"/>
        <pc:sldMkLst>
          <pc:docMk/>
          <pc:sldMk cId="510685341" sldId="265"/>
        </pc:sldMkLst>
        <pc:spChg chg="del">
          <ac:chgData name="Alan Luder (Valence Group Inc.)" userId="9f14a4d2-8b5c-4fb0-9a7b-d779ed5a424b" providerId="ADAL" clId="{CB793C73-2F9F-F146-A87A-3A49835A72DD}" dt="2021-05-26T18:29:59.667" v="612" actId="478"/>
          <ac:spMkLst>
            <pc:docMk/>
            <pc:sldMk cId="510685341" sldId="265"/>
            <ac:spMk id="2" creationId="{80EE6418-467C-4540-83DE-6339461AFDC4}"/>
          </ac:spMkLst>
        </pc:spChg>
        <pc:spChg chg="mod">
          <ac:chgData name="Alan Luder (Valence Group Inc.)" userId="9f14a4d2-8b5c-4fb0-9a7b-d779ed5a424b" providerId="ADAL" clId="{CB793C73-2F9F-F146-A87A-3A49835A72DD}" dt="2021-05-26T18:30:28.174" v="621" actId="1076"/>
          <ac:spMkLst>
            <pc:docMk/>
            <pc:sldMk cId="510685341" sldId="265"/>
            <ac:spMk id="3" creationId="{CD44D8D1-46DC-4F67-9BFB-470F829F7DDD}"/>
          </ac:spMkLst>
        </pc:spChg>
        <pc:spChg chg="add del mod">
          <ac:chgData name="Alan Luder (Valence Group Inc.)" userId="9f14a4d2-8b5c-4fb0-9a7b-d779ed5a424b" providerId="ADAL" clId="{CB793C73-2F9F-F146-A87A-3A49835A72DD}" dt="2021-05-26T18:30:01.422" v="613" actId="478"/>
          <ac:spMkLst>
            <pc:docMk/>
            <pc:sldMk cId="510685341" sldId="265"/>
            <ac:spMk id="6" creationId="{5101AAEA-B711-7046-B382-C195270FBF6B}"/>
          </ac:spMkLst>
        </pc:spChg>
        <pc:spChg chg="add del mod ord">
          <ac:chgData name="Alan Luder (Valence Group Inc.)" userId="9f14a4d2-8b5c-4fb0-9a7b-d779ed5a424b" providerId="ADAL" clId="{CB793C73-2F9F-F146-A87A-3A49835A72DD}" dt="2021-05-26T18:30:06.032" v="615" actId="478"/>
          <ac:spMkLst>
            <pc:docMk/>
            <pc:sldMk cId="510685341" sldId="265"/>
            <ac:spMk id="7" creationId="{83C4A968-FE51-B749-8113-95F26B1BD09F}"/>
          </ac:spMkLst>
        </pc:spChg>
        <pc:picChg chg="mod">
          <ac:chgData name="Alan Luder (Valence Group Inc.)" userId="9f14a4d2-8b5c-4fb0-9a7b-d779ed5a424b" providerId="ADAL" clId="{CB793C73-2F9F-F146-A87A-3A49835A72DD}" dt="2021-05-26T18:30:17.734" v="618" actId="1076"/>
          <ac:picMkLst>
            <pc:docMk/>
            <pc:sldMk cId="510685341" sldId="265"/>
            <ac:picMk id="5" creationId="{C31D85BA-4757-4CB2-82FC-493545D5283B}"/>
          </ac:picMkLst>
        </pc:picChg>
      </pc:sldChg>
      <pc:sldChg chg="addSp delSp modSp mod modClrScheme chgLayout">
        <pc:chgData name="Alan Luder (Valence Group Inc.)" userId="9f14a4d2-8b5c-4fb0-9a7b-d779ed5a424b" providerId="ADAL" clId="{CB793C73-2F9F-F146-A87A-3A49835A72DD}" dt="2021-05-26T17:17:46.068" v="272" actId="14100"/>
        <pc:sldMkLst>
          <pc:docMk/>
          <pc:sldMk cId="636219663" sldId="2076137511"/>
        </pc:sldMkLst>
        <pc:spChg chg="add del mod ord">
          <ac:chgData name="Alan Luder (Valence Group Inc.)" userId="9f14a4d2-8b5c-4fb0-9a7b-d779ed5a424b" providerId="ADAL" clId="{CB793C73-2F9F-F146-A87A-3A49835A72DD}" dt="2021-05-26T17:10:31.114" v="220" actId="478"/>
          <ac:spMkLst>
            <pc:docMk/>
            <pc:sldMk cId="636219663" sldId="2076137511"/>
            <ac:spMk id="2" creationId="{C24C6B39-C04A-7C47-B921-7FD1DDE07B1E}"/>
          </ac:spMkLst>
        </pc:spChg>
        <pc:spChg chg="add del mod ord">
          <ac:chgData name="Alan Luder (Valence Group Inc.)" userId="9f14a4d2-8b5c-4fb0-9a7b-d779ed5a424b" providerId="ADAL" clId="{CB793C73-2F9F-F146-A87A-3A49835A72DD}" dt="2021-05-26T17:10:49.632" v="225" actId="478"/>
          <ac:spMkLst>
            <pc:docMk/>
            <pc:sldMk cId="636219663" sldId="2076137511"/>
            <ac:spMk id="3" creationId="{C0E33825-117D-9F46-94D8-685D4A18EA4E}"/>
          </ac:spMkLst>
        </pc:spChg>
        <pc:spChg chg="mod">
          <ac:chgData name="Alan Luder (Valence Group Inc.)" userId="9f14a4d2-8b5c-4fb0-9a7b-d779ed5a424b" providerId="ADAL" clId="{CB793C73-2F9F-F146-A87A-3A49835A72DD}" dt="2021-05-26T17:10:45.595" v="224" actId="14100"/>
          <ac:spMkLst>
            <pc:docMk/>
            <pc:sldMk cId="636219663" sldId="2076137511"/>
            <ac:spMk id="65" creationId="{8321E0B3-3D90-4CE2-BF08-F6D8F757EA94}"/>
          </ac:spMkLst>
        </pc:spChg>
        <pc:spChg chg="mod">
          <ac:chgData name="Alan Luder (Valence Group Inc.)" userId="9f14a4d2-8b5c-4fb0-9a7b-d779ed5a424b" providerId="ADAL" clId="{CB793C73-2F9F-F146-A87A-3A49835A72DD}" dt="2021-05-26T17:13:48.248" v="229" actId="14100"/>
          <ac:spMkLst>
            <pc:docMk/>
            <pc:sldMk cId="636219663" sldId="2076137511"/>
            <ac:spMk id="66" creationId="{0E59B5B8-0465-4864-BEC8-8CC46E06E594}"/>
          </ac:spMkLst>
        </pc:spChg>
        <pc:spChg chg="mod">
          <ac:chgData name="Alan Luder (Valence Group Inc.)" userId="9f14a4d2-8b5c-4fb0-9a7b-d779ed5a424b" providerId="ADAL" clId="{CB793C73-2F9F-F146-A87A-3A49835A72DD}" dt="2021-05-26T17:13:58.001" v="232" actId="14100"/>
          <ac:spMkLst>
            <pc:docMk/>
            <pc:sldMk cId="636219663" sldId="2076137511"/>
            <ac:spMk id="67" creationId="{E3A5041E-E463-4CD0-BF35-E7D85F464B90}"/>
          </ac:spMkLst>
        </pc:spChg>
        <pc:spChg chg="mod">
          <ac:chgData name="Alan Luder (Valence Group Inc.)" userId="9f14a4d2-8b5c-4fb0-9a7b-d779ed5a424b" providerId="ADAL" clId="{CB793C73-2F9F-F146-A87A-3A49835A72DD}" dt="2021-05-26T17:15:31.262" v="246" actId="1076"/>
          <ac:spMkLst>
            <pc:docMk/>
            <pc:sldMk cId="636219663" sldId="2076137511"/>
            <ac:spMk id="68" creationId="{B0EB1430-1A71-42B9-8A31-0FB8B96436C8}"/>
          </ac:spMkLst>
        </pc:spChg>
        <pc:spChg chg="mod">
          <ac:chgData name="Alan Luder (Valence Group Inc.)" userId="9f14a4d2-8b5c-4fb0-9a7b-d779ed5a424b" providerId="ADAL" clId="{CB793C73-2F9F-F146-A87A-3A49835A72DD}" dt="2021-05-26T17:15:21.761" v="245" actId="14100"/>
          <ac:spMkLst>
            <pc:docMk/>
            <pc:sldMk cId="636219663" sldId="2076137511"/>
            <ac:spMk id="69" creationId="{8EA92DED-3397-4BD7-A8B6-08B079EE7956}"/>
          </ac:spMkLst>
        </pc:spChg>
        <pc:spChg chg="mod">
          <ac:chgData name="Alan Luder (Valence Group Inc.)" userId="9f14a4d2-8b5c-4fb0-9a7b-d779ed5a424b" providerId="ADAL" clId="{CB793C73-2F9F-F146-A87A-3A49835A72DD}" dt="2021-05-26T17:17:24.447" v="265" actId="14100"/>
          <ac:spMkLst>
            <pc:docMk/>
            <pc:sldMk cId="636219663" sldId="2076137511"/>
            <ac:spMk id="76" creationId="{7F05778E-4C03-43DC-8F1F-D8DD370E8EE5}"/>
          </ac:spMkLst>
        </pc:spChg>
        <pc:spChg chg="mod">
          <ac:chgData name="Alan Luder (Valence Group Inc.)" userId="9f14a4d2-8b5c-4fb0-9a7b-d779ed5a424b" providerId="ADAL" clId="{CB793C73-2F9F-F146-A87A-3A49835A72DD}" dt="2021-05-26T17:17:34.302" v="269" actId="14100"/>
          <ac:spMkLst>
            <pc:docMk/>
            <pc:sldMk cId="636219663" sldId="2076137511"/>
            <ac:spMk id="77" creationId="{7B455775-61E9-4B87-A657-7CE7D30F6056}"/>
          </ac:spMkLst>
        </pc:spChg>
        <pc:spChg chg="mod">
          <ac:chgData name="Alan Luder (Valence Group Inc.)" userId="9f14a4d2-8b5c-4fb0-9a7b-d779ed5a424b" providerId="ADAL" clId="{CB793C73-2F9F-F146-A87A-3A49835A72DD}" dt="2021-05-26T17:14:20.278" v="235" actId="1076"/>
          <ac:spMkLst>
            <pc:docMk/>
            <pc:sldMk cId="636219663" sldId="2076137511"/>
            <ac:spMk id="78" creationId="{896B26C0-9C2D-4587-BD6D-6F7AA4D17BB5}"/>
          </ac:spMkLst>
        </pc:spChg>
        <pc:spChg chg="mod">
          <ac:chgData name="Alan Luder (Valence Group Inc.)" userId="9f14a4d2-8b5c-4fb0-9a7b-d779ed5a424b" providerId="ADAL" clId="{CB793C73-2F9F-F146-A87A-3A49835A72DD}" dt="2021-05-26T17:14:20.278" v="235" actId="1076"/>
          <ac:spMkLst>
            <pc:docMk/>
            <pc:sldMk cId="636219663" sldId="2076137511"/>
            <ac:spMk id="79" creationId="{18AA9DC8-F944-4B1B-A1E2-F21661DA54B1}"/>
          </ac:spMkLst>
        </pc:spChg>
        <pc:spChg chg="mod">
          <ac:chgData name="Alan Luder (Valence Group Inc.)" userId="9f14a4d2-8b5c-4fb0-9a7b-d779ed5a424b" providerId="ADAL" clId="{CB793C73-2F9F-F146-A87A-3A49835A72DD}" dt="2021-05-26T17:15:42.099" v="247" actId="1076"/>
          <ac:spMkLst>
            <pc:docMk/>
            <pc:sldMk cId="636219663" sldId="2076137511"/>
            <ac:spMk id="80" creationId="{DCAF690A-A1A9-429D-8313-A633F7BC59E4}"/>
          </ac:spMkLst>
        </pc:spChg>
        <pc:spChg chg="mod">
          <ac:chgData name="Alan Luder (Valence Group Inc.)" userId="9f14a4d2-8b5c-4fb0-9a7b-d779ed5a424b" providerId="ADAL" clId="{CB793C73-2F9F-F146-A87A-3A49835A72DD}" dt="2021-05-26T17:15:50.784" v="250" actId="1076"/>
          <ac:spMkLst>
            <pc:docMk/>
            <pc:sldMk cId="636219663" sldId="2076137511"/>
            <ac:spMk id="81" creationId="{94F6D2A0-66B8-44E0-964A-BD8D192E6503}"/>
          </ac:spMkLst>
        </pc:spChg>
        <pc:spChg chg="mod">
          <ac:chgData name="Alan Luder (Valence Group Inc.)" userId="9f14a4d2-8b5c-4fb0-9a7b-d779ed5a424b" providerId="ADAL" clId="{CB793C73-2F9F-F146-A87A-3A49835A72DD}" dt="2021-05-26T17:14:20.278" v="235" actId="1076"/>
          <ac:spMkLst>
            <pc:docMk/>
            <pc:sldMk cId="636219663" sldId="2076137511"/>
            <ac:spMk id="82" creationId="{B1BD8B53-769F-4ED0-8558-02B1CF53D842}"/>
          </ac:spMkLst>
        </pc:spChg>
        <pc:spChg chg="mod">
          <ac:chgData name="Alan Luder (Valence Group Inc.)" userId="9f14a4d2-8b5c-4fb0-9a7b-d779ed5a424b" providerId="ADAL" clId="{CB793C73-2F9F-F146-A87A-3A49835A72DD}" dt="2021-05-26T17:14:20.278" v="235" actId="1076"/>
          <ac:spMkLst>
            <pc:docMk/>
            <pc:sldMk cId="636219663" sldId="2076137511"/>
            <ac:spMk id="83" creationId="{69BC6472-C9B8-4077-BBF7-EFC5A9A18EA6}"/>
          </ac:spMkLst>
        </pc:spChg>
        <pc:spChg chg="mod">
          <ac:chgData name="Alan Luder (Valence Group Inc.)" userId="9f14a4d2-8b5c-4fb0-9a7b-d779ed5a424b" providerId="ADAL" clId="{CB793C73-2F9F-F146-A87A-3A49835A72DD}" dt="2021-05-26T17:14:20.278" v="235" actId="1076"/>
          <ac:spMkLst>
            <pc:docMk/>
            <pc:sldMk cId="636219663" sldId="2076137511"/>
            <ac:spMk id="84" creationId="{A77BA675-3A13-4C68-90BB-78BB9C8CE2BF}"/>
          </ac:spMkLst>
        </pc:spChg>
        <pc:spChg chg="mod">
          <ac:chgData name="Alan Luder (Valence Group Inc.)" userId="9f14a4d2-8b5c-4fb0-9a7b-d779ed5a424b" providerId="ADAL" clId="{CB793C73-2F9F-F146-A87A-3A49835A72DD}" dt="2021-05-26T17:15:58.637" v="251" actId="1076"/>
          <ac:spMkLst>
            <pc:docMk/>
            <pc:sldMk cId="636219663" sldId="2076137511"/>
            <ac:spMk id="88" creationId="{3171191B-2A7D-4738-AE13-2DEACD5C36B4}"/>
          </ac:spMkLst>
        </pc:spChg>
        <pc:spChg chg="mod">
          <ac:chgData name="Alan Luder (Valence Group Inc.)" userId="9f14a4d2-8b5c-4fb0-9a7b-d779ed5a424b" providerId="ADAL" clId="{CB793C73-2F9F-F146-A87A-3A49835A72DD}" dt="2021-05-26T17:14:41.437" v="239" actId="1076"/>
          <ac:spMkLst>
            <pc:docMk/>
            <pc:sldMk cId="636219663" sldId="2076137511"/>
            <ac:spMk id="91" creationId="{C1580704-47BC-44D0-A5EB-FF944C3C1C17}"/>
          </ac:spMkLst>
        </pc:spChg>
        <pc:spChg chg="mod">
          <ac:chgData name="Alan Luder (Valence Group Inc.)" userId="9f14a4d2-8b5c-4fb0-9a7b-d779ed5a424b" providerId="ADAL" clId="{CB793C73-2F9F-F146-A87A-3A49835A72DD}" dt="2021-05-26T17:13:40.009" v="227" actId="1076"/>
          <ac:spMkLst>
            <pc:docMk/>
            <pc:sldMk cId="636219663" sldId="2076137511"/>
            <ac:spMk id="92" creationId="{5ED78EBF-DDDD-44D7-9838-1EFCFB7E75FC}"/>
          </ac:spMkLst>
        </pc:spChg>
        <pc:spChg chg="mod">
          <ac:chgData name="Alan Luder (Valence Group Inc.)" userId="9f14a4d2-8b5c-4fb0-9a7b-d779ed5a424b" providerId="ADAL" clId="{CB793C73-2F9F-F146-A87A-3A49835A72DD}" dt="2021-05-26T17:10:23.658" v="218" actId="1076"/>
          <ac:spMkLst>
            <pc:docMk/>
            <pc:sldMk cId="636219663" sldId="2076137511"/>
            <ac:spMk id="94" creationId="{17495A5D-9E74-46E5-B164-CFC0A7258026}"/>
          </ac:spMkLst>
        </pc:spChg>
        <pc:spChg chg="mod">
          <ac:chgData name="Alan Luder (Valence Group Inc.)" userId="9f14a4d2-8b5c-4fb0-9a7b-d779ed5a424b" providerId="ADAL" clId="{CB793C73-2F9F-F146-A87A-3A49835A72DD}" dt="2021-05-26T17:10:23.658" v="218" actId="1076"/>
          <ac:spMkLst>
            <pc:docMk/>
            <pc:sldMk cId="636219663" sldId="2076137511"/>
            <ac:spMk id="96" creationId="{586F44F0-AA35-45A5-A50B-6D0CC005C6DB}"/>
          </ac:spMkLst>
        </pc:spChg>
        <pc:spChg chg="mod">
          <ac:chgData name="Alan Luder (Valence Group Inc.)" userId="9f14a4d2-8b5c-4fb0-9a7b-d779ed5a424b" providerId="ADAL" clId="{CB793C73-2F9F-F146-A87A-3A49835A72DD}" dt="2021-05-26T17:10:23.658" v="218" actId="1076"/>
          <ac:spMkLst>
            <pc:docMk/>
            <pc:sldMk cId="636219663" sldId="2076137511"/>
            <ac:spMk id="97" creationId="{38601C6D-2114-4837-A90D-A0CA89556922}"/>
          </ac:spMkLst>
        </pc:spChg>
        <pc:spChg chg="mod">
          <ac:chgData name="Alan Luder (Valence Group Inc.)" userId="9f14a4d2-8b5c-4fb0-9a7b-d779ed5a424b" providerId="ADAL" clId="{CB793C73-2F9F-F146-A87A-3A49835A72DD}" dt="2021-05-26T17:10:23.658" v="218" actId="1076"/>
          <ac:spMkLst>
            <pc:docMk/>
            <pc:sldMk cId="636219663" sldId="2076137511"/>
            <ac:spMk id="98" creationId="{D8B2EB1C-29ED-4A39-92DD-E7BC20E00670}"/>
          </ac:spMkLst>
        </pc:spChg>
        <pc:spChg chg="mod">
          <ac:chgData name="Alan Luder (Valence Group Inc.)" userId="9f14a4d2-8b5c-4fb0-9a7b-d779ed5a424b" providerId="ADAL" clId="{CB793C73-2F9F-F146-A87A-3A49835A72DD}" dt="2021-05-26T17:10:23.658" v="218" actId="1076"/>
          <ac:spMkLst>
            <pc:docMk/>
            <pc:sldMk cId="636219663" sldId="2076137511"/>
            <ac:spMk id="99" creationId="{28D7A8A0-3445-4B97-B0D1-B25531276247}"/>
          </ac:spMkLst>
        </pc:spChg>
        <pc:spChg chg="mod">
          <ac:chgData name="Alan Luder (Valence Group Inc.)" userId="9f14a4d2-8b5c-4fb0-9a7b-d779ed5a424b" providerId="ADAL" clId="{CB793C73-2F9F-F146-A87A-3A49835A72DD}" dt="2021-05-26T17:10:23.658" v="218" actId="1076"/>
          <ac:spMkLst>
            <pc:docMk/>
            <pc:sldMk cId="636219663" sldId="2076137511"/>
            <ac:spMk id="100" creationId="{383F1D1E-6AB1-4ED2-8163-8080B413753D}"/>
          </ac:spMkLst>
        </pc:spChg>
        <pc:spChg chg="mod">
          <ac:chgData name="Alan Luder (Valence Group Inc.)" userId="9f14a4d2-8b5c-4fb0-9a7b-d779ed5a424b" providerId="ADAL" clId="{CB793C73-2F9F-F146-A87A-3A49835A72DD}" dt="2021-05-26T17:10:23.658" v="218" actId="1076"/>
          <ac:spMkLst>
            <pc:docMk/>
            <pc:sldMk cId="636219663" sldId="2076137511"/>
            <ac:spMk id="103" creationId="{A7D650F0-2531-43A2-9AD7-C9832098FB7F}"/>
          </ac:spMkLst>
        </pc:spChg>
        <pc:spChg chg="mod">
          <ac:chgData name="Alan Luder (Valence Group Inc.)" userId="9f14a4d2-8b5c-4fb0-9a7b-d779ed5a424b" providerId="ADAL" clId="{CB793C73-2F9F-F146-A87A-3A49835A72DD}" dt="2021-05-26T17:10:23.658" v="218" actId="1076"/>
          <ac:spMkLst>
            <pc:docMk/>
            <pc:sldMk cId="636219663" sldId="2076137511"/>
            <ac:spMk id="105" creationId="{308E9E81-BD7D-4540-9A08-12CF9BF6A26C}"/>
          </ac:spMkLst>
        </pc:spChg>
        <pc:spChg chg="mod">
          <ac:chgData name="Alan Luder (Valence Group Inc.)" userId="9f14a4d2-8b5c-4fb0-9a7b-d779ed5a424b" providerId="ADAL" clId="{CB793C73-2F9F-F146-A87A-3A49835A72DD}" dt="2021-05-26T17:10:23.658" v="218" actId="1076"/>
          <ac:spMkLst>
            <pc:docMk/>
            <pc:sldMk cId="636219663" sldId="2076137511"/>
            <ac:spMk id="106" creationId="{1AC0FEA9-874D-4632-A992-B63A231317DC}"/>
          </ac:spMkLst>
        </pc:spChg>
        <pc:spChg chg="mod">
          <ac:chgData name="Alan Luder (Valence Group Inc.)" userId="9f14a4d2-8b5c-4fb0-9a7b-d779ed5a424b" providerId="ADAL" clId="{CB793C73-2F9F-F146-A87A-3A49835A72DD}" dt="2021-05-26T17:10:23.658" v="218" actId="1076"/>
          <ac:spMkLst>
            <pc:docMk/>
            <pc:sldMk cId="636219663" sldId="2076137511"/>
            <ac:spMk id="107" creationId="{8800749A-D154-4114-A793-0B748CC4989A}"/>
          </ac:spMkLst>
        </pc:spChg>
        <pc:spChg chg="mod">
          <ac:chgData name="Alan Luder (Valence Group Inc.)" userId="9f14a4d2-8b5c-4fb0-9a7b-d779ed5a424b" providerId="ADAL" clId="{CB793C73-2F9F-F146-A87A-3A49835A72DD}" dt="2021-05-26T17:10:23.658" v="218" actId="1076"/>
          <ac:spMkLst>
            <pc:docMk/>
            <pc:sldMk cId="636219663" sldId="2076137511"/>
            <ac:spMk id="108" creationId="{4D8C8206-7215-4011-AE03-BA5ACA3A6C70}"/>
          </ac:spMkLst>
        </pc:spChg>
        <pc:spChg chg="mod">
          <ac:chgData name="Alan Luder (Valence Group Inc.)" userId="9f14a4d2-8b5c-4fb0-9a7b-d779ed5a424b" providerId="ADAL" clId="{CB793C73-2F9F-F146-A87A-3A49835A72DD}" dt="2021-05-26T17:10:23.658" v="218" actId="1076"/>
          <ac:spMkLst>
            <pc:docMk/>
            <pc:sldMk cId="636219663" sldId="2076137511"/>
            <ac:spMk id="109" creationId="{30F05F2E-FE50-49FB-B4B0-50CB22414EB5}"/>
          </ac:spMkLst>
        </pc:spChg>
        <pc:spChg chg="mod">
          <ac:chgData name="Alan Luder (Valence Group Inc.)" userId="9f14a4d2-8b5c-4fb0-9a7b-d779ed5a424b" providerId="ADAL" clId="{CB793C73-2F9F-F146-A87A-3A49835A72DD}" dt="2021-05-26T17:10:23.658" v="218" actId="1076"/>
          <ac:spMkLst>
            <pc:docMk/>
            <pc:sldMk cId="636219663" sldId="2076137511"/>
            <ac:spMk id="110" creationId="{7CE69CB8-1DEE-4990-804D-3BB5B4A7AD2B}"/>
          </ac:spMkLst>
        </pc:spChg>
        <pc:spChg chg="mod">
          <ac:chgData name="Alan Luder (Valence Group Inc.)" userId="9f14a4d2-8b5c-4fb0-9a7b-d779ed5a424b" providerId="ADAL" clId="{CB793C73-2F9F-F146-A87A-3A49835A72DD}" dt="2021-05-26T17:10:23.658" v="218" actId="1076"/>
          <ac:spMkLst>
            <pc:docMk/>
            <pc:sldMk cId="636219663" sldId="2076137511"/>
            <ac:spMk id="111" creationId="{400C6B08-CC1B-4A9F-8AAB-387C22D02E98}"/>
          </ac:spMkLst>
        </pc:spChg>
        <pc:spChg chg="mod">
          <ac:chgData name="Alan Luder (Valence Group Inc.)" userId="9f14a4d2-8b5c-4fb0-9a7b-d779ed5a424b" providerId="ADAL" clId="{CB793C73-2F9F-F146-A87A-3A49835A72DD}" dt="2021-05-26T17:10:23.658" v="218" actId="1076"/>
          <ac:spMkLst>
            <pc:docMk/>
            <pc:sldMk cId="636219663" sldId="2076137511"/>
            <ac:spMk id="112" creationId="{5111180D-3A21-40AC-AD2F-D3E57A2ACD2C}"/>
          </ac:spMkLst>
        </pc:spChg>
        <pc:spChg chg="mod">
          <ac:chgData name="Alan Luder (Valence Group Inc.)" userId="9f14a4d2-8b5c-4fb0-9a7b-d779ed5a424b" providerId="ADAL" clId="{CB793C73-2F9F-F146-A87A-3A49835A72DD}" dt="2021-05-26T17:10:23.658" v="218" actId="1076"/>
          <ac:spMkLst>
            <pc:docMk/>
            <pc:sldMk cId="636219663" sldId="2076137511"/>
            <ac:spMk id="113" creationId="{E328E853-4C0D-4F9F-AC54-0121E5B8EF4C}"/>
          </ac:spMkLst>
        </pc:spChg>
        <pc:spChg chg="mod">
          <ac:chgData name="Alan Luder (Valence Group Inc.)" userId="9f14a4d2-8b5c-4fb0-9a7b-d779ed5a424b" providerId="ADAL" clId="{CB793C73-2F9F-F146-A87A-3A49835A72DD}" dt="2021-05-26T17:10:23.658" v="218" actId="1076"/>
          <ac:spMkLst>
            <pc:docMk/>
            <pc:sldMk cId="636219663" sldId="2076137511"/>
            <ac:spMk id="114" creationId="{8AC92562-D9D0-4520-A2A2-727DAFA1BB19}"/>
          </ac:spMkLst>
        </pc:spChg>
        <pc:spChg chg="mod">
          <ac:chgData name="Alan Luder (Valence Group Inc.)" userId="9f14a4d2-8b5c-4fb0-9a7b-d779ed5a424b" providerId="ADAL" clId="{CB793C73-2F9F-F146-A87A-3A49835A72DD}" dt="2021-05-26T17:10:23.658" v="218" actId="1076"/>
          <ac:spMkLst>
            <pc:docMk/>
            <pc:sldMk cId="636219663" sldId="2076137511"/>
            <ac:spMk id="116" creationId="{062AEE54-2F82-42F3-981A-1C9263FA3803}"/>
          </ac:spMkLst>
        </pc:spChg>
        <pc:spChg chg="mod">
          <ac:chgData name="Alan Luder (Valence Group Inc.)" userId="9f14a4d2-8b5c-4fb0-9a7b-d779ed5a424b" providerId="ADAL" clId="{CB793C73-2F9F-F146-A87A-3A49835A72DD}" dt="2021-05-26T17:14:53.170" v="242" actId="1076"/>
          <ac:spMkLst>
            <pc:docMk/>
            <pc:sldMk cId="636219663" sldId="2076137511"/>
            <ac:spMk id="118" creationId="{B39B662D-30CB-4E29-B73C-10719A2D47C3}"/>
          </ac:spMkLst>
        </pc:spChg>
        <pc:spChg chg="mod">
          <ac:chgData name="Alan Luder (Valence Group Inc.)" userId="9f14a4d2-8b5c-4fb0-9a7b-d779ed5a424b" providerId="ADAL" clId="{CB793C73-2F9F-F146-A87A-3A49835A72DD}" dt="2021-05-26T17:14:57.424" v="243" actId="1076"/>
          <ac:spMkLst>
            <pc:docMk/>
            <pc:sldMk cId="636219663" sldId="2076137511"/>
            <ac:spMk id="120" creationId="{34C05B09-9119-4EB8-95D1-1B17B2E8CFEC}"/>
          </ac:spMkLst>
        </pc:spChg>
        <pc:spChg chg="mod">
          <ac:chgData name="Alan Luder (Valence Group Inc.)" userId="9f14a4d2-8b5c-4fb0-9a7b-d779ed5a424b" providerId="ADAL" clId="{CB793C73-2F9F-F146-A87A-3A49835A72DD}" dt="2021-05-26T17:17:29.642" v="267" actId="1076"/>
          <ac:spMkLst>
            <pc:docMk/>
            <pc:sldMk cId="636219663" sldId="2076137511"/>
            <ac:spMk id="123" creationId="{92CC3FC2-A3A1-4AD6-9FD2-77A08238A7AE}"/>
          </ac:spMkLst>
        </pc:spChg>
        <pc:spChg chg="mod">
          <ac:chgData name="Alan Luder (Valence Group Inc.)" userId="9f14a4d2-8b5c-4fb0-9a7b-d779ed5a424b" providerId="ADAL" clId="{CB793C73-2F9F-F146-A87A-3A49835A72DD}" dt="2021-05-26T17:17:42.895" v="271" actId="14100"/>
          <ac:spMkLst>
            <pc:docMk/>
            <pc:sldMk cId="636219663" sldId="2076137511"/>
            <ac:spMk id="125" creationId="{3B493694-1CDF-4D7A-8BFF-7886FCACF651}"/>
          </ac:spMkLst>
        </pc:spChg>
        <pc:spChg chg="mod">
          <ac:chgData name="Alan Luder (Valence Group Inc.)" userId="9f14a4d2-8b5c-4fb0-9a7b-d779ed5a424b" providerId="ADAL" clId="{CB793C73-2F9F-F146-A87A-3A49835A72DD}" dt="2021-05-26T17:17:46.068" v="272" actId="14100"/>
          <ac:spMkLst>
            <pc:docMk/>
            <pc:sldMk cId="636219663" sldId="2076137511"/>
            <ac:spMk id="126" creationId="{B4B91FA4-ADBE-45B9-B0E3-33951348AC34}"/>
          </ac:spMkLst>
        </pc:spChg>
        <pc:spChg chg="mod">
          <ac:chgData name="Alan Luder (Valence Group Inc.)" userId="9f14a4d2-8b5c-4fb0-9a7b-d779ed5a424b" providerId="ADAL" clId="{CB793C73-2F9F-F146-A87A-3A49835A72DD}" dt="2021-05-26T17:15:13.862" v="244" actId="1076"/>
          <ac:spMkLst>
            <pc:docMk/>
            <pc:sldMk cId="636219663" sldId="2076137511"/>
            <ac:spMk id="127" creationId="{010142F7-C80E-4234-9A70-12905BFCC04B}"/>
          </ac:spMkLst>
        </pc:spChg>
        <pc:grpChg chg="mod">
          <ac:chgData name="Alan Luder (Valence Group Inc.)" userId="9f14a4d2-8b5c-4fb0-9a7b-d779ed5a424b" providerId="ADAL" clId="{CB793C73-2F9F-F146-A87A-3A49835A72DD}" dt="2021-05-26T17:14:32.733" v="237" actId="1076"/>
          <ac:grpSpMkLst>
            <pc:docMk/>
            <pc:sldMk cId="636219663" sldId="2076137511"/>
            <ac:grpSpMk id="93" creationId="{D584B007-5128-42A5-BB1F-849FAC2EB5FB}"/>
          </ac:grpSpMkLst>
        </pc:grpChg>
        <pc:grpChg chg="mod">
          <ac:chgData name="Alan Luder (Valence Group Inc.)" userId="9f14a4d2-8b5c-4fb0-9a7b-d779ed5a424b" providerId="ADAL" clId="{CB793C73-2F9F-F146-A87A-3A49835A72DD}" dt="2021-05-26T17:10:23.658" v="218" actId="1076"/>
          <ac:grpSpMkLst>
            <pc:docMk/>
            <pc:sldMk cId="636219663" sldId="2076137511"/>
            <ac:grpSpMk id="95" creationId="{732B88F7-7244-41A9-9085-4FC7FD551F04}"/>
          </ac:grpSpMkLst>
        </pc:grpChg>
        <pc:grpChg chg="mod">
          <ac:chgData name="Alan Luder (Valence Group Inc.)" userId="9f14a4d2-8b5c-4fb0-9a7b-d779ed5a424b" providerId="ADAL" clId="{CB793C73-2F9F-F146-A87A-3A49835A72DD}" dt="2021-05-26T17:13:53.589" v="231" actId="1076"/>
          <ac:grpSpMkLst>
            <pc:docMk/>
            <pc:sldMk cId="636219663" sldId="2076137511"/>
            <ac:grpSpMk id="102" creationId="{753FCA57-2B32-4610-B47A-9FF205E53A7F}"/>
          </ac:grpSpMkLst>
        </pc:grpChg>
        <pc:grpChg chg="mod">
          <ac:chgData name="Alan Luder (Valence Group Inc.)" userId="9f14a4d2-8b5c-4fb0-9a7b-d779ed5a424b" providerId="ADAL" clId="{CB793C73-2F9F-F146-A87A-3A49835A72DD}" dt="2021-05-26T17:10:23.658" v="218" actId="1076"/>
          <ac:grpSpMkLst>
            <pc:docMk/>
            <pc:sldMk cId="636219663" sldId="2076137511"/>
            <ac:grpSpMk id="104" creationId="{D8675F19-56C8-4111-8994-1B1CE85EE519}"/>
          </ac:grpSpMkLst>
        </pc:grpChg>
        <pc:picChg chg="mod">
          <ac:chgData name="Alan Luder (Valence Group Inc.)" userId="9f14a4d2-8b5c-4fb0-9a7b-d779ed5a424b" providerId="ADAL" clId="{CB793C73-2F9F-F146-A87A-3A49835A72DD}" dt="2021-05-26T17:15:13.862" v="244" actId="1076"/>
          <ac:picMkLst>
            <pc:docMk/>
            <pc:sldMk cId="636219663" sldId="2076137511"/>
            <ac:picMk id="70" creationId="{A6D6CA72-D118-4A0E-9F36-AA0B46636B17}"/>
          </ac:picMkLst>
        </pc:picChg>
        <pc:picChg chg="mod">
          <ac:chgData name="Alan Luder (Valence Group Inc.)" userId="9f14a4d2-8b5c-4fb0-9a7b-d779ed5a424b" providerId="ADAL" clId="{CB793C73-2F9F-F146-A87A-3A49835A72DD}" dt="2021-05-26T17:15:13.862" v="244" actId="1076"/>
          <ac:picMkLst>
            <pc:docMk/>
            <pc:sldMk cId="636219663" sldId="2076137511"/>
            <ac:picMk id="71" creationId="{997B960E-3E30-4AAF-94E5-E47253DBC64B}"/>
          </ac:picMkLst>
        </pc:picChg>
        <pc:picChg chg="mod">
          <ac:chgData name="Alan Luder (Valence Group Inc.)" userId="9f14a4d2-8b5c-4fb0-9a7b-d779ed5a424b" providerId="ADAL" clId="{CB793C73-2F9F-F146-A87A-3A49835A72DD}" dt="2021-05-26T17:15:13.862" v="244" actId="1076"/>
          <ac:picMkLst>
            <pc:docMk/>
            <pc:sldMk cId="636219663" sldId="2076137511"/>
            <ac:picMk id="72" creationId="{3F32D4E4-A636-4205-BEA3-168E9AACF2F0}"/>
          </ac:picMkLst>
        </pc:picChg>
        <pc:picChg chg="mod">
          <ac:chgData name="Alan Luder (Valence Group Inc.)" userId="9f14a4d2-8b5c-4fb0-9a7b-d779ed5a424b" providerId="ADAL" clId="{CB793C73-2F9F-F146-A87A-3A49835A72DD}" dt="2021-05-26T17:15:42.099" v="247" actId="1076"/>
          <ac:picMkLst>
            <pc:docMk/>
            <pc:sldMk cId="636219663" sldId="2076137511"/>
            <ac:picMk id="85" creationId="{14565DED-BED1-4EAD-9B9C-2B5D839F6BC3}"/>
          </ac:picMkLst>
        </pc:picChg>
        <pc:picChg chg="mod">
          <ac:chgData name="Alan Luder (Valence Group Inc.)" userId="9f14a4d2-8b5c-4fb0-9a7b-d779ed5a424b" providerId="ADAL" clId="{CB793C73-2F9F-F146-A87A-3A49835A72DD}" dt="2021-05-26T17:14:20.278" v="235" actId="1076"/>
          <ac:picMkLst>
            <pc:docMk/>
            <pc:sldMk cId="636219663" sldId="2076137511"/>
            <ac:picMk id="86" creationId="{C5A6BC84-4DE9-47F7-87DC-2489CAF3C00D}"/>
          </ac:picMkLst>
        </pc:picChg>
        <pc:picChg chg="mod">
          <ac:chgData name="Alan Luder (Valence Group Inc.)" userId="9f14a4d2-8b5c-4fb0-9a7b-d779ed5a424b" providerId="ADAL" clId="{CB793C73-2F9F-F146-A87A-3A49835A72DD}" dt="2021-05-26T17:15:50.784" v="250" actId="1076"/>
          <ac:picMkLst>
            <pc:docMk/>
            <pc:sldMk cId="636219663" sldId="2076137511"/>
            <ac:picMk id="87" creationId="{99BE817C-950D-4F46-8FFE-AF231464FF6D}"/>
          </ac:picMkLst>
        </pc:picChg>
        <pc:picChg chg="mod">
          <ac:chgData name="Alan Luder (Valence Group Inc.)" userId="9f14a4d2-8b5c-4fb0-9a7b-d779ed5a424b" providerId="ADAL" clId="{CB793C73-2F9F-F146-A87A-3A49835A72DD}" dt="2021-05-26T17:10:23.658" v="218" actId="1076"/>
          <ac:picMkLst>
            <pc:docMk/>
            <pc:sldMk cId="636219663" sldId="2076137511"/>
            <ac:picMk id="101" creationId="{D62ABBA3-9913-48B8-AFD2-C614F8508272}"/>
          </ac:picMkLst>
        </pc:picChg>
        <pc:picChg chg="mod">
          <ac:chgData name="Alan Luder (Valence Group Inc.)" userId="9f14a4d2-8b5c-4fb0-9a7b-d779ed5a424b" providerId="ADAL" clId="{CB793C73-2F9F-F146-A87A-3A49835A72DD}" dt="2021-05-26T17:17:35.885" v="270" actId="1076"/>
          <ac:picMkLst>
            <pc:docMk/>
            <pc:sldMk cId="636219663" sldId="2076137511"/>
            <ac:picMk id="124" creationId="{94E1E708-1452-443F-BF08-7F1B0FBE5BF8}"/>
          </ac:picMkLst>
        </pc:picChg>
        <pc:cxnChg chg="mod">
          <ac:chgData name="Alan Luder (Valence Group Inc.)" userId="9f14a4d2-8b5c-4fb0-9a7b-d779ed5a424b" providerId="ADAL" clId="{CB793C73-2F9F-F146-A87A-3A49835A72DD}" dt="2021-05-26T17:15:13.862" v="244" actId="1076"/>
          <ac:cxnSpMkLst>
            <pc:docMk/>
            <pc:sldMk cId="636219663" sldId="2076137511"/>
            <ac:cxnSpMk id="73" creationId="{53E2A2F4-D8CC-48E3-86CB-AF5992A0BB91}"/>
          </ac:cxnSpMkLst>
        </pc:cxnChg>
        <pc:cxnChg chg="mod">
          <ac:chgData name="Alan Luder (Valence Group Inc.)" userId="9f14a4d2-8b5c-4fb0-9a7b-d779ed5a424b" providerId="ADAL" clId="{CB793C73-2F9F-F146-A87A-3A49835A72DD}" dt="2021-05-26T17:15:13.862" v="244" actId="1076"/>
          <ac:cxnSpMkLst>
            <pc:docMk/>
            <pc:sldMk cId="636219663" sldId="2076137511"/>
            <ac:cxnSpMk id="74" creationId="{AEEBBE55-AF55-4808-8B38-8B7AB9D5E556}"/>
          </ac:cxnSpMkLst>
        </pc:cxnChg>
        <pc:cxnChg chg="mod">
          <ac:chgData name="Alan Luder (Valence Group Inc.)" userId="9f14a4d2-8b5c-4fb0-9a7b-d779ed5a424b" providerId="ADAL" clId="{CB793C73-2F9F-F146-A87A-3A49835A72DD}" dt="2021-05-26T17:15:13.862" v="244" actId="1076"/>
          <ac:cxnSpMkLst>
            <pc:docMk/>
            <pc:sldMk cId="636219663" sldId="2076137511"/>
            <ac:cxnSpMk id="75" creationId="{40AD8FDC-34DD-4FEB-8AE1-D320C2FB073E}"/>
          </ac:cxnSpMkLst>
        </pc:cxnChg>
        <pc:cxnChg chg="mod">
          <ac:chgData name="Alan Luder (Valence Group Inc.)" userId="9f14a4d2-8b5c-4fb0-9a7b-d779ed5a424b" providerId="ADAL" clId="{CB793C73-2F9F-F146-A87A-3A49835A72DD}" dt="2021-05-26T17:14:23.246" v="236" actId="14100"/>
          <ac:cxnSpMkLst>
            <pc:docMk/>
            <pc:sldMk cId="636219663" sldId="2076137511"/>
            <ac:cxnSpMk id="89" creationId="{BC71A4BE-F2D1-49C6-AD27-579C14E866B8}"/>
          </ac:cxnSpMkLst>
        </pc:cxnChg>
        <pc:cxnChg chg="mod">
          <ac:chgData name="Alan Luder (Valence Group Inc.)" userId="9f14a4d2-8b5c-4fb0-9a7b-d779ed5a424b" providerId="ADAL" clId="{CB793C73-2F9F-F146-A87A-3A49835A72DD}" dt="2021-05-26T17:17:24.447" v="265" actId="14100"/>
          <ac:cxnSpMkLst>
            <pc:docMk/>
            <pc:sldMk cId="636219663" sldId="2076137511"/>
            <ac:cxnSpMk id="90" creationId="{6C738F3D-D507-423F-B549-7890339C8BEB}"/>
          </ac:cxnSpMkLst>
        </pc:cxnChg>
        <pc:cxnChg chg="mod">
          <ac:chgData name="Alan Luder (Valence Group Inc.)" userId="9f14a4d2-8b5c-4fb0-9a7b-d779ed5a424b" providerId="ADAL" clId="{CB793C73-2F9F-F146-A87A-3A49835A72DD}" dt="2021-05-26T17:10:23.658" v="218" actId="1076"/>
          <ac:cxnSpMkLst>
            <pc:docMk/>
            <pc:sldMk cId="636219663" sldId="2076137511"/>
            <ac:cxnSpMk id="115" creationId="{7670356B-25A8-45BC-B23D-8E01E0CBAD4C}"/>
          </ac:cxnSpMkLst>
        </pc:cxnChg>
        <pc:cxnChg chg="mod">
          <ac:chgData name="Alan Luder (Valence Group Inc.)" userId="9f14a4d2-8b5c-4fb0-9a7b-d779ed5a424b" providerId="ADAL" clId="{CB793C73-2F9F-F146-A87A-3A49835A72DD}" dt="2021-05-26T17:14:53.170" v="242" actId="1076"/>
          <ac:cxnSpMkLst>
            <pc:docMk/>
            <pc:sldMk cId="636219663" sldId="2076137511"/>
            <ac:cxnSpMk id="117" creationId="{8650BC7F-AA89-41F1-A80D-5934AD923133}"/>
          </ac:cxnSpMkLst>
        </pc:cxnChg>
        <pc:cxnChg chg="mod">
          <ac:chgData name="Alan Luder (Valence Group Inc.)" userId="9f14a4d2-8b5c-4fb0-9a7b-d779ed5a424b" providerId="ADAL" clId="{CB793C73-2F9F-F146-A87A-3A49835A72DD}" dt="2021-05-26T17:14:57.424" v="243" actId="1076"/>
          <ac:cxnSpMkLst>
            <pc:docMk/>
            <pc:sldMk cId="636219663" sldId="2076137511"/>
            <ac:cxnSpMk id="119" creationId="{85C00A99-36CA-4773-8EA5-FD605AC58EBC}"/>
          </ac:cxnSpMkLst>
        </pc:cxnChg>
        <pc:cxnChg chg="mod">
          <ac:chgData name="Alan Luder (Valence Group Inc.)" userId="9f14a4d2-8b5c-4fb0-9a7b-d779ed5a424b" providerId="ADAL" clId="{CB793C73-2F9F-F146-A87A-3A49835A72DD}" dt="2021-05-26T17:14:36.647" v="238" actId="14100"/>
          <ac:cxnSpMkLst>
            <pc:docMk/>
            <pc:sldMk cId="636219663" sldId="2076137511"/>
            <ac:cxnSpMk id="121" creationId="{530E24EC-CCA9-46C2-BCAB-6AA542D3786F}"/>
          </ac:cxnSpMkLst>
        </pc:cxnChg>
        <pc:cxnChg chg="mod">
          <ac:chgData name="Alan Luder (Valence Group Inc.)" userId="9f14a4d2-8b5c-4fb0-9a7b-d779ed5a424b" providerId="ADAL" clId="{CB793C73-2F9F-F146-A87A-3A49835A72DD}" dt="2021-05-26T17:16:56.019" v="264" actId="14100"/>
          <ac:cxnSpMkLst>
            <pc:docMk/>
            <pc:sldMk cId="636219663" sldId="2076137511"/>
            <ac:cxnSpMk id="122" creationId="{ABD17EEF-BB54-4129-BC19-D9F312EE569A}"/>
          </ac:cxnSpMkLst>
        </pc:cxnChg>
      </pc:sldChg>
      <pc:sldChg chg="addSp delSp modSp mod modClrScheme chgLayout">
        <pc:chgData name="Alan Luder (Valence Group Inc.)" userId="9f14a4d2-8b5c-4fb0-9a7b-d779ed5a424b" providerId="ADAL" clId="{CB793C73-2F9F-F146-A87A-3A49835A72DD}" dt="2021-05-26T18:00:43.172" v="455" actId="1076"/>
        <pc:sldMkLst>
          <pc:docMk/>
          <pc:sldMk cId="2507716521" sldId="2076137512"/>
        </pc:sldMkLst>
        <pc:spChg chg="mod ord">
          <ac:chgData name="Alan Luder (Valence Group Inc.)" userId="9f14a4d2-8b5c-4fb0-9a7b-d779ed5a424b" providerId="ADAL" clId="{CB793C73-2F9F-F146-A87A-3A49835A72DD}" dt="2021-05-26T17:59:49.632" v="448" actId="20577"/>
          <ac:spMkLst>
            <pc:docMk/>
            <pc:sldMk cId="2507716521" sldId="2076137512"/>
            <ac:spMk id="2" creationId="{87AD9FCD-915E-4F4E-B9C4-876833923C61}"/>
          </ac:spMkLst>
        </pc:spChg>
        <pc:spChg chg="add del mod ord">
          <ac:chgData name="Alan Luder (Valence Group Inc.)" userId="9f14a4d2-8b5c-4fb0-9a7b-d779ed5a424b" providerId="ADAL" clId="{CB793C73-2F9F-F146-A87A-3A49835A72DD}" dt="2021-05-26T17:59:31.079" v="443" actId="478"/>
          <ac:spMkLst>
            <pc:docMk/>
            <pc:sldMk cId="2507716521" sldId="2076137512"/>
            <ac:spMk id="3" creationId="{C25769BF-EAE9-724F-96FD-2302A7E12CD7}"/>
          </ac:spMkLst>
        </pc:spChg>
        <pc:spChg chg="mod">
          <ac:chgData name="Alan Luder (Valence Group Inc.)" userId="9f14a4d2-8b5c-4fb0-9a7b-d779ed5a424b" providerId="ADAL" clId="{CB793C73-2F9F-F146-A87A-3A49835A72DD}" dt="2021-05-26T18:00:00.345" v="449" actId="1076"/>
          <ac:spMkLst>
            <pc:docMk/>
            <pc:sldMk cId="2507716521" sldId="2076137512"/>
            <ac:spMk id="62" creationId="{08D65DF6-6E21-4C59-9D8B-1103E22890E1}"/>
          </ac:spMkLst>
        </pc:spChg>
        <pc:spChg chg="mod">
          <ac:chgData name="Alan Luder (Valence Group Inc.)" userId="9f14a4d2-8b5c-4fb0-9a7b-d779ed5a424b" providerId="ADAL" clId="{CB793C73-2F9F-F146-A87A-3A49835A72DD}" dt="2021-05-26T18:00:28.132" v="452" actId="1076"/>
          <ac:spMkLst>
            <pc:docMk/>
            <pc:sldMk cId="2507716521" sldId="2076137512"/>
            <ac:spMk id="63" creationId="{6A97C628-A900-4E39-A95D-122F8C5672D6}"/>
          </ac:spMkLst>
        </pc:spChg>
        <pc:spChg chg="mod">
          <ac:chgData name="Alan Luder (Valence Group Inc.)" userId="9f14a4d2-8b5c-4fb0-9a7b-d779ed5a424b" providerId="ADAL" clId="{CB793C73-2F9F-F146-A87A-3A49835A72DD}" dt="2021-05-26T18:00:00.345" v="449" actId="1076"/>
          <ac:spMkLst>
            <pc:docMk/>
            <pc:sldMk cId="2507716521" sldId="2076137512"/>
            <ac:spMk id="64" creationId="{90F6FEE3-9044-4E86-B0EC-B8BB1575405A}"/>
          </ac:spMkLst>
        </pc:spChg>
        <pc:spChg chg="mod">
          <ac:chgData name="Alan Luder (Valence Group Inc.)" userId="9f14a4d2-8b5c-4fb0-9a7b-d779ed5a424b" providerId="ADAL" clId="{CB793C73-2F9F-F146-A87A-3A49835A72DD}" dt="2021-05-26T18:00:00.345" v="449" actId="1076"/>
          <ac:spMkLst>
            <pc:docMk/>
            <pc:sldMk cId="2507716521" sldId="2076137512"/>
            <ac:spMk id="65" creationId="{517048DC-4905-47B0-AE8D-18446A208B6E}"/>
          </ac:spMkLst>
        </pc:spChg>
        <pc:spChg chg="mod">
          <ac:chgData name="Alan Luder (Valence Group Inc.)" userId="9f14a4d2-8b5c-4fb0-9a7b-d779ed5a424b" providerId="ADAL" clId="{CB793C73-2F9F-F146-A87A-3A49835A72DD}" dt="2021-05-26T18:00:43.172" v="455" actId="1076"/>
          <ac:spMkLst>
            <pc:docMk/>
            <pc:sldMk cId="2507716521" sldId="2076137512"/>
            <ac:spMk id="71" creationId="{0A12D97A-5EC2-468C-8965-89642F151061}"/>
          </ac:spMkLst>
        </pc:spChg>
        <pc:spChg chg="mod">
          <ac:chgData name="Alan Luder (Valence Group Inc.)" userId="9f14a4d2-8b5c-4fb0-9a7b-d779ed5a424b" providerId="ADAL" clId="{CB793C73-2F9F-F146-A87A-3A49835A72DD}" dt="2021-05-26T18:00:43.172" v="455" actId="1076"/>
          <ac:spMkLst>
            <pc:docMk/>
            <pc:sldMk cId="2507716521" sldId="2076137512"/>
            <ac:spMk id="72" creationId="{819EE1B7-4B05-4B76-8249-6D0EC8CFFC78}"/>
          </ac:spMkLst>
        </pc:spChg>
        <pc:spChg chg="mod">
          <ac:chgData name="Alan Luder (Valence Group Inc.)" userId="9f14a4d2-8b5c-4fb0-9a7b-d779ed5a424b" providerId="ADAL" clId="{CB793C73-2F9F-F146-A87A-3A49835A72DD}" dt="2021-05-26T18:00:00.345" v="449" actId="1076"/>
          <ac:spMkLst>
            <pc:docMk/>
            <pc:sldMk cId="2507716521" sldId="2076137512"/>
            <ac:spMk id="74" creationId="{02167414-A857-4501-B077-ECEE4EC63057}"/>
          </ac:spMkLst>
        </pc:spChg>
        <pc:spChg chg="mod">
          <ac:chgData name="Alan Luder (Valence Group Inc.)" userId="9f14a4d2-8b5c-4fb0-9a7b-d779ed5a424b" providerId="ADAL" clId="{CB793C73-2F9F-F146-A87A-3A49835A72DD}" dt="2021-05-26T18:00:28.132" v="452" actId="1076"/>
          <ac:spMkLst>
            <pc:docMk/>
            <pc:sldMk cId="2507716521" sldId="2076137512"/>
            <ac:spMk id="84" creationId="{A68D6BFA-979C-4C7E-92BC-721D97F34691}"/>
          </ac:spMkLst>
        </pc:spChg>
        <pc:spChg chg="mod">
          <ac:chgData name="Alan Luder (Valence Group Inc.)" userId="9f14a4d2-8b5c-4fb0-9a7b-d779ed5a424b" providerId="ADAL" clId="{CB793C73-2F9F-F146-A87A-3A49835A72DD}" dt="2021-05-26T18:00:28.132" v="452" actId="1076"/>
          <ac:spMkLst>
            <pc:docMk/>
            <pc:sldMk cId="2507716521" sldId="2076137512"/>
            <ac:spMk id="85" creationId="{AAC25C7A-9DFF-4E8D-955D-6C61F7C6E39E}"/>
          </ac:spMkLst>
        </pc:spChg>
        <pc:spChg chg="mod">
          <ac:chgData name="Alan Luder (Valence Group Inc.)" userId="9f14a4d2-8b5c-4fb0-9a7b-d779ed5a424b" providerId="ADAL" clId="{CB793C73-2F9F-F146-A87A-3A49835A72DD}" dt="2021-05-26T18:00:00.345" v="449" actId="1076"/>
          <ac:spMkLst>
            <pc:docMk/>
            <pc:sldMk cId="2507716521" sldId="2076137512"/>
            <ac:spMk id="130" creationId="{6F93E2FB-7A8F-4165-8BD2-994749343274}"/>
          </ac:spMkLst>
        </pc:spChg>
        <pc:spChg chg="mod">
          <ac:chgData name="Alan Luder (Valence Group Inc.)" userId="9f14a4d2-8b5c-4fb0-9a7b-d779ed5a424b" providerId="ADAL" clId="{CB793C73-2F9F-F146-A87A-3A49835A72DD}" dt="2021-05-26T18:00:00.345" v="449" actId="1076"/>
          <ac:spMkLst>
            <pc:docMk/>
            <pc:sldMk cId="2507716521" sldId="2076137512"/>
            <ac:spMk id="132" creationId="{5FFDB79A-6D25-4892-BD12-45DCE59B84B7}"/>
          </ac:spMkLst>
        </pc:spChg>
        <pc:spChg chg="mod">
          <ac:chgData name="Alan Luder (Valence Group Inc.)" userId="9f14a4d2-8b5c-4fb0-9a7b-d779ed5a424b" providerId="ADAL" clId="{CB793C73-2F9F-F146-A87A-3A49835A72DD}" dt="2021-05-26T18:00:00.345" v="449" actId="1076"/>
          <ac:spMkLst>
            <pc:docMk/>
            <pc:sldMk cId="2507716521" sldId="2076137512"/>
            <ac:spMk id="133" creationId="{C426F0EE-39A2-4C29-95AD-4985EBD089C1}"/>
          </ac:spMkLst>
        </pc:spChg>
        <pc:spChg chg="mod">
          <ac:chgData name="Alan Luder (Valence Group Inc.)" userId="9f14a4d2-8b5c-4fb0-9a7b-d779ed5a424b" providerId="ADAL" clId="{CB793C73-2F9F-F146-A87A-3A49835A72DD}" dt="2021-05-26T18:00:00.345" v="449" actId="1076"/>
          <ac:spMkLst>
            <pc:docMk/>
            <pc:sldMk cId="2507716521" sldId="2076137512"/>
            <ac:spMk id="134" creationId="{C9799981-E490-4C56-BD8D-F16443085C6B}"/>
          </ac:spMkLst>
        </pc:spChg>
        <pc:spChg chg="mod">
          <ac:chgData name="Alan Luder (Valence Group Inc.)" userId="9f14a4d2-8b5c-4fb0-9a7b-d779ed5a424b" providerId="ADAL" clId="{CB793C73-2F9F-F146-A87A-3A49835A72DD}" dt="2021-05-26T18:00:00.345" v="449" actId="1076"/>
          <ac:spMkLst>
            <pc:docMk/>
            <pc:sldMk cId="2507716521" sldId="2076137512"/>
            <ac:spMk id="135" creationId="{EBEB99F4-6F6E-42E2-A7A1-DDCEA4109664}"/>
          </ac:spMkLst>
        </pc:spChg>
        <pc:spChg chg="mod">
          <ac:chgData name="Alan Luder (Valence Group Inc.)" userId="9f14a4d2-8b5c-4fb0-9a7b-d779ed5a424b" providerId="ADAL" clId="{CB793C73-2F9F-F146-A87A-3A49835A72DD}" dt="2021-05-26T18:00:00.345" v="449" actId="1076"/>
          <ac:spMkLst>
            <pc:docMk/>
            <pc:sldMk cId="2507716521" sldId="2076137512"/>
            <ac:spMk id="136" creationId="{F37AFEFB-BEC4-4282-BD3C-2CB9EE9F7A39}"/>
          </ac:spMkLst>
        </pc:spChg>
        <pc:spChg chg="mod">
          <ac:chgData name="Alan Luder (Valence Group Inc.)" userId="9f14a4d2-8b5c-4fb0-9a7b-d779ed5a424b" providerId="ADAL" clId="{CB793C73-2F9F-F146-A87A-3A49835A72DD}" dt="2021-05-26T18:00:00.345" v="449" actId="1076"/>
          <ac:spMkLst>
            <pc:docMk/>
            <pc:sldMk cId="2507716521" sldId="2076137512"/>
            <ac:spMk id="137" creationId="{E74BC8A8-41A1-446E-9F3A-3FF0D0E08F31}"/>
          </ac:spMkLst>
        </pc:spChg>
        <pc:spChg chg="mod">
          <ac:chgData name="Alan Luder (Valence Group Inc.)" userId="9f14a4d2-8b5c-4fb0-9a7b-d779ed5a424b" providerId="ADAL" clId="{CB793C73-2F9F-F146-A87A-3A49835A72DD}" dt="2021-05-26T18:00:00.345" v="449" actId="1076"/>
          <ac:spMkLst>
            <pc:docMk/>
            <pc:sldMk cId="2507716521" sldId="2076137512"/>
            <ac:spMk id="138" creationId="{6449E8C1-044C-44D6-BDB1-72AA76AD0479}"/>
          </ac:spMkLst>
        </pc:spChg>
        <pc:spChg chg="mod">
          <ac:chgData name="Alan Luder (Valence Group Inc.)" userId="9f14a4d2-8b5c-4fb0-9a7b-d779ed5a424b" providerId="ADAL" clId="{CB793C73-2F9F-F146-A87A-3A49835A72DD}" dt="2021-05-26T18:00:00.345" v="449" actId="1076"/>
          <ac:spMkLst>
            <pc:docMk/>
            <pc:sldMk cId="2507716521" sldId="2076137512"/>
            <ac:spMk id="139" creationId="{41B6BB64-C8D8-422B-B7A5-3A6F90CA498F}"/>
          </ac:spMkLst>
        </pc:spChg>
        <pc:spChg chg="mod">
          <ac:chgData name="Alan Luder (Valence Group Inc.)" userId="9f14a4d2-8b5c-4fb0-9a7b-d779ed5a424b" providerId="ADAL" clId="{CB793C73-2F9F-F146-A87A-3A49835A72DD}" dt="2021-05-26T18:00:00.345" v="449" actId="1076"/>
          <ac:spMkLst>
            <pc:docMk/>
            <pc:sldMk cId="2507716521" sldId="2076137512"/>
            <ac:spMk id="140" creationId="{938D456F-BD9D-4969-977E-3084865B6013}"/>
          </ac:spMkLst>
        </pc:spChg>
        <pc:spChg chg="mod">
          <ac:chgData name="Alan Luder (Valence Group Inc.)" userId="9f14a4d2-8b5c-4fb0-9a7b-d779ed5a424b" providerId="ADAL" clId="{CB793C73-2F9F-F146-A87A-3A49835A72DD}" dt="2021-05-26T18:00:00.345" v="449" actId="1076"/>
          <ac:spMkLst>
            <pc:docMk/>
            <pc:sldMk cId="2507716521" sldId="2076137512"/>
            <ac:spMk id="141" creationId="{AAD4904F-3AC8-42CC-9C2C-8E323B028987}"/>
          </ac:spMkLst>
        </pc:spChg>
        <pc:spChg chg="mod">
          <ac:chgData name="Alan Luder (Valence Group Inc.)" userId="9f14a4d2-8b5c-4fb0-9a7b-d779ed5a424b" providerId="ADAL" clId="{CB793C73-2F9F-F146-A87A-3A49835A72DD}" dt="2021-05-26T18:00:00.345" v="449" actId="1076"/>
          <ac:spMkLst>
            <pc:docMk/>
            <pc:sldMk cId="2507716521" sldId="2076137512"/>
            <ac:spMk id="158" creationId="{65C14A28-2BA1-4258-9B27-A566DBD6E34F}"/>
          </ac:spMkLst>
        </pc:spChg>
        <pc:spChg chg="mod">
          <ac:chgData name="Alan Luder (Valence Group Inc.)" userId="9f14a4d2-8b5c-4fb0-9a7b-d779ed5a424b" providerId="ADAL" clId="{CB793C73-2F9F-F146-A87A-3A49835A72DD}" dt="2021-05-26T18:00:00.345" v="449" actId="1076"/>
          <ac:spMkLst>
            <pc:docMk/>
            <pc:sldMk cId="2507716521" sldId="2076137512"/>
            <ac:spMk id="160" creationId="{3F3EFE6E-15E6-4304-A826-74942482AD20}"/>
          </ac:spMkLst>
        </pc:spChg>
        <pc:spChg chg="mod">
          <ac:chgData name="Alan Luder (Valence Group Inc.)" userId="9f14a4d2-8b5c-4fb0-9a7b-d779ed5a424b" providerId="ADAL" clId="{CB793C73-2F9F-F146-A87A-3A49835A72DD}" dt="2021-05-26T18:00:00.345" v="449" actId="1076"/>
          <ac:spMkLst>
            <pc:docMk/>
            <pc:sldMk cId="2507716521" sldId="2076137512"/>
            <ac:spMk id="161" creationId="{0AC81FD3-FD1D-4F02-9D5A-45DB44F80EDA}"/>
          </ac:spMkLst>
        </pc:spChg>
        <pc:spChg chg="mod">
          <ac:chgData name="Alan Luder (Valence Group Inc.)" userId="9f14a4d2-8b5c-4fb0-9a7b-d779ed5a424b" providerId="ADAL" clId="{CB793C73-2F9F-F146-A87A-3A49835A72DD}" dt="2021-05-26T18:00:00.345" v="449" actId="1076"/>
          <ac:spMkLst>
            <pc:docMk/>
            <pc:sldMk cId="2507716521" sldId="2076137512"/>
            <ac:spMk id="162" creationId="{6DA13AF4-2C2E-4749-A88D-7833F5C96FA1}"/>
          </ac:spMkLst>
        </pc:spChg>
        <pc:spChg chg="mod">
          <ac:chgData name="Alan Luder (Valence Group Inc.)" userId="9f14a4d2-8b5c-4fb0-9a7b-d779ed5a424b" providerId="ADAL" clId="{CB793C73-2F9F-F146-A87A-3A49835A72DD}" dt="2021-05-26T18:00:00.345" v="449" actId="1076"/>
          <ac:spMkLst>
            <pc:docMk/>
            <pc:sldMk cId="2507716521" sldId="2076137512"/>
            <ac:spMk id="163" creationId="{CB514F95-D2D2-4FC9-B0D5-33F66F5808C2}"/>
          </ac:spMkLst>
        </pc:spChg>
        <pc:spChg chg="mod">
          <ac:chgData name="Alan Luder (Valence Group Inc.)" userId="9f14a4d2-8b5c-4fb0-9a7b-d779ed5a424b" providerId="ADAL" clId="{CB793C73-2F9F-F146-A87A-3A49835A72DD}" dt="2021-05-26T18:00:00.345" v="449" actId="1076"/>
          <ac:spMkLst>
            <pc:docMk/>
            <pc:sldMk cId="2507716521" sldId="2076137512"/>
            <ac:spMk id="164" creationId="{2B64AA62-9992-446C-82C6-B4C79287E10B}"/>
          </ac:spMkLst>
        </pc:spChg>
        <pc:grpChg chg="mod">
          <ac:chgData name="Alan Luder (Valence Group Inc.)" userId="9f14a4d2-8b5c-4fb0-9a7b-d779ed5a424b" providerId="ADAL" clId="{CB793C73-2F9F-F146-A87A-3A49835A72DD}" dt="2021-05-26T18:00:00.345" v="449" actId="1076"/>
          <ac:grpSpMkLst>
            <pc:docMk/>
            <pc:sldMk cId="2507716521" sldId="2076137512"/>
            <ac:grpSpMk id="129" creationId="{9C5890E8-75B7-4FD2-8ABE-5E46E79F002F}"/>
          </ac:grpSpMkLst>
        </pc:grpChg>
        <pc:grpChg chg="mod">
          <ac:chgData name="Alan Luder (Valence Group Inc.)" userId="9f14a4d2-8b5c-4fb0-9a7b-d779ed5a424b" providerId="ADAL" clId="{CB793C73-2F9F-F146-A87A-3A49835A72DD}" dt="2021-05-26T18:00:00.345" v="449" actId="1076"/>
          <ac:grpSpMkLst>
            <pc:docMk/>
            <pc:sldMk cId="2507716521" sldId="2076137512"/>
            <ac:grpSpMk id="131" creationId="{2E9AED12-D460-4906-A3A8-84ACC9421299}"/>
          </ac:grpSpMkLst>
        </pc:grpChg>
        <pc:grpChg chg="mod">
          <ac:chgData name="Alan Luder (Valence Group Inc.)" userId="9f14a4d2-8b5c-4fb0-9a7b-d779ed5a424b" providerId="ADAL" clId="{CB793C73-2F9F-F146-A87A-3A49835A72DD}" dt="2021-05-26T18:00:00.345" v="449" actId="1076"/>
          <ac:grpSpMkLst>
            <pc:docMk/>
            <pc:sldMk cId="2507716521" sldId="2076137512"/>
            <ac:grpSpMk id="157" creationId="{615A23C1-84BA-4E00-8E32-FD85563EBF18}"/>
          </ac:grpSpMkLst>
        </pc:grpChg>
        <pc:grpChg chg="mod">
          <ac:chgData name="Alan Luder (Valence Group Inc.)" userId="9f14a4d2-8b5c-4fb0-9a7b-d779ed5a424b" providerId="ADAL" clId="{CB793C73-2F9F-F146-A87A-3A49835A72DD}" dt="2021-05-26T18:00:00.345" v="449" actId="1076"/>
          <ac:grpSpMkLst>
            <pc:docMk/>
            <pc:sldMk cId="2507716521" sldId="2076137512"/>
            <ac:grpSpMk id="159" creationId="{6AD43C1E-607D-42C3-8438-E835995D05E8}"/>
          </ac:grpSpMkLst>
        </pc:grpChg>
        <pc:picChg chg="mod">
          <ac:chgData name="Alan Luder (Valence Group Inc.)" userId="9f14a4d2-8b5c-4fb0-9a7b-d779ed5a424b" providerId="ADAL" clId="{CB793C73-2F9F-F146-A87A-3A49835A72DD}" dt="2021-05-26T18:00:28.132" v="452" actId="1076"/>
          <ac:picMkLst>
            <pc:docMk/>
            <pc:sldMk cId="2507716521" sldId="2076137512"/>
            <ac:picMk id="78" creationId="{37AE6466-F812-48C4-A082-5B0CA0BAF4D1}"/>
          </ac:picMkLst>
        </pc:picChg>
        <pc:picChg chg="mod">
          <ac:chgData name="Alan Luder (Valence Group Inc.)" userId="9f14a4d2-8b5c-4fb0-9a7b-d779ed5a424b" providerId="ADAL" clId="{CB793C73-2F9F-F146-A87A-3A49835A72DD}" dt="2021-05-26T18:00:28.132" v="452" actId="1076"/>
          <ac:picMkLst>
            <pc:docMk/>
            <pc:sldMk cId="2507716521" sldId="2076137512"/>
            <ac:picMk id="79" creationId="{85A7898F-A3DC-42C7-ABCA-16822025A588}"/>
          </ac:picMkLst>
        </pc:picChg>
        <pc:picChg chg="mod">
          <ac:chgData name="Alan Luder (Valence Group Inc.)" userId="9f14a4d2-8b5c-4fb0-9a7b-d779ed5a424b" providerId="ADAL" clId="{CB793C73-2F9F-F146-A87A-3A49835A72DD}" dt="2021-05-26T18:00:28.132" v="452" actId="1076"/>
          <ac:picMkLst>
            <pc:docMk/>
            <pc:sldMk cId="2507716521" sldId="2076137512"/>
            <ac:picMk id="80" creationId="{D73FEFF0-5997-4FB5-AA49-668FAF544BAE}"/>
          </ac:picMkLst>
        </pc:picChg>
        <pc:picChg chg="mod">
          <ac:chgData name="Alan Luder (Valence Group Inc.)" userId="9f14a4d2-8b5c-4fb0-9a7b-d779ed5a424b" providerId="ADAL" clId="{CB793C73-2F9F-F146-A87A-3A49835A72DD}" dt="2021-05-26T18:00:00.345" v="449" actId="1076"/>
          <ac:picMkLst>
            <pc:docMk/>
            <pc:sldMk cId="2507716521" sldId="2076137512"/>
            <ac:picMk id="165" creationId="{823A6CB5-63C8-4DA8-B86F-70C6B34AF7DD}"/>
          </ac:picMkLst>
        </pc:picChg>
        <pc:cxnChg chg="mod">
          <ac:chgData name="Alan Luder (Valence Group Inc.)" userId="9f14a4d2-8b5c-4fb0-9a7b-d779ed5a424b" providerId="ADAL" clId="{CB793C73-2F9F-F146-A87A-3A49835A72DD}" dt="2021-05-26T18:00:00.345" v="449" actId="1076"/>
          <ac:cxnSpMkLst>
            <pc:docMk/>
            <pc:sldMk cId="2507716521" sldId="2076137512"/>
            <ac:cxnSpMk id="68" creationId="{BC1CB755-476C-4ED2-AC86-358DC5FDB713}"/>
          </ac:cxnSpMkLst>
        </pc:cxnChg>
        <pc:cxnChg chg="mod">
          <ac:chgData name="Alan Luder (Valence Group Inc.)" userId="9f14a4d2-8b5c-4fb0-9a7b-d779ed5a424b" providerId="ADAL" clId="{CB793C73-2F9F-F146-A87A-3A49835A72DD}" dt="2021-05-26T18:00:36.265" v="454" actId="14100"/>
          <ac:cxnSpMkLst>
            <pc:docMk/>
            <pc:sldMk cId="2507716521" sldId="2076137512"/>
            <ac:cxnSpMk id="69" creationId="{D4352AAF-BCE1-4F20-8721-5185E40D4D45}"/>
          </ac:cxnSpMkLst>
        </pc:cxnChg>
        <pc:cxnChg chg="mod">
          <ac:chgData name="Alan Luder (Valence Group Inc.)" userId="9f14a4d2-8b5c-4fb0-9a7b-d779ed5a424b" providerId="ADAL" clId="{CB793C73-2F9F-F146-A87A-3A49835A72DD}" dt="2021-05-26T18:00:36.265" v="454" actId="14100"/>
          <ac:cxnSpMkLst>
            <pc:docMk/>
            <pc:sldMk cId="2507716521" sldId="2076137512"/>
            <ac:cxnSpMk id="70" creationId="{DBE7B64D-032A-4ED7-9590-9F3BD25DEE9B}"/>
          </ac:cxnSpMkLst>
        </pc:cxnChg>
        <pc:cxnChg chg="mod">
          <ac:chgData name="Alan Luder (Valence Group Inc.)" userId="9f14a4d2-8b5c-4fb0-9a7b-d779ed5a424b" providerId="ADAL" clId="{CB793C73-2F9F-F146-A87A-3A49835A72DD}" dt="2021-05-26T18:00:28.132" v="452" actId="1076"/>
          <ac:cxnSpMkLst>
            <pc:docMk/>
            <pc:sldMk cId="2507716521" sldId="2076137512"/>
            <ac:cxnSpMk id="81" creationId="{7B3837A2-01EF-4ED1-B09D-2AD5B3E93E69}"/>
          </ac:cxnSpMkLst>
        </pc:cxnChg>
        <pc:cxnChg chg="mod">
          <ac:chgData name="Alan Luder (Valence Group Inc.)" userId="9f14a4d2-8b5c-4fb0-9a7b-d779ed5a424b" providerId="ADAL" clId="{CB793C73-2F9F-F146-A87A-3A49835A72DD}" dt="2021-05-26T18:00:28.132" v="452" actId="1076"/>
          <ac:cxnSpMkLst>
            <pc:docMk/>
            <pc:sldMk cId="2507716521" sldId="2076137512"/>
            <ac:cxnSpMk id="82" creationId="{3CDFB771-1CA6-4DFC-ADD1-A70A957E84BA}"/>
          </ac:cxnSpMkLst>
        </pc:cxnChg>
        <pc:cxnChg chg="mod">
          <ac:chgData name="Alan Luder (Valence Group Inc.)" userId="9f14a4d2-8b5c-4fb0-9a7b-d779ed5a424b" providerId="ADAL" clId="{CB793C73-2F9F-F146-A87A-3A49835A72DD}" dt="2021-05-26T18:00:28.132" v="452" actId="1076"/>
          <ac:cxnSpMkLst>
            <pc:docMk/>
            <pc:sldMk cId="2507716521" sldId="2076137512"/>
            <ac:cxnSpMk id="83" creationId="{0388B4C5-2DA8-4ACF-86EA-AABBD1B076DB}"/>
          </ac:cxnSpMkLst>
        </pc:cxnChg>
      </pc:sldChg>
      <pc:sldChg chg="addSp delSp modSp mod modClrScheme chgLayout">
        <pc:chgData name="Alan Luder (Valence Group Inc.)" userId="9f14a4d2-8b5c-4fb0-9a7b-d779ed5a424b" providerId="ADAL" clId="{CB793C73-2F9F-F146-A87A-3A49835A72DD}" dt="2021-05-26T18:23:24.196" v="527" actId="1076"/>
        <pc:sldMkLst>
          <pc:docMk/>
          <pc:sldMk cId="768608626" sldId="2076137513"/>
        </pc:sldMkLst>
        <pc:spChg chg="mod ord">
          <ac:chgData name="Alan Luder (Valence Group Inc.)" userId="9f14a4d2-8b5c-4fb0-9a7b-d779ed5a424b" providerId="ADAL" clId="{CB793C73-2F9F-F146-A87A-3A49835A72DD}" dt="2021-05-26T18:22:29.130" v="515" actId="3064"/>
          <ac:spMkLst>
            <pc:docMk/>
            <pc:sldMk cId="768608626" sldId="2076137513"/>
            <ac:spMk id="2" creationId="{87AD9FCD-915E-4F4E-B9C4-876833923C61}"/>
          </ac:spMkLst>
        </pc:spChg>
        <pc:spChg chg="add del mod ord">
          <ac:chgData name="Alan Luder (Valence Group Inc.)" userId="9f14a4d2-8b5c-4fb0-9a7b-d779ed5a424b" providerId="ADAL" clId="{CB793C73-2F9F-F146-A87A-3A49835A72DD}" dt="2021-05-26T18:22:35.359" v="516" actId="478"/>
          <ac:spMkLst>
            <pc:docMk/>
            <pc:sldMk cId="768608626" sldId="2076137513"/>
            <ac:spMk id="3" creationId="{E714AEFF-0AD6-124D-874D-54D7618C2947}"/>
          </ac:spMkLst>
        </pc:spChg>
        <pc:spChg chg="mod">
          <ac:chgData name="Alan Luder (Valence Group Inc.)" userId="9f14a4d2-8b5c-4fb0-9a7b-d779ed5a424b" providerId="ADAL" clId="{CB793C73-2F9F-F146-A87A-3A49835A72DD}" dt="2021-05-26T18:23:01.238" v="522" actId="1076"/>
          <ac:spMkLst>
            <pc:docMk/>
            <pc:sldMk cId="768608626" sldId="2076137513"/>
            <ac:spMk id="63" creationId="{6A97C628-A900-4E39-A95D-122F8C5672D6}"/>
          </ac:spMkLst>
        </pc:spChg>
        <pc:spChg chg="mod">
          <ac:chgData name="Alan Luder (Valence Group Inc.)" userId="9f14a4d2-8b5c-4fb0-9a7b-d779ed5a424b" providerId="ADAL" clId="{CB793C73-2F9F-F146-A87A-3A49835A72DD}" dt="2021-05-26T18:23:24.196" v="527" actId="1076"/>
          <ac:spMkLst>
            <pc:docMk/>
            <pc:sldMk cId="768608626" sldId="2076137513"/>
            <ac:spMk id="64" creationId="{90F6FEE3-9044-4E86-B0EC-B8BB1575405A}"/>
          </ac:spMkLst>
        </pc:spChg>
        <pc:spChg chg="mod">
          <ac:chgData name="Alan Luder (Valence Group Inc.)" userId="9f14a4d2-8b5c-4fb0-9a7b-d779ed5a424b" providerId="ADAL" clId="{CB793C73-2F9F-F146-A87A-3A49835A72DD}" dt="2021-05-26T18:22:44.711" v="519" actId="1076"/>
          <ac:spMkLst>
            <pc:docMk/>
            <pc:sldMk cId="768608626" sldId="2076137513"/>
            <ac:spMk id="65" creationId="{517048DC-4905-47B0-AE8D-18446A208B6E}"/>
          </ac:spMkLst>
        </pc:spChg>
        <pc:spChg chg="mod">
          <ac:chgData name="Alan Luder (Valence Group Inc.)" userId="9f14a4d2-8b5c-4fb0-9a7b-d779ed5a424b" providerId="ADAL" clId="{CB793C73-2F9F-F146-A87A-3A49835A72DD}" dt="2021-05-26T18:23:03.980" v="523" actId="1076"/>
          <ac:spMkLst>
            <pc:docMk/>
            <pc:sldMk cId="768608626" sldId="2076137513"/>
            <ac:spMk id="71" creationId="{0A12D97A-5EC2-468C-8965-89642F151061}"/>
          </ac:spMkLst>
        </pc:spChg>
        <pc:spChg chg="mod">
          <ac:chgData name="Alan Luder (Valence Group Inc.)" userId="9f14a4d2-8b5c-4fb0-9a7b-d779ed5a424b" providerId="ADAL" clId="{CB793C73-2F9F-F146-A87A-3A49835A72DD}" dt="2021-05-26T18:23:03.980" v="523" actId="1076"/>
          <ac:spMkLst>
            <pc:docMk/>
            <pc:sldMk cId="768608626" sldId="2076137513"/>
            <ac:spMk id="72" creationId="{819EE1B7-4B05-4B76-8249-6D0EC8CFFC78}"/>
          </ac:spMkLst>
        </pc:spChg>
        <pc:spChg chg="mod">
          <ac:chgData name="Alan Luder (Valence Group Inc.)" userId="9f14a4d2-8b5c-4fb0-9a7b-d779ed5a424b" providerId="ADAL" clId="{CB793C73-2F9F-F146-A87A-3A49835A72DD}" dt="2021-05-26T18:23:16.838" v="526" actId="1076"/>
          <ac:spMkLst>
            <pc:docMk/>
            <pc:sldMk cId="768608626" sldId="2076137513"/>
            <ac:spMk id="85" creationId="{AAC25C7A-9DFF-4E8D-955D-6C61F7C6E39E}"/>
          </ac:spMkLst>
        </pc:spChg>
        <pc:grpChg chg="mod">
          <ac:chgData name="Alan Luder (Valence Group Inc.)" userId="9f14a4d2-8b5c-4fb0-9a7b-d779ed5a424b" providerId="ADAL" clId="{CB793C73-2F9F-F146-A87A-3A49835A72DD}" dt="2021-05-26T18:22:42.244" v="518" actId="1076"/>
          <ac:grpSpMkLst>
            <pc:docMk/>
            <pc:sldMk cId="768608626" sldId="2076137513"/>
            <ac:grpSpMk id="157" creationId="{615A23C1-84BA-4E00-8E32-FD85563EBF18}"/>
          </ac:grpSpMkLst>
        </pc:grpChg>
        <pc:cxnChg chg="mod">
          <ac:chgData name="Alan Luder (Valence Group Inc.)" userId="9f14a4d2-8b5c-4fb0-9a7b-d779ed5a424b" providerId="ADAL" clId="{CB793C73-2F9F-F146-A87A-3A49835A72DD}" dt="2021-05-26T18:22:47.273" v="520" actId="14100"/>
          <ac:cxnSpMkLst>
            <pc:docMk/>
            <pc:sldMk cId="768608626" sldId="2076137513"/>
            <ac:cxnSpMk id="68" creationId="{BC1CB755-476C-4ED2-AC86-358DC5FDB713}"/>
          </ac:cxnSpMkLst>
        </pc:cxnChg>
        <pc:cxnChg chg="mod">
          <ac:chgData name="Alan Luder (Valence Group Inc.)" userId="9f14a4d2-8b5c-4fb0-9a7b-d779ed5a424b" providerId="ADAL" clId="{CB793C73-2F9F-F146-A87A-3A49835A72DD}" dt="2021-05-26T18:23:12.294" v="525" actId="14100"/>
          <ac:cxnSpMkLst>
            <pc:docMk/>
            <pc:sldMk cId="768608626" sldId="2076137513"/>
            <ac:cxnSpMk id="69" creationId="{D4352AAF-BCE1-4F20-8721-5185E40D4D45}"/>
          </ac:cxnSpMkLst>
        </pc:cxnChg>
        <pc:cxnChg chg="mod">
          <ac:chgData name="Alan Luder (Valence Group Inc.)" userId="9f14a4d2-8b5c-4fb0-9a7b-d779ed5a424b" providerId="ADAL" clId="{CB793C73-2F9F-F146-A87A-3A49835A72DD}" dt="2021-05-26T18:23:12.294" v="525" actId="14100"/>
          <ac:cxnSpMkLst>
            <pc:docMk/>
            <pc:sldMk cId="768608626" sldId="2076137513"/>
            <ac:cxnSpMk id="70" creationId="{DBE7B64D-032A-4ED7-9590-9F3BD25DEE9B}"/>
          </ac:cxnSpMkLst>
        </pc:cxnChg>
      </pc:sldChg>
      <pc:sldChg chg="addSp delSp modSp mod modClrScheme chgLayout">
        <pc:chgData name="Alan Luder (Valence Group Inc.)" userId="9f14a4d2-8b5c-4fb0-9a7b-d779ed5a424b" providerId="ADAL" clId="{CB793C73-2F9F-F146-A87A-3A49835A72DD}" dt="2021-05-26T18:13:25.276" v="497" actId="1076"/>
        <pc:sldMkLst>
          <pc:docMk/>
          <pc:sldMk cId="3501262012" sldId="2076138114"/>
        </pc:sldMkLst>
        <pc:spChg chg="mod">
          <ac:chgData name="Alan Luder (Valence Group Inc.)" userId="9f14a4d2-8b5c-4fb0-9a7b-d779ed5a424b" providerId="ADAL" clId="{CB793C73-2F9F-F146-A87A-3A49835A72DD}" dt="2021-05-26T18:13:15.018" v="495" actId="14100"/>
          <ac:spMkLst>
            <pc:docMk/>
            <pc:sldMk cId="3501262012" sldId="2076138114"/>
            <ac:spMk id="2" creationId="{B260ECCD-647E-4F37-8FE5-F73AC861EAB9}"/>
          </ac:spMkLst>
        </pc:spChg>
        <pc:spChg chg="add del mod ord">
          <ac:chgData name="Alan Luder (Valence Group Inc.)" userId="9f14a4d2-8b5c-4fb0-9a7b-d779ed5a424b" providerId="ADAL" clId="{CB793C73-2F9F-F146-A87A-3A49835A72DD}" dt="2021-05-26T18:06:46.820" v="464" actId="478"/>
          <ac:spMkLst>
            <pc:docMk/>
            <pc:sldMk cId="3501262012" sldId="2076138114"/>
            <ac:spMk id="3" creationId="{0DEC85AD-83E3-B843-AB04-07E8BCC44588}"/>
          </ac:spMkLst>
        </pc:spChg>
        <pc:spChg chg="mod ord">
          <ac:chgData name="Alan Luder (Valence Group Inc.)" userId="9f14a4d2-8b5c-4fb0-9a7b-d779ed5a424b" providerId="ADAL" clId="{CB793C73-2F9F-F146-A87A-3A49835A72DD}" dt="2021-05-26T18:06:57.486" v="467" actId="14100"/>
          <ac:spMkLst>
            <pc:docMk/>
            <pc:sldMk cId="3501262012" sldId="2076138114"/>
            <ac:spMk id="7" creationId="{BFE22556-F53D-4304-A2AB-5536EB57BB51}"/>
          </ac:spMkLst>
        </pc:spChg>
        <pc:spChg chg="mod">
          <ac:chgData name="Alan Luder (Valence Group Inc.)" userId="9f14a4d2-8b5c-4fb0-9a7b-d779ed5a424b" providerId="ADAL" clId="{CB793C73-2F9F-F146-A87A-3A49835A72DD}" dt="2021-05-26T18:11:16.948" v="491" actId="1076"/>
          <ac:spMkLst>
            <pc:docMk/>
            <pc:sldMk cId="3501262012" sldId="2076138114"/>
            <ac:spMk id="10" creationId="{1E7BD5B4-D311-474A-B2F2-100B341D09C6}"/>
          </ac:spMkLst>
        </pc:spChg>
        <pc:spChg chg="mod">
          <ac:chgData name="Alan Luder (Valence Group Inc.)" userId="9f14a4d2-8b5c-4fb0-9a7b-d779ed5a424b" providerId="ADAL" clId="{CB793C73-2F9F-F146-A87A-3A49835A72DD}" dt="2021-05-26T18:11:31.119" v="493" actId="1076"/>
          <ac:spMkLst>
            <pc:docMk/>
            <pc:sldMk cId="3501262012" sldId="2076138114"/>
            <ac:spMk id="87" creationId="{00027215-9403-4FBE-917F-97C5631B4CA5}"/>
          </ac:spMkLst>
        </pc:spChg>
        <pc:spChg chg="mod">
          <ac:chgData name="Alan Luder (Valence Group Inc.)" userId="9f14a4d2-8b5c-4fb0-9a7b-d779ed5a424b" providerId="ADAL" clId="{CB793C73-2F9F-F146-A87A-3A49835A72DD}" dt="2021-05-26T18:09:55.526" v="473" actId="1076"/>
          <ac:spMkLst>
            <pc:docMk/>
            <pc:sldMk cId="3501262012" sldId="2076138114"/>
            <ac:spMk id="88" creationId="{86E5E909-E56E-4BC3-858E-7801BE5F8076}"/>
          </ac:spMkLst>
        </pc:spChg>
        <pc:spChg chg="mod">
          <ac:chgData name="Alan Luder (Valence Group Inc.)" userId="9f14a4d2-8b5c-4fb0-9a7b-d779ed5a424b" providerId="ADAL" clId="{CB793C73-2F9F-F146-A87A-3A49835A72DD}" dt="2021-05-26T18:07:07.859" v="469" actId="14100"/>
          <ac:spMkLst>
            <pc:docMk/>
            <pc:sldMk cId="3501262012" sldId="2076138114"/>
            <ac:spMk id="107" creationId="{F5DA8B34-B81A-4007-922A-9F3708CBE3AF}"/>
          </ac:spMkLst>
        </pc:spChg>
        <pc:spChg chg="mod">
          <ac:chgData name="Alan Luder (Valence Group Inc.)" userId="9f14a4d2-8b5c-4fb0-9a7b-d779ed5a424b" providerId="ADAL" clId="{CB793C73-2F9F-F146-A87A-3A49835A72DD}" dt="2021-05-26T18:11:04.601" v="489" actId="1076"/>
          <ac:spMkLst>
            <pc:docMk/>
            <pc:sldMk cId="3501262012" sldId="2076138114"/>
            <ac:spMk id="111" creationId="{40BA1C11-3D31-4DFA-8CA7-87BD1CE12C44}"/>
          </ac:spMkLst>
        </pc:spChg>
        <pc:spChg chg="mod">
          <ac:chgData name="Alan Luder (Valence Group Inc.)" userId="9f14a4d2-8b5c-4fb0-9a7b-d779ed5a424b" providerId="ADAL" clId="{CB793C73-2F9F-F146-A87A-3A49835A72DD}" dt="2021-05-26T18:11:01.486" v="488" actId="1076"/>
          <ac:spMkLst>
            <pc:docMk/>
            <pc:sldMk cId="3501262012" sldId="2076138114"/>
            <ac:spMk id="112" creationId="{AAE0921F-6650-4B44-A93C-FFA3B2304318}"/>
          </ac:spMkLst>
        </pc:spChg>
        <pc:spChg chg="mod">
          <ac:chgData name="Alan Luder (Valence Group Inc.)" userId="9f14a4d2-8b5c-4fb0-9a7b-d779ed5a424b" providerId="ADAL" clId="{CB793C73-2F9F-F146-A87A-3A49835A72DD}" dt="2021-05-26T18:09:55.526" v="473" actId="1076"/>
          <ac:spMkLst>
            <pc:docMk/>
            <pc:sldMk cId="3501262012" sldId="2076138114"/>
            <ac:spMk id="115" creationId="{B8023873-3CEC-4B6D-B4BE-01C56ED95E9A}"/>
          </ac:spMkLst>
        </pc:spChg>
        <pc:spChg chg="mod">
          <ac:chgData name="Alan Luder (Valence Group Inc.)" userId="9f14a4d2-8b5c-4fb0-9a7b-d779ed5a424b" providerId="ADAL" clId="{CB793C73-2F9F-F146-A87A-3A49835A72DD}" dt="2021-05-26T18:11:06.774" v="490" actId="1076"/>
          <ac:spMkLst>
            <pc:docMk/>
            <pc:sldMk cId="3501262012" sldId="2076138114"/>
            <ac:spMk id="126" creationId="{B6DA7129-EAA7-4F18-8E1A-BD6DB24F7A47}"/>
          </ac:spMkLst>
        </pc:spChg>
        <pc:spChg chg="mod">
          <ac:chgData name="Alan Luder (Valence Group Inc.)" userId="9f14a4d2-8b5c-4fb0-9a7b-d779ed5a424b" providerId="ADAL" clId="{CB793C73-2F9F-F146-A87A-3A49835A72DD}" dt="2021-05-26T18:11:06.774" v="490" actId="1076"/>
          <ac:spMkLst>
            <pc:docMk/>
            <pc:sldMk cId="3501262012" sldId="2076138114"/>
            <ac:spMk id="128" creationId="{C3F188E3-D596-4CEA-BAEB-0A3A21E3C87A}"/>
          </ac:spMkLst>
        </pc:spChg>
        <pc:spChg chg="mod">
          <ac:chgData name="Alan Luder (Valence Group Inc.)" userId="9f14a4d2-8b5c-4fb0-9a7b-d779ed5a424b" providerId="ADAL" clId="{CB793C73-2F9F-F146-A87A-3A49835A72DD}" dt="2021-05-26T18:11:06.774" v="490" actId="1076"/>
          <ac:spMkLst>
            <pc:docMk/>
            <pc:sldMk cId="3501262012" sldId="2076138114"/>
            <ac:spMk id="129" creationId="{B06CC2ED-8A5A-425D-8FAD-A29B5B8B38CB}"/>
          </ac:spMkLst>
        </pc:spChg>
        <pc:spChg chg="mod">
          <ac:chgData name="Alan Luder (Valence Group Inc.)" userId="9f14a4d2-8b5c-4fb0-9a7b-d779ed5a424b" providerId="ADAL" clId="{CB793C73-2F9F-F146-A87A-3A49835A72DD}" dt="2021-05-26T18:11:06.774" v="490" actId="1076"/>
          <ac:spMkLst>
            <pc:docMk/>
            <pc:sldMk cId="3501262012" sldId="2076138114"/>
            <ac:spMk id="142" creationId="{30377F20-FE4B-4B21-976A-DE18D993974D}"/>
          </ac:spMkLst>
        </pc:spChg>
        <pc:spChg chg="mod">
          <ac:chgData name="Alan Luder (Valence Group Inc.)" userId="9f14a4d2-8b5c-4fb0-9a7b-d779ed5a424b" providerId="ADAL" clId="{CB793C73-2F9F-F146-A87A-3A49835A72DD}" dt="2021-05-26T18:10:42.180" v="482" actId="1076"/>
          <ac:spMkLst>
            <pc:docMk/>
            <pc:sldMk cId="3501262012" sldId="2076138114"/>
            <ac:spMk id="146" creationId="{F3978602-292F-497A-BDCA-E6D18F3A626D}"/>
          </ac:spMkLst>
        </pc:spChg>
        <pc:spChg chg="mod">
          <ac:chgData name="Alan Luder (Valence Group Inc.)" userId="9f14a4d2-8b5c-4fb0-9a7b-d779ed5a424b" providerId="ADAL" clId="{CB793C73-2F9F-F146-A87A-3A49835A72DD}" dt="2021-05-26T18:10:00.140" v="474" actId="1076"/>
          <ac:spMkLst>
            <pc:docMk/>
            <pc:sldMk cId="3501262012" sldId="2076138114"/>
            <ac:spMk id="147" creationId="{1AF74469-4CC8-4812-A962-D9C909F8AAD1}"/>
          </ac:spMkLst>
        </pc:spChg>
        <pc:spChg chg="mod">
          <ac:chgData name="Alan Luder (Valence Group Inc.)" userId="9f14a4d2-8b5c-4fb0-9a7b-d779ed5a424b" providerId="ADAL" clId="{CB793C73-2F9F-F146-A87A-3A49835A72DD}" dt="2021-05-26T18:10:59.437" v="487" actId="14100"/>
          <ac:spMkLst>
            <pc:docMk/>
            <pc:sldMk cId="3501262012" sldId="2076138114"/>
            <ac:spMk id="148" creationId="{FB9BA5FA-BCA1-4AF9-94BF-1EBDB6F63253}"/>
          </ac:spMkLst>
        </pc:spChg>
        <pc:spChg chg="mod">
          <ac:chgData name="Alan Luder (Valence Group Inc.)" userId="9f14a4d2-8b5c-4fb0-9a7b-d779ed5a424b" providerId="ADAL" clId="{CB793C73-2F9F-F146-A87A-3A49835A72DD}" dt="2021-05-26T18:13:22.159" v="496" actId="1076"/>
          <ac:spMkLst>
            <pc:docMk/>
            <pc:sldMk cId="3501262012" sldId="2076138114"/>
            <ac:spMk id="149" creationId="{6D2FDA6C-D6AB-4B60-B2F9-713086C9C4F0}"/>
          </ac:spMkLst>
        </pc:spChg>
        <pc:spChg chg="mod">
          <ac:chgData name="Alan Luder (Valence Group Inc.)" userId="9f14a4d2-8b5c-4fb0-9a7b-d779ed5a424b" providerId="ADAL" clId="{CB793C73-2F9F-F146-A87A-3A49835A72DD}" dt="2021-05-26T18:11:06.774" v="490" actId="1076"/>
          <ac:spMkLst>
            <pc:docMk/>
            <pc:sldMk cId="3501262012" sldId="2076138114"/>
            <ac:spMk id="154" creationId="{23C4A40E-F150-4084-9C51-A0525824120F}"/>
          </ac:spMkLst>
        </pc:spChg>
        <pc:spChg chg="mod">
          <ac:chgData name="Alan Luder (Valence Group Inc.)" userId="9f14a4d2-8b5c-4fb0-9a7b-d779ed5a424b" providerId="ADAL" clId="{CB793C73-2F9F-F146-A87A-3A49835A72DD}" dt="2021-05-26T18:11:06.774" v="490" actId="1076"/>
          <ac:spMkLst>
            <pc:docMk/>
            <pc:sldMk cId="3501262012" sldId="2076138114"/>
            <ac:spMk id="159" creationId="{222E2BBB-8200-4AC5-917E-A45CE41F8B1C}"/>
          </ac:spMkLst>
        </pc:spChg>
        <pc:grpChg chg="mod">
          <ac:chgData name="Alan Luder (Valence Group Inc.)" userId="9f14a4d2-8b5c-4fb0-9a7b-d779ed5a424b" providerId="ADAL" clId="{CB793C73-2F9F-F146-A87A-3A49835A72DD}" dt="2021-05-26T18:10:52.834" v="485" actId="1076"/>
          <ac:grpSpMkLst>
            <pc:docMk/>
            <pc:sldMk cId="3501262012" sldId="2076138114"/>
            <ac:grpSpMk id="19" creationId="{A7563EE4-0955-4BA7-94D2-D0798E860821}"/>
          </ac:grpSpMkLst>
        </pc:grpChg>
        <pc:grpChg chg="mod">
          <ac:chgData name="Alan Luder (Valence Group Inc.)" userId="9f14a4d2-8b5c-4fb0-9a7b-d779ed5a424b" providerId="ADAL" clId="{CB793C73-2F9F-F146-A87A-3A49835A72DD}" dt="2021-05-26T18:11:06.774" v="490" actId="1076"/>
          <ac:grpSpMkLst>
            <pc:docMk/>
            <pc:sldMk cId="3501262012" sldId="2076138114"/>
            <ac:grpSpMk id="21" creationId="{07293160-585E-4BFC-8F4D-707D92987656}"/>
          </ac:grpSpMkLst>
        </pc:grpChg>
        <pc:grpChg chg="mod">
          <ac:chgData name="Alan Luder (Valence Group Inc.)" userId="9f14a4d2-8b5c-4fb0-9a7b-d779ed5a424b" providerId="ADAL" clId="{CB793C73-2F9F-F146-A87A-3A49835A72DD}" dt="2021-05-26T18:13:25.276" v="497" actId="1076"/>
          <ac:grpSpMkLst>
            <pc:docMk/>
            <pc:sldMk cId="3501262012" sldId="2076138114"/>
            <ac:grpSpMk id="24" creationId="{2C7255BB-D421-46A3-919E-73D12601DE7C}"/>
          </ac:grpSpMkLst>
        </pc:grpChg>
        <pc:grpChg chg="mod">
          <ac:chgData name="Alan Luder (Valence Group Inc.)" userId="9f14a4d2-8b5c-4fb0-9a7b-d779ed5a424b" providerId="ADAL" clId="{CB793C73-2F9F-F146-A87A-3A49835A72DD}" dt="2021-05-26T18:11:25.438" v="492" actId="1076"/>
          <ac:grpSpMkLst>
            <pc:docMk/>
            <pc:sldMk cId="3501262012" sldId="2076138114"/>
            <ac:grpSpMk id="89" creationId="{FD8ACD43-022D-4BB2-9AF5-3F2FDE78D0B7}"/>
          </ac:grpSpMkLst>
        </pc:grpChg>
        <pc:grpChg chg="mod">
          <ac:chgData name="Alan Luder (Valence Group Inc.)" userId="9f14a4d2-8b5c-4fb0-9a7b-d779ed5a424b" providerId="ADAL" clId="{CB793C73-2F9F-F146-A87A-3A49835A72DD}" dt="2021-05-26T18:11:16.948" v="491" actId="1076"/>
          <ac:grpSpMkLst>
            <pc:docMk/>
            <pc:sldMk cId="3501262012" sldId="2076138114"/>
            <ac:grpSpMk id="116" creationId="{C6463875-F55F-4B1A-9561-AA1817130AC2}"/>
          </ac:grpSpMkLst>
        </pc:grpChg>
        <pc:grpChg chg="mod">
          <ac:chgData name="Alan Luder (Valence Group Inc.)" userId="9f14a4d2-8b5c-4fb0-9a7b-d779ed5a424b" providerId="ADAL" clId="{CB793C73-2F9F-F146-A87A-3A49835A72DD}" dt="2021-05-26T18:11:06.774" v="490" actId="1076"/>
          <ac:grpSpMkLst>
            <pc:docMk/>
            <pc:sldMk cId="3501262012" sldId="2076138114"/>
            <ac:grpSpMk id="125" creationId="{D8EAB65F-8DC7-414E-8980-0F1CFAE53D60}"/>
          </ac:grpSpMkLst>
        </pc:grpChg>
        <pc:grpChg chg="mod">
          <ac:chgData name="Alan Luder (Valence Group Inc.)" userId="9f14a4d2-8b5c-4fb0-9a7b-d779ed5a424b" providerId="ADAL" clId="{CB793C73-2F9F-F146-A87A-3A49835A72DD}" dt="2021-05-26T18:11:06.774" v="490" actId="1076"/>
          <ac:grpSpMkLst>
            <pc:docMk/>
            <pc:sldMk cId="3501262012" sldId="2076138114"/>
            <ac:grpSpMk id="127" creationId="{9C2FAD5E-506C-49B1-8726-BC94D0D447C9}"/>
          </ac:grpSpMkLst>
        </pc:grpChg>
        <pc:grpChg chg="mod">
          <ac:chgData name="Alan Luder (Valence Group Inc.)" userId="9f14a4d2-8b5c-4fb0-9a7b-d779ed5a424b" providerId="ADAL" clId="{CB793C73-2F9F-F146-A87A-3A49835A72DD}" dt="2021-05-26T18:12:29.043" v="494" actId="1076"/>
          <ac:grpSpMkLst>
            <pc:docMk/>
            <pc:sldMk cId="3501262012" sldId="2076138114"/>
            <ac:grpSpMk id="171" creationId="{FF0E4BB4-12FE-4ED6-8BB7-DE41147C6B16}"/>
          </ac:grpSpMkLst>
        </pc:grpChg>
        <pc:grpChg chg="mod">
          <ac:chgData name="Alan Luder (Valence Group Inc.)" userId="9f14a4d2-8b5c-4fb0-9a7b-d779ed5a424b" providerId="ADAL" clId="{CB793C73-2F9F-F146-A87A-3A49835A72DD}" dt="2021-05-26T18:10:20.786" v="479" actId="1076"/>
          <ac:grpSpMkLst>
            <pc:docMk/>
            <pc:sldMk cId="3501262012" sldId="2076138114"/>
            <ac:grpSpMk id="175" creationId="{6D44B09E-C141-450F-98DF-0976048FF246}"/>
          </ac:grpSpMkLst>
        </pc:grpChg>
        <pc:cxnChg chg="mod">
          <ac:chgData name="Alan Luder (Valence Group Inc.)" userId="9f14a4d2-8b5c-4fb0-9a7b-d779ed5a424b" providerId="ADAL" clId="{CB793C73-2F9F-F146-A87A-3A49835A72DD}" dt="2021-05-26T18:11:16.948" v="491" actId="1076"/>
          <ac:cxnSpMkLst>
            <pc:docMk/>
            <pc:sldMk cId="3501262012" sldId="2076138114"/>
            <ac:cxnSpMk id="114" creationId="{26A02E66-F4C4-47CC-857F-5202FCA6B564}"/>
          </ac:cxnSpMkLst>
        </pc:cxnChg>
        <pc:cxnChg chg="mod">
          <ac:chgData name="Alan Luder (Valence Group Inc.)" userId="9f14a4d2-8b5c-4fb0-9a7b-d779ed5a424b" providerId="ADAL" clId="{CB793C73-2F9F-F146-A87A-3A49835A72DD}" dt="2021-05-26T18:10:52.834" v="485" actId="1076"/>
          <ac:cxnSpMkLst>
            <pc:docMk/>
            <pc:sldMk cId="3501262012" sldId="2076138114"/>
            <ac:cxnSpMk id="163" creationId="{B6FDF4D3-8FCF-4B1E-8610-1775A847E1FE}"/>
          </ac:cxnSpMkLst>
        </pc:cxnChg>
        <pc:cxnChg chg="mod">
          <ac:chgData name="Alan Luder (Valence Group Inc.)" userId="9f14a4d2-8b5c-4fb0-9a7b-d779ed5a424b" providerId="ADAL" clId="{CB793C73-2F9F-F146-A87A-3A49835A72DD}" dt="2021-05-26T18:13:25.276" v="497" actId="1076"/>
          <ac:cxnSpMkLst>
            <pc:docMk/>
            <pc:sldMk cId="3501262012" sldId="2076138114"/>
            <ac:cxnSpMk id="165" creationId="{AD68F8B6-5A03-41CD-8343-9275AB5F0F73}"/>
          </ac:cxnSpMkLst>
        </pc:cxnChg>
        <pc:cxnChg chg="mod">
          <ac:chgData name="Alan Luder (Valence Group Inc.)" userId="9f14a4d2-8b5c-4fb0-9a7b-d779ed5a424b" providerId="ADAL" clId="{CB793C73-2F9F-F146-A87A-3A49835A72DD}" dt="2021-05-26T18:11:06.774" v="490" actId="1076"/>
          <ac:cxnSpMkLst>
            <pc:docMk/>
            <pc:sldMk cId="3501262012" sldId="2076138114"/>
            <ac:cxnSpMk id="168" creationId="{1C49DD94-5D04-4701-9B30-AE1FCE18BB5E}"/>
          </ac:cxnSpMkLst>
        </pc:cxnChg>
      </pc:sldChg>
      <pc:sldChg chg="addSp delSp modSp mod modClrScheme chgLayout">
        <pc:chgData name="Alan Luder (Valence Group Inc.)" userId="9f14a4d2-8b5c-4fb0-9a7b-d779ed5a424b" providerId="ADAL" clId="{CB793C73-2F9F-F146-A87A-3A49835A72DD}" dt="2021-05-26T17:52:43.220" v="434" actId="3064"/>
        <pc:sldMkLst>
          <pc:docMk/>
          <pc:sldMk cId="3141493614" sldId="2076138130"/>
        </pc:sldMkLst>
        <pc:spChg chg="add del mod ord">
          <ac:chgData name="Alan Luder (Valence Group Inc.)" userId="9f14a4d2-8b5c-4fb0-9a7b-d779ed5a424b" providerId="ADAL" clId="{CB793C73-2F9F-F146-A87A-3A49835A72DD}" dt="2021-05-26T16:39:23.192" v="125" actId="700"/>
          <ac:spMkLst>
            <pc:docMk/>
            <pc:sldMk cId="3141493614" sldId="2076138130"/>
            <ac:spMk id="2" creationId="{446E775B-AC9A-2249-A958-58F1D3401A62}"/>
          </ac:spMkLst>
        </pc:spChg>
        <pc:spChg chg="add del mod">
          <ac:chgData name="Alan Luder (Valence Group Inc.)" userId="9f14a4d2-8b5c-4fb0-9a7b-d779ed5a424b" providerId="ADAL" clId="{CB793C73-2F9F-F146-A87A-3A49835A72DD}" dt="2021-05-26T16:40:04.659" v="130" actId="767"/>
          <ac:spMkLst>
            <pc:docMk/>
            <pc:sldMk cId="3141493614" sldId="2076138130"/>
            <ac:spMk id="3" creationId="{50B48754-BC6D-FF41-89A9-5E18024685AC}"/>
          </ac:spMkLst>
        </pc:spChg>
        <pc:spChg chg="mod ord">
          <ac:chgData name="Alan Luder (Valence Group Inc.)" userId="9f14a4d2-8b5c-4fb0-9a7b-d779ed5a424b" providerId="ADAL" clId="{CB793C73-2F9F-F146-A87A-3A49835A72DD}" dt="2021-05-26T17:52:43.220" v="434" actId="3064"/>
          <ac:spMkLst>
            <pc:docMk/>
            <pc:sldMk cId="3141493614" sldId="2076138130"/>
            <ac:spMk id="7" creationId="{BFE22556-F53D-4304-A2AB-5536EB57BB51}"/>
          </ac:spMkLst>
        </pc:spChg>
        <pc:spChg chg="add del mod ord">
          <ac:chgData name="Alan Luder (Valence Group Inc.)" userId="9f14a4d2-8b5c-4fb0-9a7b-d779ed5a424b" providerId="ADAL" clId="{CB793C73-2F9F-F146-A87A-3A49835A72DD}" dt="2021-05-26T16:49:42.971" v="140" actId="478"/>
          <ac:spMkLst>
            <pc:docMk/>
            <pc:sldMk cId="3141493614" sldId="2076138130"/>
            <ac:spMk id="9" creationId="{07176D74-1514-AB42-AA26-8BA572FFBA8E}"/>
          </ac:spMkLst>
        </pc:spChg>
        <pc:spChg chg="mod">
          <ac:chgData name="Alan Luder (Valence Group Inc.)" userId="9f14a4d2-8b5c-4fb0-9a7b-d779ed5a424b" providerId="ADAL" clId="{CB793C73-2F9F-F146-A87A-3A49835A72DD}" dt="2021-05-26T16:57:31.015" v="157" actId="14100"/>
          <ac:spMkLst>
            <pc:docMk/>
            <pc:sldMk cId="3141493614" sldId="2076138130"/>
            <ac:spMk id="107" creationId="{F5DA8B34-B81A-4007-922A-9F3708CBE3AF}"/>
          </ac:spMkLst>
        </pc:spChg>
        <pc:spChg chg="mod">
          <ac:chgData name="Alan Luder (Valence Group Inc.)" userId="9f14a4d2-8b5c-4fb0-9a7b-d779ed5a424b" providerId="ADAL" clId="{CB793C73-2F9F-F146-A87A-3A49835A72DD}" dt="2021-05-26T16:57:07.503" v="152" actId="1076"/>
          <ac:spMkLst>
            <pc:docMk/>
            <pc:sldMk cId="3141493614" sldId="2076138130"/>
            <ac:spMk id="108" creationId="{134E31F7-3519-49B6-B920-A66475B2E52C}"/>
          </ac:spMkLst>
        </pc:spChg>
        <pc:spChg chg="mod">
          <ac:chgData name="Alan Luder (Valence Group Inc.)" userId="9f14a4d2-8b5c-4fb0-9a7b-d779ed5a424b" providerId="ADAL" clId="{CB793C73-2F9F-F146-A87A-3A49835A72DD}" dt="2021-05-26T16:56:58.908" v="150" actId="1076"/>
          <ac:spMkLst>
            <pc:docMk/>
            <pc:sldMk cId="3141493614" sldId="2076138130"/>
            <ac:spMk id="109" creationId="{BCD0AD93-1BA4-45BA-B71E-AA2EF0249D6D}"/>
          </ac:spMkLst>
        </pc:spChg>
        <pc:spChg chg="mod">
          <ac:chgData name="Alan Luder (Valence Group Inc.)" userId="9f14a4d2-8b5c-4fb0-9a7b-d779ed5a424b" providerId="ADAL" clId="{CB793C73-2F9F-F146-A87A-3A49835A72DD}" dt="2021-05-26T16:57:13.287" v="153" actId="1076"/>
          <ac:spMkLst>
            <pc:docMk/>
            <pc:sldMk cId="3141493614" sldId="2076138130"/>
            <ac:spMk id="110" creationId="{64F83CD1-CE98-450F-90CC-80A1097970F5}"/>
          </ac:spMkLst>
        </pc:spChg>
        <pc:spChg chg="mod">
          <ac:chgData name="Alan Luder (Valence Group Inc.)" userId="9f14a4d2-8b5c-4fb0-9a7b-d779ed5a424b" providerId="ADAL" clId="{CB793C73-2F9F-F146-A87A-3A49835A72DD}" dt="2021-05-26T16:57:50.357" v="162" actId="14100"/>
          <ac:spMkLst>
            <pc:docMk/>
            <pc:sldMk cId="3141493614" sldId="2076138130"/>
            <ac:spMk id="112" creationId="{AAE0921F-6650-4B44-A93C-FFA3B2304318}"/>
          </ac:spMkLst>
        </pc:spChg>
        <pc:spChg chg="mod">
          <ac:chgData name="Alan Luder (Valence Group Inc.)" userId="9f14a4d2-8b5c-4fb0-9a7b-d779ed5a424b" providerId="ADAL" clId="{CB793C73-2F9F-F146-A87A-3A49835A72DD}" dt="2021-05-26T16:58:02.999" v="165" actId="1076"/>
          <ac:spMkLst>
            <pc:docMk/>
            <pc:sldMk cId="3141493614" sldId="2076138130"/>
            <ac:spMk id="115" creationId="{B8023873-3CEC-4B6D-B4BE-01C56ED95E9A}"/>
          </ac:spMkLst>
        </pc:spChg>
        <pc:spChg chg="mod">
          <ac:chgData name="Alan Luder (Valence Group Inc.)" userId="9f14a4d2-8b5c-4fb0-9a7b-d779ed5a424b" providerId="ADAL" clId="{CB793C73-2F9F-F146-A87A-3A49835A72DD}" dt="2021-05-26T16:56:48.038" v="148" actId="1076"/>
          <ac:spMkLst>
            <pc:docMk/>
            <pc:sldMk cId="3141493614" sldId="2076138130"/>
            <ac:spMk id="146" creationId="{F3978602-292F-497A-BDCA-E6D18F3A626D}"/>
          </ac:spMkLst>
        </pc:spChg>
        <pc:spChg chg="mod">
          <ac:chgData name="Alan Luder (Valence Group Inc.)" userId="9f14a4d2-8b5c-4fb0-9a7b-d779ed5a424b" providerId="ADAL" clId="{CB793C73-2F9F-F146-A87A-3A49835A72DD}" dt="2021-05-26T16:57:47.959" v="161" actId="1076"/>
          <ac:spMkLst>
            <pc:docMk/>
            <pc:sldMk cId="3141493614" sldId="2076138130"/>
            <ac:spMk id="148" creationId="{FB9BA5FA-BCA1-4AF9-94BF-1EBDB6F63253}"/>
          </ac:spMkLst>
        </pc:spChg>
        <pc:spChg chg="mod">
          <ac:chgData name="Alan Luder (Valence Group Inc.)" userId="9f14a4d2-8b5c-4fb0-9a7b-d779ed5a424b" providerId="ADAL" clId="{CB793C73-2F9F-F146-A87A-3A49835A72DD}" dt="2021-05-26T16:58:00.400" v="164" actId="1076"/>
          <ac:spMkLst>
            <pc:docMk/>
            <pc:sldMk cId="3141493614" sldId="2076138130"/>
            <ac:spMk id="149" creationId="{6D2FDA6C-D6AB-4B60-B2F9-713086C9C4F0}"/>
          </ac:spMkLst>
        </pc:spChg>
        <pc:grpChg chg="add mod">
          <ac:chgData name="Alan Luder (Valence Group Inc.)" userId="9f14a4d2-8b5c-4fb0-9a7b-d779ed5a424b" providerId="ADAL" clId="{CB793C73-2F9F-F146-A87A-3A49835A72DD}" dt="2021-05-26T16:41:14.437" v="139" actId="167"/>
          <ac:grpSpMkLst>
            <pc:docMk/>
            <pc:sldMk cId="3141493614" sldId="2076138130"/>
            <ac:grpSpMk id="8" creationId="{F90781C8-D27C-484E-B507-8AFF2BA716A0}"/>
          </ac:grpSpMkLst>
        </pc:grpChg>
        <pc:grpChg chg="mod">
          <ac:chgData name="Alan Luder (Valence Group Inc.)" userId="9f14a4d2-8b5c-4fb0-9a7b-d779ed5a424b" providerId="ADAL" clId="{CB793C73-2F9F-F146-A87A-3A49835A72DD}" dt="2021-05-26T16:57:24.109" v="155" actId="1076"/>
          <ac:grpSpMkLst>
            <pc:docMk/>
            <pc:sldMk cId="3141493614" sldId="2076138130"/>
            <ac:grpSpMk id="23" creationId="{21C839C7-A0A6-4244-870E-94DEFCBD8DFE}"/>
          </ac:grpSpMkLst>
        </pc:grpChg>
        <pc:grpChg chg="mod">
          <ac:chgData name="Alan Luder (Valence Group Inc.)" userId="9f14a4d2-8b5c-4fb0-9a7b-d779ed5a424b" providerId="ADAL" clId="{CB793C73-2F9F-F146-A87A-3A49835A72DD}" dt="2021-05-26T16:57:07.503" v="152" actId="1076"/>
          <ac:grpSpMkLst>
            <pc:docMk/>
            <pc:sldMk cId="3141493614" sldId="2076138130"/>
            <ac:grpSpMk id="169" creationId="{771D3AF9-EBD7-472F-AAAB-600FC84E3A29}"/>
          </ac:grpSpMkLst>
        </pc:grpChg>
        <pc:grpChg chg="mod">
          <ac:chgData name="Alan Luder (Valence Group Inc.)" userId="9f14a4d2-8b5c-4fb0-9a7b-d779ed5a424b" providerId="ADAL" clId="{CB793C73-2F9F-F146-A87A-3A49835A72DD}" dt="2021-05-26T16:57:13.287" v="153" actId="1076"/>
          <ac:grpSpMkLst>
            <pc:docMk/>
            <pc:sldMk cId="3141493614" sldId="2076138130"/>
            <ac:grpSpMk id="177" creationId="{9B37FB2D-A9CD-4436-BBC9-01FD7D76448E}"/>
          </ac:grpSpMkLst>
        </pc:grpChg>
        <pc:picChg chg="add mod">
          <ac:chgData name="Alan Luder (Valence Group Inc.)" userId="9f14a4d2-8b5c-4fb0-9a7b-d779ed5a424b" providerId="ADAL" clId="{CB793C73-2F9F-F146-A87A-3A49835A72DD}" dt="2021-05-26T16:41:01.915" v="136" actId="167"/>
          <ac:picMkLst>
            <pc:docMk/>
            <pc:sldMk cId="3141493614" sldId="2076138130"/>
            <ac:picMk id="4" creationId="{0AFDD271-7E2A-9648-812F-98B61F07ACED}"/>
          </ac:picMkLst>
        </pc:picChg>
        <pc:picChg chg="add mod">
          <ac:chgData name="Alan Luder (Valence Group Inc.)" userId="9f14a4d2-8b5c-4fb0-9a7b-d779ed5a424b" providerId="ADAL" clId="{CB793C73-2F9F-F146-A87A-3A49835A72DD}" dt="2021-05-26T16:41:01.915" v="136" actId="167"/>
          <ac:picMkLst>
            <pc:docMk/>
            <pc:sldMk cId="3141493614" sldId="2076138130"/>
            <ac:picMk id="5" creationId="{06E97579-0DF3-6F48-A843-050F854B113B}"/>
          </ac:picMkLst>
        </pc:picChg>
        <pc:picChg chg="add mod">
          <ac:chgData name="Alan Luder (Valence Group Inc.)" userId="9f14a4d2-8b5c-4fb0-9a7b-d779ed5a424b" providerId="ADAL" clId="{CB793C73-2F9F-F146-A87A-3A49835A72DD}" dt="2021-05-26T16:41:01.915" v="136" actId="167"/>
          <ac:picMkLst>
            <pc:docMk/>
            <pc:sldMk cId="3141493614" sldId="2076138130"/>
            <ac:picMk id="6" creationId="{7DBC728F-9330-7F4F-9449-67C02D12B1D2}"/>
          </ac:picMkLst>
        </pc:picChg>
        <pc:cxnChg chg="mod">
          <ac:chgData name="Alan Luder (Valence Group Inc.)" userId="9f14a4d2-8b5c-4fb0-9a7b-d779ed5a424b" providerId="ADAL" clId="{CB793C73-2F9F-F146-A87A-3A49835A72DD}" dt="2021-05-26T16:57:24.109" v="155" actId="1076"/>
          <ac:cxnSpMkLst>
            <pc:docMk/>
            <pc:sldMk cId="3141493614" sldId="2076138130"/>
            <ac:cxnSpMk id="162" creationId="{75D342B6-ED18-4634-8E00-96E4E4917D2E}"/>
          </ac:cxnSpMkLst>
        </pc:cxnChg>
      </pc:sldChg>
      <pc:sldChg chg="addSp delSp modSp mod modClrScheme chgLayout">
        <pc:chgData name="Alan Luder (Valence Group Inc.)" userId="9f14a4d2-8b5c-4fb0-9a7b-d779ed5a424b" providerId="ADAL" clId="{CB793C73-2F9F-F146-A87A-3A49835A72DD}" dt="2021-05-26T17:53:20.690" v="439" actId="478"/>
        <pc:sldMkLst>
          <pc:docMk/>
          <pc:sldMk cId="1934978805" sldId="2076138131"/>
        </pc:sldMkLst>
        <pc:spChg chg="add del mod ord">
          <ac:chgData name="Alan Luder (Valence Group Inc.)" userId="9f14a4d2-8b5c-4fb0-9a7b-d779ed5a424b" providerId="ADAL" clId="{CB793C73-2F9F-F146-A87A-3A49835A72DD}" dt="2021-05-26T17:53:20.690" v="439" actId="478"/>
          <ac:spMkLst>
            <pc:docMk/>
            <pc:sldMk cId="1934978805" sldId="2076138131"/>
            <ac:spMk id="3" creationId="{03121A87-5636-C24A-955F-81155066A3EA}"/>
          </ac:spMkLst>
        </pc:spChg>
        <pc:spChg chg="mod ord">
          <ac:chgData name="Alan Luder (Valence Group Inc.)" userId="9f14a4d2-8b5c-4fb0-9a7b-d779ed5a424b" providerId="ADAL" clId="{CB793C73-2F9F-F146-A87A-3A49835A72DD}" dt="2021-05-26T17:53:15.992" v="438" actId="700"/>
          <ac:spMkLst>
            <pc:docMk/>
            <pc:sldMk cId="1934978805" sldId="2076138131"/>
            <ac:spMk id="7" creationId="{BFE22556-F53D-4304-A2AB-5536EB57BB51}"/>
          </ac:spMkLst>
        </pc:spChg>
        <pc:spChg chg="mod">
          <ac:chgData name="Alan Luder (Valence Group Inc.)" userId="9f14a4d2-8b5c-4fb0-9a7b-d779ed5a424b" providerId="ADAL" clId="{CB793C73-2F9F-F146-A87A-3A49835A72DD}" dt="2021-05-26T17:25:15.112" v="322" actId="1076"/>
          <ac:spMkLst>
            <pc:docMk/>
            <pc:sldMk cId="1934978805" sldId="2076138131"/>
            <ac:spMk id="10" creationId="{1E7BD5B4-D311-474A-B2F2-100B341D09C6}"/>
          </ac:spMkLst>
        </pc:spChg>
        <pc:spChg chg="mod">
          <ac:chgData name="Alan Luder (Valence Group Inc.)" userId="9f14a4d2-8b5c-4fb0-9a7b-d779ed5a424b" providerId="ADAL" clId="{CB793C73-2F9F-F146-A87A-3A49835A72DD}" dt="2021-05-26T17:21:33.712" v="285" actId="1076"/>
          <ac:spMkLst>
            <pc:docMk/>
            <pc:sldMk cId="1934978805" sldId="2076138131"/>
            <ac:spMk id="91" creationId="{848785EE-4604-4D4B-811D-88719EB944DF}"/>
          </ac:spMkLst>
        </pc:spChg>
        <pc:spChg chg="mod">
          <ac:chgData name="Alan Luder (Valence Group Inc.)" userId="9f14a4d2-8b5c-4fb0-9a7b-d779ed5a424b" providerId="ADAL" clId="{CB793C73-2F9F-F146-A87A-3A49835A72DD}" dt="2021-05-26T17:21:33.712" v="285" actId="1076"/>
          <ac:spMkLst>
            <pc:docMk/>
            <pc:sldMk cId="1934978805" sldId="2076138131"/>
            <ac:spMk id="93" creationId="{88C727A4-DAED-4755-9DDC-A3874A670DE1}"/>
          </ac:spMkLst>
        </pc:spChg>
        <pc:spChg chg="mod">
          <ac:chgData name="Alan Luder (Valence Group Inc.)" userId="9f14a4d2-8b5c-4fb0-9a7b-d779ed5a424b" providerId="ADAL" clId="{CB793C73-2F9F-F146-A87A-3A49835A72DD}" dt="2021-05-26T17:21:33.712" v="285" actId="1076"/>
          <ac:spMkLst>
            <pc:docMk/>
            <pc:sldMk cId="1934978805" sldId="2076138131"/>
            <ac:spMk id="94" creationId="{3CE09A9C-4C02-4A1A-BB76-082C24655036}"/>
          </ac:spMkLst>
        </pc:spChg>
        <pc:spChg chg="mod">
          <ac:chgData name="Alan Luder (Valence Group Inc.)" userId="9f14a4d2-8b5c-4fb0-9a7b-d779ed5a424b" providerId="ADAL" clId="{CB793C73-2F9F-F146-A87A-3A49835A72DD}" dt="2021-05-26T17:21:33.712" v="285" actId="1076"/>
          <ac:spMkLst>
            <pc:docMk/>
            <pc:sldMk cId="1934978805" sldId="2076138131"/>
            <ac:spMk id="95" creationId="{C6256D14-0F8D-4385-930E-1F72655BB698}"/>
          </ac:spMkLst>
        </pc:spChg>
        <pc:spChg chg="mod">
          <ac:chgData name="Alan Luder (Valence Group Inc.)" userId="9f14a4d2-8b5c-4fb0-9a7b-d779ed5a424b" providerId="ADAL" clId="{CB793C73-2F9F-F146-A87A-3A49835A72DD}" dt="2021-05-26T17:21:33.712" v="285" actId="1076"/>
          <ac:spMkLst>
            <pc:docMk/>
            <pc:sldMk cId="1934978805" sldId="2076138131"/>
            <ac:spMk id="96" creationId="{5B548E46-D82C-45FE-A2A6-5BA813B2704A}"/>
          </ac:spMkLst>
        </pc:spChg>
        <pc:spChg chg="mod">
          <ac:chgData name="Alan Luder (Valence Group Inc.)" userId="9f14a4d2-8b5c-4fb0-9a7b-d779ed5a424b" providerId="ADAL" clId="{CB793C73-2F9F-F146-A87A-3A49835A72DD}" dt="2021-05-26T17:21:33.712" v="285" actId="1076"/>
          <ac:spMkLst>
            <pc:docMk/>
            <pc:sldMk cId="1934978805" sldId="2076138131"/>
            <ac:spMk id="97" creationId="{FC3FC8A1-BAEC-4B22-8E58-564042112228}"/>
          </ac:spMkLst>
        </pc:spChg>
        <pc:spChg chg="mod">
          <ac:chgData name="Alan Luder (Valence Group Inc.)" userId="9f14a4d2-8b5c-4fb0-9a7b-d779ed5a424b" providerId="ADAL" clId="{CB793C73-2F9F-F146-A87A-3A49835A72DD}" dt="2021-05-26T17:21:33.712" v="285" actId="1076"/>
          <ac:spMkLst>
            <pc:docMk/>
            <pc:sldMk cId="1934978805" sldId="2076138131"/>
            <ac:spMk id="98" creationId="{156424BE-87A6-49BF-8B94-44ED73216CA8}"/>
          </ac:spMkLst>
        </pc:spChg>
        <pc:spChg chg="mod">
          <ac:chgData name="Alan Luder (Valence Group Inc.)" userId="9f14a4d2-8b5c-4fb0-9a7b-d779ed5a424b" providerId="ADAL" clId="{CB793C73-2F9F-F146-A87A-3A49835A72DD}" dt="2021-05-26T17:21:33.712" v="285" actId="1076"/>
          <ac:spMkLst>
            <pc:docMk/>
            <pc:sldMk cId="1934978805" sldId="2076138131"/>
            <ac:spMk id="99" creationId="{031E00F4-239D-4982-9A72-1E99675DE94B}"/>
          </ac:spMkLst>
        </pc:spChg>
        <pc:spChg chg="mod">
          <ac:chgData name="Alan Luder (Valence Group Inc.)" userId="9f14a4d2-8b5c-4fb0-9a7b-d779ed5a424b" providerId="ADAL" clId="{CB793C73-2F9F-F146-A87A-3A49835A72DD}" dt="2021-05-26T17:21:33.712" v="285" actId="1076"/>
          <ac:spMkLst>
            <pc:docMk/>
            <pc:sldMk cId="1934978805" sldId="2076138131"/>
            <ac:spMk id="100" creationId="{29D8A847-C6EC-46A2-9FD5-DF09C437BB02}"/>
          </ac:spMkLst>
        </pc:spChg>
        <pc:spChg chg="mod">
          <ac:chgData name="Alan Luder (Valence Group Inc.)" userId="9f14a4d2-8b5c-4fb0-9a7b-d779ed5a424b" providerId="ADAL" clId="{CB793C73-2F9F-F146-A87A-3A49835A72DD}" dt="2021-05-26T17:21:33.712" v="285" actId="1076"/>
          <ac:spMkLst>
            <pc:docMk/>
            <pc:sldMk cId="1934978805" sldId="2076138131"/>
            <ac:spMk id="101" creationId="{9E207B5F-028B-4328-8089-5D061B2614B8}"/>
          </ac:spMkLst>
        </pc:spChg>
        <pc:spChg chg="mod">
          <ac:chgData name="Alan Luder (Valence Group Inc.)" userId="9f14a4d2-8b5c-4fb0-9a7b-d779ed5a424b" providerId="ADAL" clId="{CB793C73-2F9F-F146-A87A-3A49835A72DD}" dt="2021-05-26T17:21:33.712" v="285" actId="1076"/>
          <ac:spMkLst>
            <pc:docMk/>
            <pc:sldMk cId="1934978805" sldId="2076138131"/>
            <ac:spMk id="102" creationId="{5D14C9F3-F8F4-4B22-A4FC-D1069BAC2881}"/>
          </ac:spMkLst>
        </pc:spChg>
        <pc:spChg chg="mod">
          <ac:chgData name="Alan Luder (Valence Group Inc.)" userId="9f14a4d2-8b5c-4fb0-9a7b-d779ed5a424b" providerId="ADAL" clId="{CB793C73-2F9F-F146-A87A-3A49835A72DD}" dt="2021-05-26T17:21:33.712" v="285" actId="1076"/>
          <ac:spMkLst>
            <pc:docMk/>
            <pc:sldMk cId="1934978805" sldId="2076138131"/>
            <ac:spMk id="103" creationId="{02667CEF-732B-4CD6-8460-75BC1F03E6DF}"/>
          </ac:spMkLst>
        </pc:spChg>
        <pc:spChg chg="mod">
          <ac:chgData name="Alan Luder (Valence Group Inc.)" userId="9f14a4d2-8b5c-4fb0-9a7b-d779ed5a424b" providerId="ADAL" clId="{CB793C73-2F9F-F146-A87A-3A49835A72DD}" dt="2021-05-26T17:21:33.712" v="285" actId="1076"/>
          <ac:spMkLst>
            <pc:docMk/>
            <pc:sldMk cId="1934978805" sldId="2076138131"/>
            <ac:spMk id="104" creationId="{29343F60-FF08-478D-B5A8-587DE791B7B7}"/>
          </ac:spMkLst>
        </pc:spChg>
        <pc:spChg chg="mod">
          <ac:chgData name="Alan Luder (Valence Group Inc.)" userId="9f14a4d2-8b5c-4fb0-9a7b-d779ed5a424b" providerId="ADAL" clId="{CB793C73-2F9F-F146-A87A-3A49835A72DD}" dt="2021-05-26T17:21:33.712" v="285" actId="1076"/>
          <ac:spMkLst>
            <pc:docMk/>
            <pc:sldMk cId="1934978805" sldId="2076138131"/>
            <ac:spMk id="105" creationId="{A62524DE-6876-4F8E-8C9E-848479D0A4DB}"/>
          </ac:spMkLst>
        </pc:spChg>
        <pc:spChg chg="mod">
          <ac:chgData name="Alan Luder (Valence Group Inc.)" userId="9f14a4d2-8b5c-4fb0-9a7b-d779ed5a424b" providerId="ADAL" clId="{CB793C73-2F9F-F146-A87A-3A49835A72DD}" dt="2021-05-26T17:21:33.712" v="285" actId="1076"/>
          <ac:spMkLst>
            <pc:docMk/>
            <pc:sldMk cId="1934978805" sldId="2076138131"/>
            <ac:spMk id="106" creationId="{FC710EA5-F48D-4ACE-87D2-5DC0A0EEBD7A}"/>
          </ac:spMkLst>
        </pc:spChg>
        <pc:spChg chg="mod">
          <ac:chgData name="Alan Luder (Valence Group Inc.)" userId="9f14a4d2-8b5c-4fb0-9a7b-d779ed5a424b" providerId="ADAL" clId="{CB793C73-2F9F-F146-A87A-3A49835A72DD}" dt="2021-05-26T17:29:58.397" v="370" actId="1076"/>
          <ac:spMkLst>
            <pc:docMk/>
            <pc:sldMk cId="1934978805" sldId="2076138131"/>
            <ac:spMk id="107" creationId="{3D3CC349-43DF-4C15-BE93-61815B8D734C}"/>
          </ac:spMkLst>
        </pc:spChg>
        <pc:spChg chg="mod">
          <ac:chgData name="Alan Luder (Valence Group Inc.)" userId="9f14a4d2-8b5c-4fb0-9a7b-d779ed5a424b" providerId="ADAL" clId="{CB793C73-2F9F-F146-A87A-3A49835A72DD}" dt="2021-05-26T17:25:27.555" v="325" actId="1076"/>
          <ac:spMkLst>
            <pc:docMk/>
            <pc:sldMk cId="1934978805" sldId="2076138131"/>
            <ac:spMk id="108" creationId="{134E31F7-3519-49B6-B920-A66475B2E52C}"/>
          </ac:spMkLst>
        </pc:spChg>
        <pc:spChg chg="mod">
          <ac:chgData name="Alan Luder (Valence Group Inc.)" userId="9f14a4d2-8b5c-4fb0-9a7b-d779ed5a424b" providerId="ADAL" clId="{CB793C73-2F9F-F146-A87A-3A49835A72DD}" dt="2021-05-26T17:25:22.222" v="324" actId="1076"/>
          <ac:spMkLst>
            <pc:docMk/>
            <pc:sldMk cId="1934978805" sldId="2076138131"/>
            <ac:spMk id="109" creationId="{BCD0AD93-1BA4-45BA-B71E-AA2EF0249D6D}"/>
          </ac:spMkLst>
        </pc:spChg>
        <pc:spChg chg="mod">
          <ac:chgData name="Alan Luder (Valence Group Inc.)" userId="9f14a4d2-8b5c-4fb0-9a7b-d779ed5a424b" providerId="ADAL" clId="{CB793C73-2F9F-F146-A87A-3A49835A72DD}" dt="2021-05-26T17:29:27.726" v="362" actId="1076"/>
          <ac:spMkLst>
            <pc:docMk/>
            <pc:sldMk cId="1934978805" sldId="2076138131"/>
            <ac:spMk id="111" creationId="{40BA1C11-3D31-4DFA-8CA7-87BD1CE12C44}"/>
          </ac:spMkLst>
        </pc:spChg>
        <pc:spChg chg="mod">
          <ac:chgData name="Alan Luder (Valence Group Inc.)" userId="9f14a4d2-8b5c-4fb0-9a7b-d779ed5a424b" providerId="ADAL" clId="{CB793C73-2F9F-F146-A87A-3A49835A72DD}" dt="2021-05-26T17:26:30.792" v="346" actId="14100"/>
          <ac:spMkLst>
            <pc:docMk/>
            <pc:sldMk cId="1934978805" sldId="2076138131"/>
            <ac:spMk id="112" creationId="{AAE0921F-6650-4B44-A93C-FFA3B2304318}"/>
          </ac:spMkLst>
        </pc:spChg>
        <pc:spChg chg="mod">
          <ac:chgData name="Alan Luder (Valence Group Inc.)" userId="9f14a4d2-8b5c-4fb0-9a7b-d779ed5a424b" providerId="ADAL" clId="{CB793C73-2F9F-F146-A87A-3A49835A72DD}" dt="2021-05-26T17:21:58.042" v="290" actId="1076"/>
          <ac:spMkLst>
            <pc:docMk/>
            <pc:sldMk cId="1934978805" sldId="2076138131"/>
            <ac:spMk id="113" creationId="{1F2D4530-0D8C-4D0E-A674-41FA63313634}"/>
          </ac:spMkLst>
        </pc:spChg>
        <pc:spChg chg="mod">
          <ac:chgData name="Alan Luder (Valence Group Inc.)" userId="9f14a4d2-8b5c-4fb0-9a7b-d779ed5a424b" providerId="ADAL" clId="{CB793C73-2F9F-F146-A87A-3A49835A72DD}" dt="2021-05-26T17:21:50.494" v="288" actId="1076"/>
          <ac:spMkLst>
            <pc:docMk/>
            <pc:sldMk cId="1934978805" sldId="2076138131"/>
            <ac:spMk id="115" creationId="{B8023873-3CEC-4B6D-B4BE-01C56ED95E9A}"/>
          </ac:spMkLst>
        </pc:spChg>
        <pc:spChg chg="mod">
          <ac:chgData name="Alan Luder (Valence Group Inc.)" userId="9f14a4d2-8b5c-4fb0-9a7b-d779ed5a424b" providerId="ADAL" clId="{CB793C73-2F9F-F146-A87A-3A49835A72DD}" dt="2021-05-26T17:21:33.712" v="285" actId="1076"/>
          <ac:spMkLst>
            <pc:docMk/>
            <pc:sldMk cId="1934978805" sldId="2076138131"/>
            <ac:spMk id="119" creationId="{DC03005C-8AED-4749-BAE3-085648F7B7A9}"/>
          </ac:spMkLst>
        </pc:spChg>
        <pc:spChg chg="mod">
          <ac:chgData name="Alan Luder (Valence Group Inc.)" userId="9f14a4d2-8b5c-4fb0-9a7b-d779ed5a424b" providerId="ADAL" clId="{CB793C73-2F9F-F146-A87A-3A49835A72DD}" dt="2021-05-26T17:21:33.712" v="285" actId="1076"/>
          <ac:spMkLst>
            <pc:docMk/>
            <pc:sldMk cId="1934978805" sldId="2076138131"/>
            <ac:spMk id="123" creationId="{5C71068A-EC37-4386-B8BA-875139B2EC32}"/>
          </ac:spMkLst>
        </pc:spChg>
        <pc:spChg chg="mod">
          <ac:chgData name="Alan Luder (Valence Group Inc.)" userId="9f14a4d2-8b5c-4fb0-9a7b-d779ed5a424b" providerId="ADAL" clId="{CB793C73-2F9F-F146-A87A-3A49835A72DD}" dt="2021-05-26T17:21:33.712" v="285" actId="1076"/>
          <ac:spMkLst>
            <pc:docMk/>
            <pc:sldMk cId="1934978805" sldId="2076138131"/>
            <ac:spMk id="124" creationId="{4DECCD11-0461-43AE-9861-2FA0FF8125BF}"/>
          </ac:spMkLst>
        </pc:spChg>
        <pc:spChg chg="mod">
          <ac:chgData name="Alan Luder (Valence Group Inc.)" userId="9f14a4d2-8b5c-4fb0-9a7b-d779ed5a424b" providerId="ADAL" clId="{CB793C73-2F9F-F146-A87A-3A49835A72DD}" dt="2021-05-26T17:28:18.446" v="349" actId="1076"/>
          <ac:spMkLst>
            <pc:docMk/>
            <pc:sldMk cId="1934978805" sldId="2076138131"/>
            <ac:spMk id="126" creationId="{B6DA7129-EAA7-4F18-8E1A-BD6DB24F7A47}"/>
          </ac:spMkLst>
        </pc:spChg>
        <pc:spChg chg="mod">
          <ac:chgData name="Alan Luder (Valence Group Inc.)" userId="9f14a4d2-8b5c-4fb0-9a7b-d779ed5a424b" providerId="ADAL" clId="{CB793C73-2F9F-F146-A87A-3A49835A72DD}" dt="2021-05-26T17:28:18.446" v="349" actId="1076"/>
          <ac:spMkLst>
            <pc:docMk/>
            <pc:sldMk cId="1934978805" sldId="2076138131"/>
            <ac:spMk id="128" creationId="{C3F188E3-D596-4CEA-BAEB-0A3A21E3C87A}"/>
          </ac:spMkLst>
        </pc:spChg>
        <pc:spChg chg="mod">
          <ac:chgData name="Alan Luder (Valence Group Inc.)" userId="9f14a4d2-8b5c-4fb0-9a7b-d779ed5a424b" providerId="ADAL" clId="{CB793C73-2F9F-F146-A87A-3A49835A72DD}" dt="2021-05-26T17:28:18.446" v="349" actId="1076"/>
          <ac:spMkLst>
            <pc:docMk/>
            <pc:sldMk cId="1934978805" sldId="2076138131"/>
            <ac:spMk id="129" creationId="{B06CC2ED-8A5A-425D-8FAD-A29B5B8B38CB}"/>
          </ac:spMkLst>
        </pc:spChg>
        <pc:spChg chg="mod">
          <ac:chgData name="Alan Luder (Valence Group Inc.)" userId="9f14a4d2-8b5c-4fb0-9a7b-d779ed5a424b" providerId="ADAL" clId="{CB793C73-2F9F-F146-A87A-3A49835A72DD}" dt="2021-05-26T17:21:36.388" v="286" actId="1076"/>
          <ac:spMkLst>
            <pc:docMk/>
            <pc:sldMk cId="1934978805" sldId="2076138131"/>
            <ac:spMk id="130" creationId="{AF9B2A91-7DCD-4E17-B2AD-35FB81DDF8E8}"/>
          </ac:spMkLst>
        </pc:spChg>
        <pc:spChg chg="mod">
          <ac:chgData name="Alan Luder (Valence Group Inc.)" userId="9f14a4d2-8b5c-4fb0-9a7b-d779ed5a424b" providerId="ADAL" clId="{CB793C73-2F9F-F146-A87A-3A49835A72DD}" dt="2021-05-26T17:21:33.712" v="285" actId="1076"/>
          <ac:spMkLst>
            <pc:docMk/>
            <pc:sldMk cId="1934978805" sldId="2076138131"/>
            <ac:spMk id="131" creationId="{DCCD4A82-41EF-4B1B-BA7A-C1889D69697F}"/>
          </ac:spMkLst>
        </pc:spChg>
        <pc:spChg chg="mod">
          <ac:chgData name="Alan Luder (Valence Group Inc.)" userId="9f14a4d2-8b5c-4fb0-9a7b-d779ed5a424b" providerId="ADAL" clId="{CB793C73-2F9F-F146-A87A-3A49835A72DD}" dt="2021-05-26T17:21:33.712" v="285" actId="1076"/>
          <ac:spMkLst>
            <pc:docMk/>
            <pc:sldMk cId="1934978805" sldId="2076138131"/>
            <ac:spMk id="133" creationId="{BB1E6A3C-9DF0-4493-9144-637FEE40B03E}"/>
          </ac:spMkLst>
        </pc:spChg>
        <pc:spChg chg="mod">
          <ac:chgData name="Alan Luder (Valence Group Inc.)" userId="9f14a4d2-8b5c-4fb0-9a7b-d779ed5a424b" providerId="ADAL" clId="{CB793C73-2F9F-F146-A87A-3A49835A72DD}" dt="2021-05-26T17:21:33.712" v="285" actId="1076"/>
          <ac:spMkLst>
            <pc:docMk/>
            <pc:sldMk cId="1934978805" sldId="2076138131"/>
            <ac:spMk id="136" creationId="{62406027-0864-4E46-B380-4462085F76C2}"/>
          </ac:spMkLst>
        </pc:spChg>
        <pc:spChg chg="mod">
          <ac:chgData name="Alan Luder (Valence Group Inc.)" userId="9f14a4d2-8b5c-4fb0-9a7b-d779ed5a424b" providerId="ADAL" clId="{CB793C73-2F9F-F146-A87A-3A49835A72DD}" dt="2021-05-26T17:21:33.712" v="285" actId="1076"/>
          <ac:spMkLst>
            <pc:docMk/>
            <pc:sldMk cId="1934978805" sldId="2076138131"/>
            <ac:spMk id="138" creationId="{C86557DC-E157-4D89-AE13-6729FC0CB576}"/>
          </ac:spMkLst>
        </pc:spChg>
        <pc:spChg chg="mod">
          <ac:chgData name="Alan Luder (Valence Group Inc.)" userId="9f14a4d2-8b5c-4fb0-9a7b-d779ed5a424b" providerId="ADAL" clId="{CB793C73-2F9F-F146-A87A-3A49835A72DD}" dt="2021-05-26T17:21:33.712" v="285" actId="1076"/>
          <ac:spMkLst>
            <pc:docMk/>
            <pc:sldMk cId="1934978805" sldId="2076138131"/>
            <ac:spMk id="139" creationId="{3913DED3-EF0F-410A-97D3-F6C642E7FD4E}"/>
          </ac:spMkLst>
        </pc:spChg>
        <pc:spChg chg="mod">
          <ac:chgData name="Alan Luder (Valence Group Inc.)" userId="9f14a4d2-8b5c-4fb0-9a7b-d779ed5a424b" providerId="ADAL" clId="{CB793C73-2F9F-F146-A87A-3A49835A72DD}" dt="2021-05-26T17:21:33.712" v="285" actId="1076"/>
          <ac:spMkLst>
            <pc:docMk/>
            <pc:sldMk cId="1934978805" sldId="2076138131"/>
            <ac:spMk id="140" creationId="{57128133-DB48-437F-9EF6-742B31070F63}"/>
          </ac:spMkLst>
        </pc:spChg>
        <pc:spChg chg="mod">
          <ac:chgData name="Alan Luder (Valence Group Inc.)" userId="9f14a4d2-8b5c-4fb0-9a7b-d779ed5a424b" providerId="ADAL" clId="{CB793C73-2F9F-F146-A87A-3A49835A72DD}" dt="2021-05-26T17:21:33.712" v="285" actId="1076"/>
          <ac:spMkLst>
            <pc:docMk/>
            <pc:sldMk cId="1934978805" sldId="2076138131"/>
            <ac:spMk id="141" creationId="{F231DCAE-5A25-48ED-B166-CDF6F5471977}"/>
          </ac:spMkLst>
        </pc:spChg>
        <pc:spChg chg="mod">
          <ac:chgData name="Alan Luder (Valence Group Inc.)" userId="9f14a4d2-8b5c-4fb0-9a7b-d779ed5a424b" providerId="ADAL" clId="{CB793C73-2F9F-F146-A87A-3A49835A72DD}" dt="2021-05-26T17:28:18.446" v="349" actId="1076"/>
          <ac:spMkLst>
            <pc:docMk/>
            <pc:sldMk cId="1934978805" sldId="2076138131"/>
            <ac:spMk id="142" creationId="{30377F20-FE4B-4B21-976A-DE18D993974D}"/>
          </ac:spMkLst>
        </pc:spChg>
        <pc:spChg chg="mod">
          <ac:chgData name="Alan Luder (Valence Group Inc.)" userId="9f14a4d2-8b5c-4fb0-9a7b-d779ed5a424b" providerId="ADAL" clId="{CB793C73-2F9F-F146-A87A-3A49835A72DD}" dt="2021-05-26T17:21:33.712" v="285" actId="1076"/>
          <ac:spMkLst>
            <pc:docMk/>
            <pc:sldMk cId="1934978805" sldId="2076138131"/>
            <ac:spMk id="143" creationId="{2C243A75-94A0-4586-8569-13AC8717EE21}"/>
          </ac:spMkLst>
        </pc:spChg>
        <pc:spChg chg="mod">
          <ac:chgData name="Alan Luder (Valence Group Inc.)" userId="9f14a4d2-8b5c-4fb0-9a7b-d779ed5a424b" providerId="ADAL" clId="{CB793C73-2F9F-F146-A87A-3A49835A72DD}" dt="2021-05-26T17:26:23.737" v="343" actId="14100"/>
          <ac:spMkLst>
            <pc:docMk/>
            <pc:sldMk cId="1934978805" sldId="2076138131"/>
            <ac:spMk id="146" creationId="{F3978602-292F-497A-BDCA-E6D18F3A626D}"/>
          </ac:spMkLst>
        </pc:spChg>
        <pc:spChg chg="mod">
          <ac:chgData name="Alan Luder (Valence Group Inc.)" userId="9f14a4d2-8b5c-4fb0-9a7b-d779ed5a424b" providerId="ADAL" clId="{CB793C73-2F9F-F146-A87A-3A49835A72DD}" dt="2021-05-26T17:21:43.147" v="287" actId="1076"/>
          <ac:spMkLst>
            <pc:docMk/>
            <pc:sldMk cId="1934978805" sldId="2076138131"/>
            <ac:spMk id="147" creationId="{1AF74469-4CC8-4812-A962-D9C909F8AAD1}"/>
          </ac:spMkLst>
        </pc:spChg>
        <pc:spChg chg="mod">
          <ac:chgData name="Alan Luder (Valence Group Inc.)" userId="9f14a4d2-8b5c-4fb0-9a7b-d779ed5a424b" providerId="ADAL" clId="{CB793C73-2F9F-F146-A87A-3A49835A72DD}" dt="2021-05-26T17:28:29.214" v="352" actId="1076"/>
          <ac:spMkLst>
            <pc:docMk/>
            <pc:sldMk cId="1934978805" sldId="2076138131"/>
            <ac:spMk id="148" creationId="{FB9BA5FA-BCA1-4AF9-94BF-1EBDB6F63253}"/>
          </ac:spMkLst>
        </pc:spChg>
        <pc:spChg chg="mod">
          <ac:chgData name="Alan Luder (Valence Group Inc.)" userId="9f14a4d2-8b5c-4fb0-9a7b-d779ed5a424b" providerId="ADAL" clId="{CB793C73-2F9F-F146-A87A-3A49835A72DD}" dt="2021-05-26T17:21:54.577" v="289" actId="1076"/>
          <ac:spMkLst>
            <pc:docMk/>
            <pc:sldMk cId="1934978805" sldId="2076138131"/>
            <ac:spMk id="149" creationId="{6D2FDA6C-D6AB-4B60-B2F9-713086C9C4F0}"/>
          </ac:spMkLst>
        </pc:spChg>
        <pc:spChg chg="mod">
          <ac:chgData name="Alan Luder (Valence Group Inc.)" userId="9f14a4d2-8b5c-4fb0-9a7b-d779ed5a424b" providerId="ADAL" clId="{CB793C73-2F9F-F146-A87A-3A49835A72DD}" dt="2021-05-26T17:21:33.712" v="285" actId="1076"/>
          <ac:spMkLst>
            <pc:docMk/>
            <pc:sldMk cId="1934978805" sldId="2076138131"/>
            <ac:spMk id="152" creationId="{FBAA7FAB-EC94-46DF-87B3-F2A429ADBC13}"/>
          </ac:spMkLst>
        </pc:spChg>
        <pc:spChg chg="mod">
          <ac:chgData name="Alan Luder (Valence Group Inc.)" userId="9f14a4d2-8b5c-4fb0-9a7b-d779ed5a424b" providerId="ADAL" clId="{CB793C73-2F9F-F146-A87A-3A49835A72DD}" dt="2021-05-26T17:21:33.712" v="285" actId="1076"/>
          <ac:spMkLst>
            <pc:docMk/>
            <pc:sldMk cId="1934978805" sldId="2076138131"/>
            <ac:spMk id="153" creationId="{3350270C-7BA6-49E7-9DC4-CD7561983736}"/>
          </ac:spMkLst>
        </pc:spChg>
        <pc:spChg chg="mod">
          <ac:chgData name="Alan Luder (Valence Group Inc.)" userId="9f14a4d2-8b5c-4fb0-9a7b-d779ed5a424b" providerId="ADAL" clId="{CB793C73-2F9F-F146-A87A-3A49835A72DD}" dt="2021-05-26T17:28:18.446" v="349" actId="1076"/>
          <ac:spMkLst>
            <pc:docMk/>
            <pc:sldMk cId="1934978805" sldId="2076138131"/>
            <ac:spMk id="154" creationId="{23C4A40E-F150-4084-9C51-A0525824120F}"/>
          </ac:spMkLst>
        </pc:spChg>
        <pc:spChg chg="mod">
          <ac:chgData name="Alan Luder (Valence Group Inc.)" userId="9f14a4d2-8b5c-4fb0-9a7b-d779ed5a424b" providerId="ADAL" clId="{CB793C73-2F9F-F146-A87A-3A49835A72DD}" dt="2021-05-26T17:21:33.712" v="285" actId="1076"/>
          <ac:spMkLst>
            <pc:docMk/>
            <pc:sldMk cId="1934978805" sldId="2076138131"/>
            <ac:spMk id="156" creationId="{10E6FF2A-F784-4395-9E15-E127FD570806}"/>
          </ac:spMkLst>
        </pc:spChg>
        <pc:spChg chg="mod">
          <ac:chgData name="Alan Luder (Valence Group Inc.)" userId="9f14a4d2-8b5c-4fb0-9a7b-d779ed5a424b" providerId="ADAL" clId="{CB793C73-2F9F-F146-A87A-3A49835A72DD}" dt="2021-05-26T17:21:33.712" v="285" actId="1076"/>
          <ac:spMkLst>
            <pc:docMk/>
            <pc:sldMk cId="1934978805" sldId="2076138131"/>
            <ac:spMk id="157" creationId="{7BD4CB1D-A7DE-4EEC-B36F-23640458923B}"/>
          </ac:spMkLst>
        </pc:spChg>
        <pc:spChg chg="mod">
          <ac:chgData name="Alan Luder (Valence Group Inc.)" userId="9f14a4d2-8b5c-4fb0-9a7b-d779ed5a424b" providerId="ADAL" clId="{CB793C73-2F9F-F146-A87A-3A49835A72DD}" dt="2021-05-26T17:21:33.712" v="285" actId="1076"/>
          <ac:spMkLst>
            <pc:docMk/>
            <pc:sldMk cId="1934978805" sldId="2076138131"/>
            <ac:spMk id="158" creationId="{8DCA2868-0709-4199-8964-3AE2CF8B2E6F}"/>
          </ac:spMkLst>
        </pc:spChg>
        <pc:spChg chg="mod">
          <ac:chgData name="Alan Luder (Valence Group Inc.)" userId="9f14a4d2-8b5c-4fb0-9a7b-d779ed5a424b" providerId="ADAL" clId="{CB793C73-2F9F-F146-A87A-3A49835A72DD}" dt="2021-05-26T17:28:18.446" v="349" actId="1076"/>
          <ac:spMkLst>
            <pc:docMk/>
            <pc:sldMk cId="1934978805" sldId="2076138131"/>
            <ac:spMk id="159" creationId="{222E2BBB-8200-4AC5-917E-A45CE41F8B1C}"/>
          </ac:spMkLst>
        </pc:spChg>
        <pc:spChg chg="mod">
          <ac:chgData name="Alan Luder (Valence Group Inc.)" userId="9f14a4d2-8b5c-4fb0-9a7b-d779ed5a424b" providerId="ADAL" clId="{CB793C73-2F9F-F146-A87A-3A49835A72DD}" dt="2021-05-26T17:21:33.712" v="285" actId="1076"/>
          <ac:spMkLst>
            <pc:docMk/>
            <pc:sldMk cId="1934978805" sldId="2076138131"/>
            <ac:spMk id="161" creationId="{7F2E9562-796B-4BB8-9FBB-E5E54B2388EB}"/>
          </ac:spMkLst>
        </pc:spChg>
        <pc:spChg chg="mod">
          <ac:chgData name="Alan Luder (Valence Group Inc.)" userId="9f14a4d2-8b5c-4fb0-9a7b-d779ed5a424b" providerId="ADAL" clId="{CB793C73-2F9F-F146-A87A-3A49835A72DD}" dt="2021-05-26T17:28:18.446" v="349" actId="1076"/>
          <ac:spMkLst>
            <pc:docMk/>
            <pc:sldMk cId="1934978805" sldId="2076138131"/>
            <ac:spMk id="166" creationId="{8F339021-7178-4B09-85BF-E8296178F7EB}"/>
          </ac:spMkLst>
        </pc:spChg>
        <pc:spChg chg="mod">
          <ac:chgData name="Alan Luder (Valence Group Inc.)" userId="9f14a4d2-8b5c-4fb0-9a7b-d779ed5a424b" providerId="ADAL" clId="{CB793C73-2F9F-F146-A87A-3A49835A72DD}" dt="2021-05-26T17:21:33.712" v="285" actId="1076"/>
          <ac:spMkLst>
            <pc:docMk/>
            <pc:sldMk cId="1934978805" sldId="2076138131"/>
            <ac:spMk id="169" creationId="{0E871BA3-4B36-4AB8-954E-3D741DA04EEE}"/>
          </ac:spMkLst>
        </pc:spChg>
        <pc:spChg chg="mod">
          <ac:chgData name="Alan Luder (Valence Group Inc.)" userId="9f14a4d2-8b5c-4fb0-9a7b-d779ed5a424b" providerId="ADAL" clId="{CB793C73-2F9F-F146-A87A-3A49835A72DD}" dt="2021-05-26T17:21:33.712" v="285" actId="1076"/>
          <ac:spMkLst>
            <pc:docMk/>
            <pc:sldMk cId="1934978805" sldId="2076138131"/>
            <ac:spMk id="171" creationId="{2CB77E87-245F-4E28-B295-EB646834BA2F}"/>
          </ac:spMkLst>
        </pc:spChg>
        <pc:spChg chg="mod">
          <ac:chgData name="Alan Luder (Valence Group Inc.)" userId="9f14a4d2-8b5c-4fb0-9a7b-d779ed5a424b" providerId="ADAL" clId="{CB793C73-2F9F-F146-A87A-3A49835A72DD}" dt="2021-05-26T17:21:33.712" v="285" actId="1076"/>
          <ac:spMkLst>
            <pc:docMk/>
            <pc:sldMk cId="1934978805" sldId="2076138131"/>
            <ac:spMk id="172" creationId="{DC4FE600-4D63-47EC-B601-016A92FC4F4D}"/>
          </ac:spMkLst>
        </pc:spChg>
        <pc:spChg chg="mod">
          <ac:chgData name="Alan Luder (Valence Group Inc.)" userId="9f14a4d2-8b5c-4fb0-9a7b-d779ed5a424b" providerId="ADAL" clId="{CB793C73-2F9F-F146-A87A-3A49835A72DD}" dt="2021-05-26T17:21:33.712" v="285" actId="1076"/>
          <ac:spMkLst>
            <pc:docMk/>
            <pc:sldMk cId="1934978805" sldId="2076138131"/>
            <ac:spMk id="173" creationId="{CC0372CB-3E78-4F6D-A368-6E4F190478AE}"/>
          </ac:spMkLst>
        </pc:spChg>
        <pc:spChg chg="mod">
          <ac:chgData name="Alan Luder (Valence Group Inc.)" userId="9f14a4d2-8b5c-4fb0-9a7b-d779ed5a424b" providerId="ADAL" clId="{CB793C73-2F9F-F146-A87A-3A49835A72DD}" dt="2021-05-26T17:21:33.712" v="285" actId="1076"/>
          <ac:spMkLst>
            <pc:docMk/>
            <pc:sldMk cId="1934978805" sldId="2076138131"/>
            <ac:spMk id="174" creationId="{DBE6E511-2D6B-4600-8013-08B228F6323D}"/>
          </ac:spMkLst>
        </pc:spChg>
        <pc:spChg chg="mod">
          <ac:chgData name="Alan Luder (Valence Group Inc.)" userId="9f14a4d2-8b5c-4fb0-9a7b-d779ed5a424b" providerId="ADAL" clId="{CB793C73-2F9F-F146-A87A-3A49835A72DD}" dt="2021-05-26T17:21:33.712" v="285" actId="1076"/>
          <ac:spMkLst>
            <pc:docMk/>
            <pc:sldMk cId="1934978805" sldId="2076138131"/>
            <ac:spMk id="175" creationId="{9617A791-6AB2-4951-B958-2BA3B078DCC8}"/>
          </ac:spMkLst>
        </pc:spChg>
        <pc:spChg chg="mod">
          <ac:chgData name="Alan Luder (Valence Group Inc.)" userId="9f14a4d2-8b5c-4fb0-9a7b-d779ed5a424b" providerId="ADAL" clId="{CB793C73-2F9F-F146-A87A-3A49835A72DD}" dt="2021-05-26T17:21:33.712" v="285" actId="1076"/>
          <ac:spMkLst>
            <pc:docMk/>
            <pc:sldMk cId="1934978805" sldId="2076138131"/>
            <ac:spMk id="176" creationId="{3A375496-DAF2-4A0B-A438-8D52BBFDA2DC}"/>
          </ac:spMkLst>
        </pc:spChg>
        <pc:spChg chg="mod">
          <ac:chgData name="Alan Luder (Valence Group Inc.)" userId="9f14a4d2-8b5c-4fb0-9a7b-d779ed5a424b" providerId="ADAL" clId="{CB793C73-2F9F-F146-A87A-3A49835A72DD}" dt="2021-05-26T17:21:33.712" v="285" actId="1076"/>
          <ac:spMkLst>
            <pc:docMk/>
            <pc:sldMk cId="1934978805" sldId="2076138131"/>
            <ac:spMk id="177" creationId="{FE8A18A8-A7D4-46B4-9C03-F1B9A1B3A7F0}"/>
          </ac:spMkLst>
        </pc:spChg>
        <pc:spChg chg="mod">
          <ac:chgData name="Alan Luder (Valence Group Inc.)" userId="9f14a4d2-8b5c-4fb0-9a7b-d779ed5a424b" providerId="ADAL" clId="{CB793C73-2F9F-F146-A87A-3A49835A72DD}" dt="2021-05-26T17:21:33.712" v="285" actId="1076"/>
          <ac:spMkLst>
            <pc:docMk/>
            <pc:sldMk cId="1934978805" sldId="2076138131"/>
            <ac:spMk id="178" creationId="{51903F02-36A8-4CDE-BCF0-B0727C79A1AE}"/>
          </ac:spMkLst>
        </pc:spChg>
        <pc:spChg chg="mod">
          <ac:chgData name="Alan Luder (Valence Group Inc.)" userId="9f14a4d2-8b5c-4fb0-9a7b-d779ed5a424b" providerId="ADAL" clId="{CB793C73-2F9F-F146-A87A-3A49835A72DD}" dt="2021-05-26T17:21:33.712" v="285" actId="1076"/>
          <ac:spMkLst>
            <pc:docMk/>
            <pc:sldMk cId="1934978805" sldId="2076138131"/>
            <ac:spMk id="179" creationId="{1941564D-E86E-4269-8132-F70EFA747B1A}"/>
          </ac:spMkLst>
        </pc:spChg>
        <pc:spChg chg="mod">
          <ac:chgData name="Alan Luder (Valence Group Inc.)" userId="9f14a4d2-8b5c-4fb0-9a7b-d779ed5a424b" providerId="ADAL" clId="{CB793C73-2F9F-F146-A87A-3A49835A72DD}" dt="2021-05-26T17:21:33.712" v="285" actId="1076"/>
          <ac:spMkLst>
            <pc:docMk/>
            <pc:sldMk cId="1934978805" sldId="2076138131"/>
            <ac:spMk id="180" creationId="{0FC48D9D-0442-4DB8-AA07-C3699ABD0EDA}"/>
          </ac:spMkLst>
        </pc:spChg>
        <pc:spChg chg="mod">
          <ac:chgData name="Alan Luder (Valence Group Inc.)" userId="9f14a4d2-8b5c-4fb0-9a7b-d779ed5a424b" providerId="ADAL" clId="{CB793C73-2F9F-F146-A87A-3A49835A72DD}" dt="2021-05-26T17:21:33.712" v="285" actId="1076"/>
          <ac:spMkLst>
            <pc:docMk/>
            <pc:sldMk cId="1934978805" sldId="2076138131"/>
            <ac:spMk id="181" creationId="{DEEC61D7-6F18-4CCF-9415-6677D4BB7EE5}"/>
          </ac:spMkLst>
        </pc:spChg>
        <pc:spChg chg="mod">
          <ac:chgData name="Alan Luder (Valence Group Inc.)" userId="9f14a4d2-8b5c-4fb0-9a7b-d779ed5a424b" providerId="ADAL" clId="{CB793C73-2F9F-F146-A87A-3A49835A72DD}" dt="2021-05-26T17:21:33.712" v="285" actId="1076"/>
          <ac:spMkLst>
            <pc:docMk/>
            <pc:sldMk cId="1934978805" sldId="2076138131"/>
            <ac:spMk id="182" creationId="{B65573DE-C086-4671-9D4C-1D4063A9414C}"/>
          </ac:spMkLst>
        </pc:spChg>
        <pc:spChg chg="mod">
          <ac:chgData name="Alan Luder (Valence Group Inc.)" userId="9f14a4d2-8b5c-4fb0-9a7b-d779ed5a424b" providerId="ADAL" clId="{CB793C73-2F9F-F146-A87A-3A49835A72DD}" dt="2021-05-26T17:21:33.712" v="285" actId="1076"/>
          <ac:spMkLst>
            <pc:docMk/>
            <pc:sldMk cId="1934978805" sldId="2076138131"/>
            <ac:spMk id="183" creationId="{C7B08438-8D1F-43C3-9EF3-C3FC86AFE3D1}"/>
          </ac:spMkLst>
        </pc:spChg>
        <pc:spChg chg="mod">
          <ac:chgData name="Alan Luder (Valence Group Inc.)" userId="9f14a4d2-8b5c-4fb0-9a7b-d779ed5a424b" providerId="ADAL" clId="{CB793C73-2F9F-F146-A87A-3A49835A72DD}" dt="2021-05-26T17:21:33.712" v="285" actId="1076"/>
          <ac:spMkLst>
            <pc:docMk/>
            <pc:sldMk cId="1934978805" sldId="2076138131"/>
            <ac:spMk id="184" creationId="{AB8416DB-960E-456E-A805-06E55C50B970}"/>
          </ac:spMkLst>
        </pc:spChg>
        <pc:spChg chg="mod">
          <ac:chgData name="Alan Luder (Valence Group Inc.)" userId="9f14a4d2-8b5c-4fb0-9a7b-d779ed5a424b" providerId="ADAL" clId="{CB793C73-2F9F-F146-A87A-3A49835A72DD}" dt="2021-05-26T17:21:33.712" v="285" actId="1076"/>
          <ac:spMkLst>
            <pc:docMk/>
            <pc:sldMk cId="1934978805" sldId="2076138131"/>
            <ac:spMk id="185" creationId="{CF8F77E6-1A87-4259-844F-FF6EE84406CC}"/>
          </ac:spMkLst>
        </pc:spChg>
        <pc:grpChg chg="mod">
          <ac:chgData name="Alan Luder (Valence Group Inc.)" userId="9f14a4d2-8b5c-4fb0-9a7b-d779ed5a424b" providerId="ADAL" clId="{CB793C73-2F9F-F146-A87A-3A49835A72DD}" dt="2021-05-26T17:25:18.002" v="323" actId="1076"/>
          <ac:grpSpMkLst>
            <pc:docMk/>
            <pc:sldMk cId="1934978805" sldId="2076138131"/>
            <ac:grpSpMk id="9" creationId="{64F2CBA4-FD71-4EE8-9C42-BF7E3352B1E3}"/>
          </ac:grpSpMkLst>
        </pc:grpChg>
        <pc:grpChg chg="mod">
          <ac:chgData name="Alan Luder (Valence Group Inc.)" userId="9f14a4d2-8b5c-4fb0-9a7b-d779ed5a424b" providerId="ADAL" clId="{CB793C73-2F9F-F146-A87A-3A49835A72DD}" dt="2021-05-26T17:29:24.577" v="361" actId="1076"/>
          <ac:grpSpMkLst>
            <pc:docMk/>
            <pc:sldMk cId="1934978805" sldId="2076138131"/>
            <ac:grpSpMk id="19" creationId="{A7563EE4-0955-4BA7-94D2-D0798E860821}"/>
          </ac:grpSpMkLst>
        </pc:grpChg>
        <pc:grpChg chg="mod">
          <ac:chgData name="Alan Luder (Valence Group Inc.)" userId="9f14a4d2-8b5c-4fb0-9a7b-d779ed5a424b" providerId="ADAL" clId="{CB793C73-2F9F-F146-A87A-3A49835A72DD}" dt="2021-05-26T17:28:18.446" v="349" actId="1076"/>
          <ac:grpSpMkLst>
            <pc:docMk/>
            <pc:sldMk cId="1934978805" sldId="2076138131"/>
            <ac:grpSpMk id="21" creationId="{07293160-585E-4BFC-8F4D-707D92987656}"/>
          </ac:grpSpMkLst>
        </pc:grpChg>
        <pc:grpChg chg="mod">
          <ac:chgData name="Alan Luder (Valence Group Inc.)" userId="9f14a4d2-8b5c-4fb0-9a7b-d779ed5a424b" providerId="ADAL" clId="{CB793C73-2F9F-F146-A87A-3A49835A72DD}" dt="2021-05-26T17:25:27.555" v="325" actId="1076"/>
          <ac:grpSpMkLst>
            <pc:docMk/>
            <pc:sldMk cId="1934978805" sldId="2076138131"/>
            <ac:grpSpMk id="23" creationId="{21C839C7-A0A6-4244-870E-94DEFCBD8DFE}"/>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24" creationId="{2C7255BB-D421-46A3-919E-73D12601DE7C}"/>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79" creationId="{659F91EE-3AE9-4A7F-B869-2B20AC8A58F8}"/>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90" creationId="{9B1000B4-E646-4DF6-9B74-DCE82D341CCF}"/>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92" creationId="{7A9DE021-21D8-4652-89B0-828107A006AD}"/>
          </ac:grpSpMkLst>
        </pc:grpChg>
        <pc:grpChg chg="add mod">
          <ac:chgData name="Alan Luder (Valence Group Inc.)" userId="9f14a4d2-8b5c-4fb0-9a7b-d779ed5a424b" providerId="ADAL" clId="{CB793C73-2F9F-F146-A87A-3A49835A72DD}" dt="2021-05-26T17:29:32.564" v="364" actId="1076"/>
          <ac:grpSpMkLst>
            <pc:docMk/>
            <pc:sldMk cId="1934978805" sldId="2076138131"/>
            <ac:grpSpMk id="110" creationId="{EC2D139B-219A-5946-B1EB-588B2EA3107E}"/>
          </ac:grpSpMkLst>
        </pc:grpChg>
        <pc:grpChg chg="mod">
          <ac:chgData name="Alan Luder (Valence Group Inc.)" userId="9f14a4d2-8b5c-4fb0-9a7b-d779ed5a424b" providerId="ADAL" clId="{CB793C73-2F9F-F146-A87A-3A49835A72DD}" dt="2021-05-26T17:25:27.555" v="325" actId="1076"/>
          <ac:grpSpMkLst>
            <pc:docMk/>
            <pc:sldMk cId="1934978805" sldId="2076138131"/>
            <ac:grpSpMk id="121" creationId="{AB71503F-76C1-4FB8-8800-A0F524C6C9EB}"/>
          </ac:grpSpMkLst>
        </pc:grpChg>
        <pc:grpChg chg="mod">
          <ac:chgData name="Alan Luder (Valence Group Inc.)" userId="9f14a4d2-8b5c-4fb0-9a7b-d779ed5a424b" providerId="ADAL" clId="{CB793C73-2F9F-F146-A87A-3A49835A72DD}" dt="2021-05-26T17:28:18.446" v="349" actId="1076"/>
          <ac:grpSpMkLst>
            <pc:docMk/>
            <pc:sldMk cId="1934978805" sldId="2076138131"/>
            <ac:grpSpMk id="125" creationId="{D8EAB65F-8DC7-414E-8980-0F1CFAE53D60}"/>
          </ac:grpSpMkLst>
        </pc:grpChg>
        <pc:grpChg chg="mod">
          <ac:chgData name="Alan Luder (Valence Group Inc.)" userId="9f14a4d2-8b5c-4fb0-9a7b-d779ed5a424b" providerId="ADAL" clId="{CB793C73-2F9F-F146-A87A-3A49835A72DD}" dt="2021-05-26T17:28:18.446" v="349" actId="1076"/>
          <ac:grpSpMkLst>
            <pc:docMk/>
            <pc:sldMk cId="1934978805" sldId="2076138131"/>
            <ac:grpSpMk id="127" creationId="{9C2FAD5E-506C-49B1-8726-BC94D0D447C9}"/>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135" creationId="{45B5D1E6-F9F6-40E0-8E43-4759C736F0B5}"/>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137" creationId="{7C7FAF73-B9AF-4DCD-A249-F680E01CD013}"/>
          </ac:grpSpMkLst>
        </pc:grpChg>
        <pc:grpChg chg="mod">
          <ac:chgData name="Alan Luder (Valence Group Inc.)" userId="9f14a4d2-8b5c-4fb0-9a7b-d779ed5a424b" providerId="ADAL" clId="{CB793C73-2F9F-F146-A87A-3A49835A72DD}" dt="2021-05-26T17:28:18.446" v="349" actId="1076"/>
          <ac:grpSpMkLst>
            <pc:docMk/>
            <pc:sldMk cId="1934978805" sldId="2076138131"/>
            <ac:grpSpMk id="155" creationId="{F0C0258C-796B-4D7F-9F7F-59D31A5047AD}"/>
          </ac:grpSpMkLst>
        </pc:grpChg>
        <pc:grpChg chg="mod">
          <ac:chgData name="Alan Luder (Valence Group Inc.)" userId="9f14a4d2-8b5c-4fb0-9a7b-d779ed5a424b" providerId="ADAL" clId="{CB793C73-2F9F-F146-A87A-3A49835A72DD}" dt="2021-05-26T17:25:15.112" v="322" actId="1076"/>
          <ac:grpSpMkLst>
            <pc:docMk/>
            <pc:sldMk cId="1934978805" sldId="2076138131"/>
            <ac:grpSpMk id="167" creationId="{B358E3E4-EE12-4AB7-939C-8AD0ECA99A6B}"/>
          </ac:grpSpMkLst>
        </pc:grpChg>
        <pc:grpChg chg="mod">
          <ac:chgData name="Alan Luder (Valence Group Inc.)" userId="9f14a4d2-8b5c-4fb0-9a7b-d779ed5a424b" providerId="ADAL" clId="{CB793C73-2F9F-F146-A87A-3A49835A72DD}" dt="2021-05-26T17:21:33.712" v="285" actId="1076"/>
          <ac:grpSpMkLst>
            <pc:docMk/>
            <pc:sldMk cId="1934978805" sldId="2076138131"/>
            <ac:grpSpMk id="170" creationId="{36577CAF-062D-422B-A08B-09FB59B8A0C8}"/>
          </ac:grpSpMkLst>
        </pc:grpChg>
        <pc:picChg chg="add del mod">
          <ac:chgData name="Alan Luder (Valence Group Inc.)" userId="9f14a4d2-8b5c-4fb0-9a7b-d779ed5a424b" providerId="ADAL" clId="{CB793C73-2F9F-F146-A87A-3A49835A72DD}" dt="2021-05-26T17:29:53.093" v="369" actId="478"/>
          <ac:picMkLst>
            <pc:docMk/>
            <pc:sldMk cId="1934978805" sldId="2076138131"/>
            <ac:picMk id="116" creationId="{09738A6A-E80B-F546-BE3C-B78DC2FCB49A}"/>
          </ac:picMkLst>
        </pc:picChg>
        <pc:picChg chg="mod">
          <ac:chgData name="Alan Luder (Valence Group Inc.)" userId="9f14a4d2-8b5c-4fb0-9a7b-d779ed5a424b" providerId="ADAL" clId="{CB793C73-2F9F-F146-A87A-3A49835A72DD}" dt="2021-05-26T17:29:03.124" v="354"/>
          <ac:picMkLst>
            <pc:docMk/>
            <pc:sldMk cId="1934978805" sldId="2076138131"/>
            <ac:picMk id="117" creationId="{44F33F65-17C4-5343-A7E8-CAF62860B3F4}"/>
          </ac:picMkLst>
        </pc:picChg>
        <pc:picChg chg="mod">
          <ac:chgData name="Alan Luder (Valence Group Inc.)" userId="9f14a4d2-8b5c-4fb0-9a7b-d779ed5a424b" providerId="ADAL" clId="{CB793C73-2F9F-F146-A87A-3A49835A72DD}" dt="2021-05-26T17:29:03.124" v="354"/>
          <ac:picMkLst>
            <pc:docMk/>
            <pc:sldMk cId="1934978805" sldId="2076138131"/>
            <ac:picMk id="134" creationId="{FCC702A2-D175-8745-8CA9-BB667B71DFA7}"/>
          </ac:picMkLst>
        </pc:picChg>
        <pc:cxnChg chg="mod">
          <ac:chgData name="Alan Luder (Valence Group Inc.)" userId="9f14a4d2-8b5c-4fb0-9a7b-d779ed5a424b" providerId="ADAL" clId="{CB793C73-2F9F-F146-A87A-3A49835A72DD}" dt="2021-05-26T17:21:33.712" v="285" actId="1076"/>
          <ac:cxnSpMkLst>
            <pc:docMk/>
            <pc:sldMk cId="1934978805" sldId="2076138131"/>
            <ac:cxnSpMk id="114" creationId="{26A02E66-F4C4-47CC-857F-5202FCA6B564}"/>
          </ac:cxnSpMkLst>
        </pc:cxnChg>
        <pc:cxnChg chg="mod">
          <ac:chgData name="Alan Luder (Valence Group Inc.)" userId="9f14a4d2-8b5c-4fb0-9a7b-d779ed5a424b" providerId="ADAL" clId="{CB793C73-2F9F-F146-A87A-3A49835A72DD}" dt="2021-05-26T17:21:33.712" v="285" actId="1076"/>
          <ac:cxnSpMkLst>
            <pc:docMk/>
            <pc:sldMk cId="1934978805" sldId="2076138131"/>
            <ac:cxnSpMk id="118" creationId="{100BF13E-507A-4749-B747-258C7EDC4AC4}"/>
          </ac:cxnSpMkLst>
        </pc:cxnChg>
        <pc:cxnChg chg="mod">
          <ac:chgData name="Alan Luder (Valence Group Inc.)" userId="9f14a4d2-8b5c-4fb0-9a7b-d779ed5a424b" providerId="ADAL" clId="{CB793C73-2F9F-F146-A87A-3A49835A72DD}" dt="2021-05-26T17:21:33.712" v="285" actId="1076"/>
          <ac:cxnSpMkLst>
            <pc:docMk/>
            <pc:sldMk cId="1934978805" sldId="2076138131"/>
            <ac:cxnSpMk id="120" creationId="{BA71E959-60C3-4669-8B4A-58AB024FC88F}"/>
          </ac:cxnSpMkLst>
        </pc:cxnChg>
        <pc:cxnChg chg="mod">
          <ac:chgData name="Alan Luder (Valence Group Inc.)" userId="9f14a4d2-8b5c-4fb0-9a7b-d779ed5a424b" providerId="ADAL" clId="{CB793C73-2F9F-F146-A87A-3A49835A72DD}" dt="2021-05-26T17:21:33.712" v="285" actId="1076"/>
          <ac:cxnSpMkLst>
            <pc:docMk/>
            <pc:sldMk cId="1934978805" sldId="2076138131"/>
            <ac:cxnSpMk id="122" creationId="{8298DDE2-9EA8-402B-BCF4-B6C559AA2F04}"/>
          </ac:cxnSpMkLst>
        </pc:cxnChg>
        <pc:cxnChg chg="mod">
          <ac:chgData name="Alan Luder (Valence Group Inc.)" userId="9f14a4d2-8b5c-4fb0-9a7b-d779ed5a424b" providerId="ADAL" clId="{CB793C73-2F9F-F146-A87A-3A49835A72DD}" dt="2021-05-26T17:21:33.712" v="285" actId="1076"/>
          <ac:cxnSpMkLst>
            <pc:docMk/>
            <pc:sldMk cId="1934978805" sldId="2076138131"/>
            <ac:cxnSpMk id="132" creationId="{43582239-8C4A-45F9-A9BA-E50D65BE76C9}"/>
          </ac:cxnSpMkLst>
        </pc:cxnChg>
        <pc:cxnChg chg="mod">
          <ac:chgData name="Alan Luder (Valence Group Inc.)" userId="9f14a4d2-8b5c-4fb0-9a7b-d779ed5a424b" providerId="ADAL" clId="{CB793C73-2F9F-F146-A87A-3A49835A72DD}" dt="2021-05-26T17:28:18.446" v="349" actId="1076"/>
          <ac:cxnSpMkLst>
            <pc:docMk/>
            <pc:sldMk cId="1934978805" sldId="2076138131"/>
            <ac:cxnSpMk id="160" creationId="{C5B5C080-1A6F-43A3-A917-B38C4E27782F}"/>
          </ac:cxnSpMkLst>
        </pc:cxnChg>
        <pc:cxnChg chg="mod">
          <ac:chgData name="Alan Luder (Valence Group Inc.)" userId="9f14a4d2-8b5c-4fb0-9a7b-d779ed5a424b" providerId="ADAL" clId="{CB793C73-2F9F-F146-A87A-3A49835A72DD}" dt="2021-05-26T17:25:27.555" v="325" actId="1076"/>
          <ac:cxnSpMkLst>
            <pc:docMk/>
            <pc:sldMk cId="1934978805" sldId="2076138131"/>
            <ac:cxnSpMk id="162" creationId="{75D342B6-ED18-4634-8E00-96E4E4917D2E}"/>
          </ac:cxnSpMkLst>
        </pc:cxnChg>
        <pc:cxnChg chg="mod">
          <ac:chgData name="Alan Luder (Valence Group Inc.)" userId="9f14a4d2-8b5c-4fb0-9a7b-d779ed5a424b" providerId="ADAL" clId="{CB793C73-2F9F-F146-A87A-3A49835A72DD}" dt="2021-05-26T17:29:24.577" v="361" actId="1076"/>
          <ac:cxnSpMkLst>
            <pc:docMk/>
            <pc:sldMk cId="1934978805" sldId="2076138131"/>
            <ac:cxnSpMk id="163" creationId="{B6FDF4D3-8FCF-4B1E-8610-1775A847E1FE}"/>
          </ac:cxnSpMkLst>
        </pc:cxnChg>
        <pc:cxnChg chg="mod">
          <ac:chgData name="Alan Luder (Valence Group Inc.)" userId="9f14a4d2-8b5c-4fb0-9a7b-d779ed5a424b" providerId="ADAL" clId="{CB793C73-2F9F-F146-A87A-3A49835A72DD}" dt="2021-05-26T17:28:18.446" v="349" actId="1076"/>
          <ac:cxnSpMkLst>
            <pc:docMk/>
            <pc:sldMk cId="1934978805" sldId="2076138131"/>
            <ac:cxnSpMk id="164" creationId="{3211E0FB-22CB-4153-8E30-56D7F92F4E55}"/>
          </ac:cxnSpMkLst>
        </pc:cxnChg>
        <pc:cxnChg chg="mod">
          <ac:chgData name="Alan Luder (Valence Group Inc.)" userId="9f14a4d2-8b5c-4fb0-9a7b-d779ed5a424b" providerId="ADAL" clId="{CB793C73-2F9F-F146-A87A-3A49835A72DD}" dt="2021-05-26T17:21:33.712" v="285" actId="1076"/>
          <ac:cxnSpMkLst>
            <pc:docMk/>
            <pc:sldMk cId="1934978805" sldId="2076138131"/>
            <ac:cxnSpMk id="165" creationId="{AD68F8B6-5A03-41CD-8343-9275AB5F0F73}"/>
          </ac:cxnSpMkLst>
        </pc:cxnChg>
        <pc:cxnChg chg="mod">
          <ac:chgData name="Alan Luder (Valence Group Inc.)" userId="9f14a4d2-8b5c-4fb0-9a7b-d779ed5a424b" providerId="ADAL" clId="{CB793C73-2F9F-F146-A87A-3A49835A72DD}" dt="2021-05-26T17:28:32.905" v="353" actId="14100"/>
          <ac:cxnSpMkLst>
            <pc:docMk/>
            <pc:sldMk cId="1934978805" sldId="2076138131"/>
            <ac:cxnSpMk id="168" creationId="{1C49DD94-5D04-4701-9B30-AE1FCE18BB5E}"/>
          </ac:cxnSpMkLst>
        </pc:cxnChg>
      </pc:sldChg>
      <pc:sldChg chg="addSp delSp modSp mod modClrScheme chgLayout">
        <pc:chgData name="Alan Luder (Valence Group Inc.)" userId="9f14a4d2-8b5c-4fb0-9a7b-d779ed5a424b" providerId="ADAL" clId="{CB793C73-2F9F-F146-A87A-3A49835A72DD}" dt="2021-05-26T17:58:04.527" v="440" actId="207"/>
        <pc:sldMkLst>
          <pc:docMk/>
          <pc:sldMk cId="2610533553" sldId="2076138132"/>
        </pc:sldMkLst>
        <pc:spChg chg="add del mod ord">
          <ac:chgData name="Alan Luder (Valence Group Inc.)" userId="9f14a4d2-8b5c-4fb0-9a7b-d779ed5a424b" providerId="ADAL" clId="{CB793C73-2F9F-F146-A87A-3A49835A72DD}" dt="2021-05-26T17:30:26.777" v="372" actId="478"/>
          <ac:spMkLst>
            <pc:docMk/>
            <pc:sldMk cId="2610533553" sldId="2076138132"/>
            <ac:spMk id="2" creationId="{0C75FC74-F920-D049-9F63-9D62CC57AF39}"/>
          </ac:spMkLst>
        </pc:spChg>
        <pc:spChg chg="add del mod ord">
          <ac:chgData name="Alan Luder (Valence Group Inc.)" userId="9f14a4d2-8b5c-4fb0-9a7b-d779ed5a424b" providerId="ADAL" clId="{CB793C73-2F9F-F146-A87A-3A49835A72DD}" dt="2021-05-26T17:31:36.790" v="384" actId="478"/>
          <ac:spMkLst>
            <pc:docMk/>
            <pc:sldMk cId="2610533553" sldId="2076138132"/>
            <ac:spMk id="3" creationId="{F532AFA1-61DB-B14A-BD4D-26DF27D8A2C0}"/>
          </ac:spMkLst>
        </pc:spChg>
        <pc:spChg chg="add del mod ord">
          <ac:chgData name="Alan Luder (Valence Group Inc.)" userId="9f14a4d2-8b5c-4fb0-9a7b-d779ed5a424b" providerId="ADAL" clId="{CB793C73-2F9F-F146-A87A-3A49835A72DD}" dt="2021-05-26T17:31:28.926" v="382" actId="478"/>
          <ac:spMkLst>
            <pc:docMk/>
            <pc:sldMk cId="2610533553" sldId="2076138132"/>
            <ac:spMk id="5" creationId="{7A4AA4B2-E276-7F4A-B58A-71997A20FA5F}"/>
          </ac:spMkLst>
        </pc:spChg>
        <pc:spChg chg="mod">
          <ac:chgData name="Alan Luder (Valence Group Inc.)" userId="9f14a4d2-8b5c-4fb0-9a7b-d779ed5a424b" providerId="ADAL" clId="{CB793C73-2F9F-F146-A87A-3A49835A72DD}" dt="2021-05-26T17:33:40.243" v="411" actId="14100"/>
          <ac:spMkLst>
            <pc:docMk/>
            <pc:sldMk cId="2610533553" sldId="2076138132"/>
            <ac:spMk id="30" creationId="{6351F845-3BC9-44C2-9205-403A3759DE94}"/>
          </ac:spMkLst>
        </pc:spChg>
        <pc:spChg chg="mod">
          <ac:chgData name="Alan Luder (Valence Group Inc.)" userId="9f14a4d2-8b5c-4fb0-9a7b-d779ed5a424b" providerId="ADAL" clId="{CB793C73-2F9F-F146-A87A-3A49835A72DD}" dt="2021-05-26T17:33:47.633" v="413" actId="1076"/>
          <ac:spMkLst>
            <pc:docMk/>
            <pc:sldMk cId="2610533553" sldId="2076138132"/>
            <ac:spMk id="31" creationId="{A50A7FFE-0FCD-4DD9-AC94-AC35845ADFD5}"/>
          </ac:spMkLst>
        </pc:spChg>
        <pc:spChg chg="mod">
          <ac:chgData name="Alan Luder (Valence Group Inc.)" userId="9f14a4d2-8b5c-4fb0-9a7b-d779ed5a424b" providerId="ADAL" clId="{CB793C73-2F9F-F146-A87A-3A49835A72DD}" dt="2021-05-26T17:33:52.223" v="414" actId="1076"/>
          <ac:spMkLst>
            <pc:docMk/>
            <pc:sldMk cId="2610533553" sldId="2076138132"/>
            <ac:spMk id="32" creationId="{689CD04A-E768-4DB4-B47E-F5F28F301674}"/>
          </ac:spMkLst>
        </pc:spChg>
        <pc:spChg chg="mod">
          <ac:chgData name="Alan Luder (Valence Group Inc.)" userId="9f14a4d2-8b5c-4fb0-9a7b-d779ed5a424b" providerId="ADAL" clId="{CB793C73-2F9F-F146-A87A-3A49835A72DD}" dt="2021-05-26T17:33:57.164" v="415" actId="1076"/>
          <ac:spMkLst>
            <pc:docMk/>
            <pc:sldMk cId="2610533553" sldId="2076138132"/>
            <ac:spMk id="33" creationId="{F95E7255-D48A-4619-93D2-F7816CBA8F01}"/>
          </ac:spMkLst>
        </pc:spChg>
        <pc:spChg chg="mod">
          <ac:chgData name="Alan Luder (Valence Group Inc.)" userId="9f14a4d2-8b5c-4fb0-9a7b-d779ed5a424b" providerId="ADAL" clId="{CB793C73-2F9F-F146-A87A-3A49835A72DD}" dt="2021-05-26T17:34:03.749" v="417" actId="14100"/>
          <ac:spMkLst>
            <pc:docMk/>
            <pc:sldMk cId="2610533553" sldId="2076138132"/>
            <ac:spMk id="37" creationId="{A4F491B3-4B12-4DD2-9FCE-80AD60C27DCE}"/>
          </ac:spMkLst>
        </pc:spChg>
        <pc:spChg chg="mod">
          <ac:chgData name="Alan Luder (Valence Group Inc.)" userId="9f14a4d2-8b5c-4fb0-9a7b-d779ed5a424b" providerId="ADAL" clId="{CB793C73-2F9F-F146-A87A-3A49835A72DD}" dt="2021-05-26T17:33:18.350" v="405" actId="1076"/>
          <ac:spMkLst>
            <pc:docMk/>
            <pc:sldMk cId="2610533553" sldId="2076138132"/>
            <ac:spMk id="42" creationId="{AF64F606-EBA6-46EF-A30B-D60A718242F2}"/>
          </ac:spMkLst>
        </pc:spChg>
        <pc:spChg chg="mod">
          <ac:chgData name="Alan Luder (Valence Group Inc.)" userId="9f14a4d2-8b5c-4fb0-9a7b-d779ed5a424b" providerId="ADAL" clId="{CB793C73-2F9F-F146-A87A-3A49835A72DD}" dt="2021-05-26T17:33:34.357" v="408" actId="1076"/>
          <ac:spMkLst>
            <pc:docMk/>
            <pc:sldMk cId="2610533553" sldId="2076138132"/>
            <ac:spMk id="68" creationId="{FBF1F264-1A1E-4241-B28F-5A58DBF7B3CE}"/>
          </ac:spMkLst>
        </pc:spChg>
        <pc:spChg chg="mod">
          <ac:chgData name="Alan Luder (Valence Group Inc.)" userId="9f14a4d2-8b5c-4fb0-9a7b-d779ed5a424b" providerId="ADAL" clId="{CB793C73-2F9F-F146-A87A-3A49835A72DD}" dt="2021-05-26T17:33:18.350" v="405" actId="1076"/>
          <ac:spMkLst>
            <pc:docMk/>
            <pc:sldMk cId="2610533553" sldId="2076138132"/>
            <ac:spMk id="69" creationId="{B995E7D0-5EC4-49BC-BF1A-1D6981DFE57B}"/>
          </ac:spMkLst>
        </pc:spChg>
        <pc:spChg chg="mod">
          <ac:chgData name="Alan Luder (Valence Group Inc.)" userId="9f14a4d2-8b5c-4fb0-9a7b-d779ed5a424b" providerId="ADAL" clId="{CB793C73-2F9F-F146-A87A-3A49835A72DD}" dt="2021-05-26T17:33:18.350" v="405" actId="1076"/>
          <ac:spMkLst>
            <pc:docMk/>
            <pc:sldMk cId="2610533553" sldId="2076138132"/>
            <ac:spMk id="70" creationId="{8502C3A0-885A-4807-9541-2B4683B7E92E}"/>
          </ac:spMkLst>
        </pc:spChg>
        <pc:spChg chg="mod">
          <ac:chgData name="Alan Luder (Valence Group Inc.)" userId="9f14a4d2-8b5c-4fb0-9a7b-d779ed5a424b" providerId="ADAL" clId="{CB793C73-2F9F-F146-A87A-3A49835A72DD}" dt="2021-05-26T17:33:18.350" v="405" actId="1076"/>
          <ac:spMkLst>
            <pc:docMk/>
            <pc:sldMk cId="2610533553" sldId="2076138132"/>
            <ac:spMk id="71" creationId="{957C2584-FDF4-4A2A-96AC-E520EEABBC33}"/>
          </ac:spMkLst>
        </pc:spChg>
        <pc:spChg chg="del mod">
          <ac:chgData name="Alan Luder (Valence Group Inc.)" userId="9f14a4d2-8b5c-4fb0-9a7b-d779ed5a424b" providerId="ADAL" clId="{CB793C73-2F9F-F146-A87A-3A49835A72DD}" dt="2021-05-26T17:32:37.306" v="394" actId="478"/>
          <ac:spMkLst>
            <pc:docMk/>
            <pc:sldMk cId="2610533553" sldId="2076138132"/>
            <ac:spMk id="105" creationId="{23BEC4AF-9BEB-44B9-835E-D0654793F812}"/>
          </ac:spMkLst>
        </pc:spChg>
        <pc:spChg chg="mod">
          <ac:chgData name="Alan Luder (Valence Group Inc.)" userId="9f14a4d2-8b5c-4fb0-9a7b-d779ed5a424b" providerId="ADAL" clId="{CB793C73-2F9F-F146-A87A-3A49835A72DD}" dt="2021-05-26T17:33:28.002" v="406" actId="1076"/>
          <ac:spMkLst>
            <pc:docMk/>
            <pc:sldMk cId="2610533553" sldId="2076138132"/>
            <ac:spMk id="114" creationId="{F5B8385E-0B08-41B6-BA88-6F1BAA0EDC7F}"/>
          </ac:spMkLst>
        </pc:spChg>
        <pc:spChg chg="mod">
          <ac:chgData name="Alan Luder (Valence Group Inc.)" userId="9f14a4d2-8b5c-4fb0-9a7b-d779ed5a424b" providerId="ADAL" clId="{CB793C73-2F9F-F146-A87A-3A49835A72DD}" dt="2021-05-26T17:32:56.602" v="395" actId="1076"/>
          <ac:spMkLst>
            <pc:docMk/>
            <pc:sldMk cId="2610533553" sldId="2076138132"/>
            <ac:spMk id="118" creationId="{864FF660-389B-4ED4-AA54-E6861D9DAABA}"/>
          </ac:spMkLst>
        </pc:spChg>
        <pc:spChg chg="mod">
          <ac:chgData name="Alan Luder (Valence Group Inc.)" userId="9f14a4d2-8b5c-4fb0-9a7b-d779ed5a424b" providerId="ADAL" clId="{CB793C73-2F9F-F146-A87A-3A49835A72DD}" dt="2021-05-26T17:32:56.602" v="395" actId="1076"/>
          <ac:spMkLst>
            <pc:docMk/>
            <pc:sldMk cId="2610533553" sldId="2076138132"/>
            <ac:spMk id="120" creationId="{C79473C0-336D-4DE4-A0D0-C9B802D84D1C}"/>
          </ac:spMkLst>
        </pc:spChg>
        <pc:spChg chg="mod">
          <ac:chgData name="Alan Luder (Valence Group Inc.)" userId="9f14a4d2-8b5c-4fb0-9a7b-d779ed5a424b" providerId="ADAL" clId="{CB793C73-2F9F-F146-A87A-3A49835A72DD}" dt="2021-05-26T17:32:56.602" v="395" actId="1076"/>
          <ac:spMkLst>
            <pc:docMk/>
            <pc:sldMk cId="2610533553" sldId="2076138132"/>
            <ac:spMk id="121" creationId="{4BE6FFBB-367F-424B-94A3-425870304B61}"/>
          </ac:spMkLst>
        </pc:spChg>
        <pc:spChg chg="mod">
          <ac:chgData name="Alan Luder (Valence Group Inc.)" userId="9f14a4d2-8b5c-4fb0-9a7b-d779ed5a424b" providerId="ADAL" clId="{CB793C73-2F9F-F146-A87A-3A49835A72DD}" dt="2021-05-26T17:32:56.602" v="395" actId="1076"/>
          <ac:spMkLst>
            <pc:docMk/>
            <pc:sldMk cId="2610533553" sldId="2076138132"/>
            <ac:spMk id="122" creationId="{D1D7688B-FB44-4145-BDA7-BA7008AC87B1}"/>
          </ac:spMkLst>
        </pc:spChg>
        <pc:spChg chg="mod">
          <ac:chgData name="Alan Luder (Valence Group Inc.)" userId="9f14a4d2-8b5c-4fb0-9a7b-d779ed5a424b" providerId="ADAL" clId="{CB793C73-2F9F-F146-A87A-3A49835A72DD}" dt="2021-05-26T17:33:05.446" v="402" actId="1035"/>
          <ac:spMkLst>
            <pc:docMk/>
            <pc:sldMk cId="2610533553" sldId="2076138132"/>
            <ac:spMk id="123" creationId="{CDD6F448-A133-46C8-B58C-BBA663D3197F}"/>
          </ac:spMkLst>
        </pc:spChg>
        <pc:spChg chg="mod">
          <ac:chgData name="Alan Luder (Valence Group Inc.)" userId="9f14a4d2-8b5c-4fb0-9a7b-d779ed5a424b" providerId="ADAL" clId="{CB793C73-2F9F-F146-A87A-3A49835A72DD}" dt="2021-05-26T17:33:05.446" v="402" actId="1035"/>
          <ac:spMkLst>
            <pc:docMk/>
            <pc:sldMk cId="2610533553" sldId="2076138132"/>
            <ac:spMk id="124" creationId="{3819343F-ECC6-4B66-8882-0CBFF7913E39}"/>
          </ac:spMkLst>
        </pc:spChg>
        <pc:spChg chg="mod">
          <ac:chgData name="Alan Luder (Valence Group Inc.)" userId="9f14a4d2-8b5c-4fb0-9a7b-d779ed5a424b" providerId="ADAL" clId="{CB793C73-2F9F-F146-A87A-3A49835A72DD}" dt="2021-05-26T17:33:05.446" v="402" actId="1035"/>
          <ac:spMkLst>
            <pc:docMk/>
            <pc:sldMk cId="2610533553" sldId="2076138132"/>
            <ac:spMk id="125" creationId="{2C07A855-CFCE-43B5-B903-C96AC7CB787B}"/>
          </ac:spMkLst>
        </pc:spChg>
        <pc:spChg chg="mod">
          <ac:chgData name="Alan Luder (Valence Group Inc.)" userId="9f14a4d2-8b5c-4fb0-9a7b-d779ed5a424b" providerId="ADAL" clId="{CB793C73-2F9F-F146-A87A-3A49835A72DD}" dt="2021-05-26T17:33:05.446" v="402" actId="1035"/>
          <ac:spMkLst>
            <pc:docMk/>
            <pc:sldMk cId="2610533553" sldId="2076138132"/>
            <ac:spMk id="126" creationId="{E224CCE4-65B8-4C3B-9F31-E549E7B6BED7}"/>
          </ac:spMkLst>
        </pc:spChg>
        <pc:spChg chg="mod">
          <ac:chgData name="Alan Luder (Valence Group Inc.)" userId="9f14a4d2-8b5c-4fb0-9a7b-d779ed5a424b" providerId="ADAL" clId="{CB793C73-2F9F-F146-A87A-3A49835A72DD}" dt="2021-05-26T17:33:32.346" v="407" actId="1076"/>
          <ac:spMkLst>
            <pc:docMk/>
            <pc:sldMk cId="2610533553" sldId="2076138132"/>
            <ac:spMk id="127" creationId="{0E07D61C-9A97-4903-9E2B-95EA0B73CFDD}"/>
          </ac:spMkLst>
        </pc:spChg>
        <pc:spChg chg="mod">
          <ac:chgData name="Alan Luder (Valence Group Inc.)" userId="9f14a4d2-8b5c-4fb0-9a7b-d779ed5a424b" providerId="ADAL" clId="{CB793C73-2F9F-F146-A87A-3A49835A72DD}" dt="2021-05-26T17:58:04.527" v="440" actId="207"/>
          <ac:spMkLst>
            <pc:docMk/>
            <pc:sldMk cId="2610533553" sldId="2076138132"/>
            <ac:spMk id="158" creationId="{F21185EC-DFC5-4A1A-828E-0E2DB39ECB23}"/>
          </ac:spMkLst>
        </pc:spChg>
        <pc:picChg chg="mod">
          <ac:chgData name="Alan Luder (Valence Group Inc.)" userId="9f14a4d2-8b5c-4fb0-9a7b-d779ed5a424b" providerId="ADAL" clId="{CB793C73-2F9F-F146-A87A-3A49835A72DD}" dt="2021-05-26T17:33:28.002" v="406" actId="1076"/>
          <ac:picMkLst>
            <pc:docMk/>
            <pc:sldMk cId="2610533553" sldId="2076138132"/>
            <ac:picMk id="146" creationId="{85286800-C2AA-4A11-93D4-B4968704EAB5}"/>
          </ac:picMkLst>
        </pc:picChg>
        <pc:picChg chg="mod">
          <ac:chgData name="Alan Luder (Valence Group Inc.)" userId="9f14a4d2-8b5c-4fb0-9a7b-d779ed5a424b" providerId="ADAL" clId="{CB793C73-2F9F-F146-A87A-3A49835A72DD}" dt="2021-05-26T17:32:56.602" v="395" actId="1076"/>
          <ac:picMkLst>
            <pc:docMk/>
            <pc:sldMk cId="2610533553" sldId="2076138132"/>
            <ac:picMk id="147" creationId="{213BF936-24AD-4106-AC32-915831F80057}"/>
          </ac:picMkLst>
        </pc:picChg>
        <pc:picChg chg="mod">
          <ac:chgData name="Alan Luder (Valence Group Inc.)" userId="9f14a4d2-8b5c-4fb0-9a7b-d779ed5a424b" providerId="ADAL" clId="{CB793C73-2F9F-F146-A87A-3A49835A72DD}" dt="2021-05-26T17:32:56.602" v="395" actId="1076"/>
          <ac:picMkLst>
            <pc:docMk/>
            <pc:sldMk cId="2610533553" sldId="2076138132"/>
            <ac:picMk id="149" creationId="{69F8DDFD-41A8-463F-9421-AF651197E636}"/>
          </ac:picMkLst>
        </pc:picChg>
        <pc:picChg chg="mod">
          <ac:chgData name="Alan Luder (Valence Group Inc.)" userId="9f14a4d2-8b5c-4fb0-9a7b-d779ed5a424b" providerId="ADAL" clId="{CB793C73-2F9F-F146-A87A-3A49835A72DD}" dt="2021-05-26T17:32:56.602" v="395" actId="1076"/>
          <ac:picMkLst>
            <pc:docMk/>
            <pc:sldMk cId="2610533553" sldId="2076138132"/>
            <ac:picMk id="151" creationId="{6AA8F72E-44EF-4112-B875-5FCAD8327F77}"/>
          </ac:picMkLst>
        </pc:picChg>
        <pc:picChg chg="mod">
          <ac:chgData name="Alan Luder (Valence Group Inc.)" userId="9f14a4d2-8b5c-4fb0-9a7b-d779ed5a424b" providerId="ADAL" clId="{CB793C73-2F9F-F146-A87A-3A49835A72DD}" dt="2021-05-26T17:32:56.602" v="395" actId="1076"/>
          <ac:picMkLst>
            <pc:docMk/>
            <pc:sldMk cId="2610533553" sldId="2076138132"/>
            <ac:picMk id="152" creationId="{2872C79A-FF05-4E84-B4A0-07E3BEE3B222}"/>
          </ac:picMkLst>
        </pc:picChg>
        <pc:cxnChg chg="mod">
          <ac:chgData name="Alan Luder (Valence Group Inc.)" userId="9f14a4d2-8b5c-4fb0-9a7b-d779ed5a424b" providerId="ADAL" clId="{CB793C73-2F9F-F146-A87A-3A49835A72DD}" dt="2021-05-26T17:49:25.127" v="420" actId="1076"/>
          <ac:cxnSpMkLst>
            <pc:docMk/>
            <pc:sldMk cId="2610533553" sldId="2076138132"/>
            <ac:cxnSpMk id="34" creationId="{807E6FA7-A52C-40A6-942F-41866D4E579C}"/>
          </ac:cxnSpMkLst>
        </pc:cxnChg>
        <pc:cxnChg chg="mod">
          <ac:chgData name="Alan Luder (Valence Group Inc.)" userId="9f14a4d2-8b5c-4fb0-9a7b-d779ed5a424b" providerId="ADAL" clId="{CB793C73-2F9F-F146-A87A-3A49835A72DD}" dt="2021-05-26T17:49:32.607" v="422" actId="14100"/>
          <ac:cxnSpMkLst>
            <pc:docMk/>
            <pc:sldMk cId="2610533553" sldId="2076138132"/>
            <ac:cxnSpMk id="35" creationId="{5E51D9F6-BE30-4AF5-9879-BD870C77FFE0}"/>
          </ac:cxnSpMkLst>
        </pc:cxnChg>
        <pc:cxnChg chg="mod">
          <ac:chgData name="Alan Luder (Valence Group Inc.)" userId="9f14a4d2-8b5c-4fb0-9a7b-d779ed5a424b" providerId="ADAL" clId="{CB793C73-2F9F-F146-A87A-3A49835A72DD}" dt="2021-05-26T17:49:39.166" v="424" actId="14100"/>
          <ac:cxnSpMkLst>
            <pc:docMk/>
            <pc:sldMk cId="2610533553" sldId="2076138132"/>
            <ac:cxnSpMk id="36" creationId="{E2EB0D77-AAD3-477E-99CA-52EAA7CB4823}"/>
          </ac:cxnSpMkLst>
        </pc:cxnChg>
        <pc:cxnChg chg="mod">
          <ac:chgData name="Alan Luder (Valence Group Inc.)" userId="9f14a4d2-8b5c-4fb0-9a7b-d779ed5a424b" providerId="ADAL" clId="{CB793C73-2F9F-F146-A87A-3A49835A72DD}" dt="2021-05-26T17:49:45.061" v="426" actId="14100"/>
          <ac:cxnSpMkLst>
            <pc:docMk/>
            <pc:sldMk cId="2610533553" sldId="2076138132"/>
            <ac:cxnSpMk id="38" creationId="{A14E7793-F0D9-43AD-B6C6-BD8629126678}"/>
          </ac:cxnSpMkLst>
        </pc:cxnChg>
        <pc:cxnChg chg="mod">
          <ac:chgData name="Alan Luder (Valence Group Inc.)" userId="9f14a4d2-8b5c-4fb0-9a7b-d779ed5a424b" providerId="ADAL" clId="{CB793C73-2F9F-F146-A87A-3A49835A72DD}" dt="2021-05-26T17:33:18.350" v="405" actId="1076"/>
          <ac:cxnSpMkLst>
            <pc:docMk/>
            <pc:sldMk cId="2610533553" sldId="2076138132"/>
            <ac:cxnSpMk id="103" creationId="{1D8B3238-2BDA-4DE4-8DEE-D79808DC4186}"/>
          </ac:cxnSpMkLst>
        </pc:cxnChg>
      </pc:sldChg>
      <pc:sldChg chg="addSp delSp modSp mod modClrScheme chgLayout">
        <pc:chgData name="Alan Luder (Valence Group Inc.)" userId="9f14a4d2-8b5c-4fb0-9a7b-d779ed5a424b" providerId="ADAL" clId="{CB793C73-2F9F-F146-A87A-3A49835A72DD}" dt="2021-05-26T18:17:55.469" v="512" actId="14100"/>
        <pc:sldMkLst>
          <pc:docMk/>
          <pc:sldMk cId="2926286538" sldId="2076138133"/>
        </pc:sldMkLst>
        <pc:spChg chg="add del mod ord">
          <ac:chgData name="Alan Luder (Valence Group Inc.)" userId="9f14a4d2-8b5c-4fb0-9a7b-d779ed5a424b" providerId="ADAL" clId="{CB793C73-2F9F-F146-A87A-3A49835A72DD}" dt="2021-05-26T18:17:04.144" v="500" actId="478"/>
          <ac:spMkLst>
            <pc:docMk/>
            <pc:sldMk cId="2926286538" sldId="2076138133"/>
            <ac:spMk id="2" creationId="{803FDB34-C704-ED4C-BBE2-EBE4177B2AE3}"/>
          </ac:spMkLst>
        </pc:spChg>
        <pc:spChg chg="add del mod ord">
          <ac:chgData name="Alan Luder (Valence Group Inc.)" userId="9f14a4d2-8b5c-4fb0-9a7b-d779ed5a424b" providerId="ADAL" clId="{CB793C73-2F9F-F146-A87A-3A49835A72DD}" dt="2021-05-26T18:17:08.106" v="502" actId="478"/>
          <ac:spMkLst>
            <pc:docMk/>
            <pc:sldMk cId="2926286538" sldId="2076138133"/>
            <ac:spMk id="3" creationId="{202E6579-4D56-9C46-AC98-B815D2A1AE0A}"/>
          </ac:spMkLst>
        </pc:spChg>
        <pc:spChg chg="mod">
          <ac:chgData name="Alan Luder (Valence Group Inc.)" userId="9f14a4d2-8b5c-4fb0-9a7b-d779ed5a424b" providerId="ADAL" clId="{CB793C73-2F9F-F146-A87A-3A49835A72DD}" dt="2021-05-26T18:17:43.535" v="509" actId="1076"/>
          <ac:spMkLst>
            <pc:docMk/>
            <pc:sldMk cId="2926286538" sldId="2076138133"/>
            <ac:spMk id="24" creationId="{8067D4AE-7D9B-49F2-844A-308583F9C01F}"/>
          </ac:spMkLst>
        </pc:spChg>
        <pc:spChg chg="mod">
          <ac:chgData name="Alan Luder (Valence Group Inc.)" userId="9f14a4d2-8b5c-4fb0-9a7b-d779ed5a424b" providerId="ADAL" clId="{CB793C73-2F9F-F146-A87A-3A49835A72DD}" dt="2021-05-26T18:17:43.535" v="509" actId="1076"/>
          <ac:spMkLst>
            <pc:docMk/>
            <pc:sldMk cId="2926286538" sldId="2076138133"/>
            <ac:spMk id="25" creationId="{44C72CAC-A7BD-40F7-8D7B-9C7A121DD1B8}"/>
          </ac:spMkLst>
        </pc:spChg>
        <pc:spChg chg="mod">
          <ac:chgData name="Alan Luder (Valence Group Inc.)" userId="9f14a4d2-8b5c-4fb0-9a7b-d779ed5a424b" providerId="ADAL" clId="{CB793C73-2F9F-F146-A87A-3A49835A72DD}" dt="2021-05-26T18:17:43.535" v="509" actId="1076"/>
          <ac:spMkLst>
            <pc:docMk/>
            <pc:sldMk cId="2926286538" sldId="2076138133"/>
            <ac:spMk id="26" creationId="{C74E9D9A-BE4E-4172-8853-5C9D6CA8F589}"/>
          </ac:spMkLst>
        </pc:spChg>
        <pc:spChg chg="mod">
          <ac:chgData name="Alan Luder (Valence Group Inc.)" userId="9f14a4d2-8b5c-4fb0-9a7b-d779ed5a424b" providerId="ADAL" clId="{CB793C73-2F9F-F146-A87A-3A49835A72DD}" dt="2021-05-26T18:17:43.535" v="509" actId="1076"/>
          <ac:spMkLst>
            <pc:docMk/>
            <pc:sldMk cId="2926286538" sldId="2076138133"/>
            <ac:spMk id="27" creationId="{BC6060BB-2DD6-4593-8F99-B955877C0C94}"/>
          </ac:spMkLst>
        </pc:spChg>
        <pc:spChg chg="del">
          <ac:chgData name="Alan Luder (Valence Group Inc.)" userId="9f14a4d2-8b5c-4fb0-9a7b-d779ed5a424b" providerId="ADAL" clId="{CB793C73-2F9F-F146-A87A-3A49835A72DD}" dt="2021-05-26T18:16:55.923" v="498" actId="478"/>
          <ac:spMkLst>
            <pc:docMk/>
            <pc:sldMk cId="2926286538" sldId="2076138133"/>
            <ac:spMk id="120" creationId="{79757FD9-03BF-41BE-948A-EE8A002BFEC8}"/>
          </ac:spMkLst>
        </pc:spChg>
        <pc:spChg chg="mod">
          <ac:chgData name="Alan Luder (Valence Group Inc.)" userId="9f14a4d2-8b5c-4fb0-9a7b-d779ed5a424b" providerId="ADAL" clId="{CB793C73-2F9F-F146-A87A-3A49835A72DD}" dt="2021-05-26T18:17:33.772" v="508" actId="207"/>
          <ac:spMkLst>
            <pc:docMk/>
            <pc:sldMk cId="2926286538" sldId="2076138133"/>
            <ac:spMk id="175" creationId="{B70881A9-5978-44B2-8F14-434FADC31925}"/>
          </ac:spMkLst>
        </pc:spChg>
        <pc:cxnChg chg="mod">
          <ac:chgData name="Alan Luder (Valence Group Inc.)" userId="9f14a4d2-8b5c-4fb0-9a7b-d779ed5a424b" providerId="ADAL" clId="{CB793C73-2F9F-F146-A87A-3A49835A72DD}" dt="2021-05-26T18:17:49.598" v="510" actId="14100"/>
          <ac:cxnSpMkLst>
            <pc:docMk/>
            <pc:sldMk cId="2926286538" sldId="2076138133"/>
            <ac:cxnSpMk id="28" creationId="{6D3F022D-1A69-4A4A-81DB-E56E7EA852B2}"/>
          </ac:cxnSpMkLst>
        </pc:cxnChg>
        <pc:cxnChg chg="mod">
          <ac:chgData name="Alan Luder (Valence Group Inc.)" userId="9f14a4d2-8b5c-4fb0-9a7b-d779ed5a424b" providerId="ADAL" clId="{CB793C73-2F9F-F146-A87A-3A49835A72DD}" dt="2021-05-26T18:17:52.535" v="511" actId="14100"/>
          <ac:cxnSpMkLst>
            <pc:docMk/>
            <pc:sldMk cId="2926286538" sldId="2076138133"/>
            <ac:cxnSpMk id="29" creationId="{2FA79D57-B7A7-4B98-AC02-EB50EF98F0D5}"/>
          </ac:cxnSpMkLst>
        </pc:cxnChg>
        <pc:cxnChg chg="mod">
          <ac:chgData name="Alan Luder (Valence Group Inc.)" userId="9f14a4d2-8b5c-4fb0-9a7b-d779ed5a424b" providerId="ADAL" clId="{CB793C73-2F9F-F146-A87A-3A49835A72DD}" dt="2021-05-26T18:17:55.469" v="512" actId="14100"/>
          <ac:cxnSpMkLst>
            <pc:docMk/>
            <pc:sldMk cId="2926286538" sldId="2076138133"/>
            <ac:cxnSpMk id="30" creationId="{99E747F4-A457-43F8-9D29-C661A1C384DB}"/>
          </ac:cxnSpMkLst>
        </pc:cxnChg>
      </pc:sldChg>
      <pc:sldChg chg="addSp delSp modSp mod chgLayout">
        <pc:chgData name="Alan Luder (Valence Group Inc.)" userId="9f14a4d2-8b5c-4fb0-9a7b-d779ed5a424b" providerId="ADAL" clId="{CB793C73-2F9F-F146-A87A-3A49835A72DD}" dt="2021-05-26T16:39:10.005" v="121" actId="1076"/>
        <pc:sldMkLst>
          <pc:docMk/>
          <pc:sldMk cId="79068787" sldId="2076138213"/>
        </pc:sldMkLst>
        <pc:spChg chg="del mod ord">
          <ac:chgData name="Alan Luder (Valence Group Inc.)" userId="9f14a4d2-8b5c-4fb0-9a7b-d779ed5a424b" providerId="ADAL" clId="{CB793C73-2F9F-F146-A87A-3A49835A72DD}" dt="2021-05-26T16:38:36.037" v="111" actId="478"/>
          <ac:spMkLst>
            <pc:docMk/>
            <pc:sldMk cId="79068787" sldId="2076138213"/>
            <ac:spMk id="2" creationId="{6F7BEB4E-E116-4912-B7CA-1F80A31575AB}"/>
          </ac:spMkLst>
        </pc:spChg>
        <pc:spChg chg="add del mod ord">
          <ac:chgData name="Alan Luder (Valence Group Inc.)" userId="9f14a4d2-8b5c-4fb0-9a7b-d779ed5a424b" providerId="ADAL" clId="{CB793C73-2F9F-F146-A87A-3A49835A72DD}" dt="2021-05-26T16:38:45.679" v="115" actId="478"/>
          <ac:spMkLst>
            <pc:docMk/>
            <pc:sldMk cId="79068787" sldId="2076138213"/>
            <ac:spMk id="4" creationId="{39BAB462-E62B-E544-A0F4-48A42AD4A23B}"/>
          </ac:spMkLst>
        </pc:spChg>
        <pc:picChg chg="mod">
          <ac:chgData name="Alan Luder (Valence Group Inc.)" userId="9f14a4d2-8b5c-4fb0-9a7b-d779ed5a424b" providerId="ADAL" clId="{CB793C73-2F9F-F146-A87A-3A49835A72DD}" dt="2021-05-26T16:39:10.005" v="121" actId="1076"/>
          <ac:picMkLst>
            <pc:docMk/>
            <pc:sldMk cId="79068787" sldId="2076138213"/>
            <ac:picMk id="3" creationId="{2339D942-AEF0-41EA-9A4C-0BA5EC7415DB}"/>
          </ac:picMkLst>
        </pc:picChg>
      </pc:sldChg>
      <pc:sldChg chg="addSp delSp modSp mod modClrScheme chgLayout">
        <pc:chgData name="Alan Luder (Valence Group Inc.)" userId="9f14a4d2-8b5c-4fb0-9a7b-d779ed5a424b" providerId="ADAL" clId="{CB793C73-2F9F-F146-A87A-3A49835A72DD}" dt="2021-05-26T18:29:49.679" v="611" actId="1076"/>
        <pc:sldMkLst>
          <pc:docMk/>
          <pc:sldMk cId="26946072" sldId="2076138451"/>
        </pc:sldMkLst>
        <pc:spChg chg="mod ord">
          <ac:chgData name="Alan Luder (Valence Group Inc.)" userId="9f14a4d2-8b5c-4fb0-9a7b-d779ed5a424b" providerId="ADAL" clId="{CB793C73-2F9F-F146-A87A-3A49835A72DD}" dt="2021-05-26T18:29:49.679" v="611" actId="1076"/>
          <ac:spMkLst>
            <pc:docMk/>
            <pc:sldMk cId="26946072" sldId="2076138451"/>
            <ac:spMk id="2" creationId="{F1BE0490-AC21-4B32-8C40-7D92B7534AB1}"/>
          </ac:spMkLst>
        </pc:spChg>
        <pc:spChg chg="add mod ord">
          <ac:chgData name="Alan Luder (Valence Group Inc.)" userId="9f14a4d2-8b5c-4fb0-9a7b-d779ed5a424b" providerId="ADAL" clId="{CB793C73-2F9F-F146-A87A-3A49835A72DD}" dt="2021-05-26T18:29:45.295" v="610" actId="700"/>
          <ac:spMkLst>
            <pc:docMk/>
            <pc:sldMk cId="26946072" sldId="2076138451"/>
            <ac:spMk id="5" creationId="{87F6CFC4-9B8A-8C41-A662-22AB1D954BC1}"/>
          </ac:spMkLst>
        </pc:spChg>
        <pc:spChg chg="mod">
          <ac:chgData name="Alan Luder (Valence Group Inc.)" userId="9f14a4d2-8b5c-4fb0-9a7b-d779ed5a424b" providerId="ADAL" clId="{CB793C73-2F9F-F146-A87A-3A49835A72DD}" dt="2021-05-26T18:29:35.221" v="609" actId="1076"/>
          <ac:spMkLst>
            <pc:docMk/>
            <pc:sldMk cId="26946072" sldId="2076138451"/>
            <ac:spMk id="92" creationId="{6C83D028-C33D-4BC6-872E-005D9851AF81}"/>
          </ac:spMkLst>
        </pc:spChg>
        <pc:spChg chg="mod">
          <ac:chgData name="Alan Luder (Valence Group Inc.)" userId="9f14a4d2-8b5c-4fb0-9a7b-d779ed5a424b" providerId="ADAL" clId="{CB793C73-2F9F-F146-A87A-3A49835A72DD}" dt="2021-05-26T18:29:31.374" v="608" actId="1076"/>
          <ac:spMkLst>
            <pc:docMk/>
            <pc:sldMk cId="26946072" sldId="2076138451"/>
            <ac:spMk id="93" creationId="{2CF75B80-7A6D-4721-88B9-F268ABB103A4}"/>
          </ac:spMkLst>
        </pc:spChg>
        <pc:spChg chg="mod">
          <ac:chgData name="Alan Luder (Valence Group Inc.)" userId="9f14a4d2-8b5c-4fb0-9a7b-d779ed5a424b" providerId="ADAL" clId="{CB793C73-2F9F-F146-A87A-3A49835A72DD}" dt="2021-05-26T18:27:43.760" v="558" actId="14100"/>
          <ac:spMkLst>
            <pc:docMk/>
            <pc:sldMk cId="26946072" sldId="2076138451"/>
            <ac:spMk id="95" creationId="{69AA0CB1-FDBD-45D7-8A6E-E3626908AD37}"/>
          </ac:spMkLst>
        </pc:spChg>
        <pc:spChg chg="mod">
          <ac:chgData name="Alan Luder (Valence Group Inc.)" userId="9f14a4d2-8b5c-4fb0-9a7b-d779ed5a424b" providerId="ADAL" clId="{CB793C73-2F9F-F146-A87A-3A49835A72DD}" dt="2021-05-26T18:26:51.400" v="547" actId="1076"/>
          <ac:spMkLst>
            <pc:docMk/>
            <pc:sldMk cId="26946072" sldId="2076138451"/>
            <ac:spMk id="97" creationId="{AFB96343-B471-43F5-B808-7DE8D5B62D11}"/>
          </ac:spMkLst>
        </pc:spChg>
        <pc:spChg chg="mod">
          <ac:chgData name="Alan Luder (Valence Group Inc.)" userId="9f14a4d2-8b5c-4fb0-9a7b-d779ed5a424b" providerId="ADAL" clId="{CB793C73-2F9F-F146-A87A-3A49835A72DD}" dt="2021-05-26T18:26:51.400" v="547" actId="1076"/>
          <ac:spMkLst>
            <pc:docMk/>
            <pc:sldMk cId="26946072" sldId="2076138451"/>
            <ac:spMk id="98" creationId="{F7894C68-206C-44F6-9472-06F1B4AD634B}"/>
          </ac:spMkLst>
        </pc:spChg>
        <pc:spChg chg="mod">
          <ac:chgData name="Alan Luder (Valence Group Inc.)" userId="9f14a4d2-8b5c-4fb0-9a7b-d779ed5a424b" providerId="ADAL" clId="{CB793C73-2F9F-F146-A87A-3A49835A72DD}" dt="2021-05-26T18:28:01.761" v="562" actId="1076"/>
          <ac:spMkLst>
            <pc:docMk/>
            <pc:sldMk cId="26946072" sldId="2076138451"/>
            <ac:spMk id="99" creationId="{48934F33-DE13-4F89-9502-1A74D62ACA77}"/>
          </ac:spMkLst>
        </pc:spChg>
        <pc:spChg chg="mod">
          <ac:chgData name="Alan Luder (Valence Group Inc.)" userId="9f14a4d2-8b5c-4fb0-9a7b-d779ed5a424b" providerId="ADAL" clId="{CB793C73-2F9F-F146-A87A-3A49835A72DD}" dt="2021-05-26T18:28:01.761" v="562" actId="1076"/>
          <ac:spMkLst>
            <pc:docMk/>
            <pc:sldMk cId="26946072" sldId="2076138451"/>
            <ac:spMk id="100" creationId="{2C8E11B0-8E9C-47CA-A594-18DCFB0707F7}"/>
          </ac:spMkLst>
        </pc:spChg>
        <pc:spChg chg="mod">
          <ac:chgData name="Alan Luder (Valence Group Inc.)" userId="9f14a4d2-8b5c-4fb0-9a7b-d779ed5a424b" providerId="ADAL" clId="{CB793C73-2F9F-F146-A87A-3A49835A72DD}" dt="2021-05-26T18:28:01.761" v="562" actId="1076"/>
          <ac:spMkLst>
            <pc:docMk/>
            <pc:sldMk cId="26946072" sldId="2076138451"/>
            <ac:spMk id="101" creationId="{1B185544-F551-471B-8D95-DA2D0E980762}"/>
          </ac:spMkLst>
        </pc:spChg>
        <pc:spChg chg="mod">
          <ac:chgData name="Alan Luder (Valence Group Inc.)" userId="9f14a4d2-8b5c-4fb0-9a7b-d779ed5a424b" providerId="ADAL" clId="{CB793C73-2F9F-F146-A87A-3A49835A72DD}" dt="2021-05-26T18:26:51.400" v="547" actId="1076"/>
          <ac:spMkLst>
            <pc:docMk/>
            <pc:sldMk cId="26946072" sldId="2076138451"/>
            <ac:spMk id="125" creationId="{045AF181-A0D9-4D8C-BADF-AD3846CB6D79}"/>
          </ac:spMkLst>
        </pc:spChg>
        <pc:spChg chg="mod">
          <ac:chgData name="Alan Luder (Valence Group Inc.)" userId="9f14a4d2-8b5c-4fb0-9a7b-d779ed5a424b" providerId="ADAL" clId="{CB793C73-2F9F-F146-A87A-3A49835A72DD}" dt="2021-05-26T18:26:51.400" v="547" actId="1076"/>
          <ac:spMkLst>
            <pc:docMk/>
            <pc:sldMk cId="26946072" sldId="2076138451"/>
            <ac:spMk id="126" creationId="{976F9244-20FB-45F1-8E48-45721E4BD0CB}"/>
          </ac:spMkLst>
        </pc:spChg>
        <pc:spChg chg="mod">
          <ac:chgData name="Alan Luder (Valence Group Inc.)" userId="9f14a4d2-8b5c-4fb0-9a7b-d779ed5a424b" providerId="ADAL" clId="{CB793C73-2F9F-F146-A87A-3A49835A72DD}" dt="2021-05-26T18:26:51.400" v="547" actId="1076"/>
          <ac:spMkLst>
            <pc:docMk/>
            <pc:sldMk cId="26946072" sldId="2076138451"/>
            <ac:spMk id="130" creationId="{289628C0-2641-4767-AF49-FE9AEEFE796A}"/>
          </ac:spMkLst>
        </pc:spChg>
        <pc:spChg chg="mod">
          <ac:chgData name="Alan Luder (Valence Group Inc.)" userId="9f14a4d2-8b5c-4fb0-9a7b-d779ed5a424b" providerId="ADAL" clId="{CB793C73-2F9F-F146-A87A-3A49835A72DD}" dt="2021-05-26T18:26:51.400" v="547" actId="1076"/>
          <ac:spMkLst>
            <pc:docMk/>
            <pc:sldMk cId="26946072" sldId="2076138451"/>
            <ac:spMk id="131" creationId="{11A23C6B-5728-41CA-9501-80E69E248AA3}"/>
          </ac:spMkLst>
        </pc:spChg>
        <pc:spChg chg="mod">
          <ac:chgData name="Alan Luder (Valence Group Inc.)" userId="9f14a4d2-8b5c-4fb0-9a7b-d779ed5a424b" providerId="ADAL" clId="{CB793C73-2F9F-F146-A87A-3A49835A72DD}" dt="2021-05-26T18:26:51.400" v="547" actId="1076"/>
          <ac:spMkLst>
            <pc:docMk/>
            <pc:sldMk cId="26946072" sldId="2076138451"/>
            <ac:spMk id="133" creationId="{370897A5-00AE-4E1B-8EE6-3CDB9CD9A2AA}"/>
          </ac:spMkLst>
        </pc:spChg>
        <pc:spChg chg="mod">
          <ac:chgData name="Alan Luder (Valence Group Inc.)" userId="9f14a4d2-8b5c-4fb0-9a7b-d779ed5a424b" providerId="ADAL" clId="{CB793C73-2F9F-F146-A87A-3A49835A72DD}" dt="2021-05-26T18:26:51.400" v="547" actId="1076"/>
          <ac:spMkLst>
            <pc:docMk/>
            <pc:sldMk cId="26946072" sldId="2076138451"/>
            <ac:spMk id="134" creationId="{D8F1490C-AD9B-43A4-9BB0-28EDEF935026}"/>
          </ac:spMkLst>
        </pc:spChg>
        <pc:spChg chg="mod">
          <ac:chgData name="Alan Luder (Valence Group Inc.)" userId="9f14a4d2-8b5c-4fb0-9a7b-d779ed5a424b" providerId="ADAL" clId="{CB793C73-2F9F-F146-A87A-3A49835A72DD}" dt="2021-05-26T18:27:38.821" v="557" actId="1076"/>
          <ac:spMkLst>
            <pc:docMk/>
            <pc:sldMk cId="26946072" sldId="2076138451"/>
            <ac:spMk id="135" creationId="{69C0B654-EF14-4CAC-9116-117AC1DAD153}"/>
          </ac:spMkLst>
        </pc:spChg>
        <pc:spChg chg="mod">
          <ac:chgData name="Alan Luder (Valence Group Inc.)" userId="9f14a4d2-8b5c-4fb0-9a7b-d779ed5a424b" providerId="ADAL" clId="{CB793C73-2F9F-F146-A87A-3A49835A72DD}" dt="2021-05-26T18:27:38.821" v="557" actId="1076"/>
          <ac:spMkLst>
            <pc:docMk/>
            <pc:sldMk cId="26946072" sldId="2076138451"/>
            <ac:spMk id="136" creationId="{4890B47F-32E2-485D-B029-C72F5F8BDF26}"/>
          </ac:spMkLst>
        </pc:spChg>
        <pc:spChg chg="mod">
          <ac:chgData name="Alan Luder (Valence Group Inc.)" userId="9f14a4d2-8b5c-4fb0-9a7b-d779ed5a424b" providerId="ADAL" clId="{CB793C73-2F9F-F146-A87A-3A49835A72DD}" dt="2021-05-26T18:27:38.821" v="557" actId="1076"/>
          <ac:spMkLst>
            <pc:docMk/>
            <pc:sldMk cId="26946072" sldId="2076138451"/>
            <ac:spMk id="137" creationId="{891381CC-CA83-41E0-91F0-71D2F9A11EE6}"/>
          </ac:spMkLst>
        </pc:spChg>
        <pc:spChg chg="mod">
          <ac:chgData name="Alan Luder (Valence Group Inc.)" userId="9f14a4d2-8b5c-4fb0-9a7b-d779ed5a424b" providerId="ADAL" clId="{CB793C73-2F9F-F146-A87A-3A49835A72DD}" dt="2021-05-26T18:27:38.821" v="557" actId="1076"/>
          <ac:spMkLst>
            <pc:docMk/>
            <pc:sldMk cId="26946072" sldId="2076138451"/>
            <ac:spMk id="138" creationId="{94936A05-E127-4AC7-B4ED-5A832F0E92BE}"/>
          </ac:spMkLst>
        </pc:spChg>
        <pc:spChg chg="mod">
          <ac:chgData name="Alan Luder (Valence Group Inc.)" userId="9f14a4d2-8b5c-4fb0-9a7b-d779ed5a424b" providerId="ADAL" clId="{CB793C73-2F9F-F146-A87A-3A49835A72DD}" dt="2021-05-26T18:29:11.192" v="602" actId="1035"/>
          <ac:spMkLst>
            <pc:docMk/>
            <pc:sldMk cId="26946072" sldId="2076138451"/>
            <ac:spMk id="143" creationId="{D644ADF7-FFF8-49CC-9596-6D5795E318BD}"/>
          </ac:spMkLst>
        </pc:spChg>
        <pc:spChg chg="mod">
          <ac:chgData name="Alan Luder (Valence Group Inc.)" userId="9f14a4d2-8b5c-4fb0-9a7b-d779ed5a424b" providerId="ADAL" clId="{CB793C73-2F9F-F146-A87A-3A49835A72DD}" dt="2021-05-26T18:29:11.192" v="602" actId="1035"/>
          <ac:spMkLst>
            <pc:docMk/>
            <pc:sldMk cId="26946072" sldId="2076138451"/>
            <ac:spMk id="145" creationId="{0893A780-548A-4D02-B2F3-7C561FC69504}"/>
          </ac:spMkLst>
        </pc:spChg>
        <pc:spChg chg="mod">
          <ac:chgData name="Alan Luder (Valence Group Inc.)" userId="9f14a4d2-8b5c-4fb0-9a7b-d779ed5a424b" providerId="ADAL" clId="{CB793C73-2F9F-F146-A87A-3A49835A72DD}" dt="2021-05-26T18:29:11.192" v="602" actId="1035"/>
          <ac:spMkLst>
            <pc:docMk/>
            <pc:sldMk cId="26946072" sldId="2076138451"/>
            <ac:spMk id="146" creationId="{1B80489A-C9DC-43DB-B60F-C4A3BA82D7C3}"/>
          </ac:spMkLst>
        </pc:spChg>
        <pc:spChg chg="mod">
          <ac:chgData name="Alan Luder (Valence Group Inc.)" userId="9f14a4d2-8b5c-4fb0-9a7b-d779ed5a424b" providerId="ADAL" clId="{CB793C73-2F9F-F146-A87A-3A49835A72DD}" dt="2021-05-26T18:29:11.192" v="602" actId="1035"/>
          <ac:spMkLst>
            <pc:docMk/>
            <pc:sldMk cId="26946072" sldId="2076138451"/>
            <ac:spMk id="147" creationId="{64703B31-2019-4EAF-ADE3-031E9BA93628}"/>
          </ac:spMkLst>
        </pc:spChg>
        <pc:spChg chg="mod">
          <ac:chgData name="Alan Luder (Valence Group Inc.)" userId="9f14a4d2-8b5c-4fb0-9a7b-d779ed5a424b" providerId="ADAL" clId="{CB793C73-2F9F-F146-A87A-3A49835A72DD}" dt="2021-05-26T18:29:11.192" v="602" actId="1035"/>
          <ac:spMkLst>
            <pc:docMk/>
            <pc:sldMk cId="26946072" sldId="2076138451"/>
            <ac:spMk id="149" creationId="{70A3FF7F-8558-4A85-ACCD-8CD8359A1D53}"/>
          </ac:spMkLst>
        </pc:spChg>
        <pc:spChg chg="mod">
          <ac:chgData name="Alan Luder (Valence Group Inc.)" userId="9f14a4d2-8b5c-4fb0-9a7b-d779ed5a424b" providerId="ADAL" clId="{CB793C73-2F9F-F146-A87A-3A49835A72DD}" dt="2021-05-26T18:29:11.192" v="602" actId="1035"/>
          <ac:spMkLst>
            <pc:docMk/>
            <pc:sldMk cId="26946072" sldId="2076138451"/>
            <ac:spMk id="150" creationId="{6AF19EBE-BB81-4511-BB96-5D9379A09151}"/>
          </ac:spMkLst>
        </pc:spChg>
        <pc:spChg chg="mod">
          <ac:chgData name="Alan Luder (Valence Group Inc.)" userId="9f14a4d2-8b5c-4fb0-9a7b-d779ed5a424b" providerId="ADAL" clId="{CB793C73-2F9F-F146-A87A-3A49835A72DD}" dt="2021-05-26T18:27:18.962" v="552" actId="1076"/>
          <ac:spMkLst>
            <pc:docMk/>
            <pc:sldMk cId="26946072" sldId="2076138451"/>
            <ac:spMk id="151" creationId="{8B8C5BEC-5364-4536-AA8E-F5529480BB1F}"/>
          </ac:spMkLst>
        </pc:spChg>
        <pc:spChg chg="mod">
          <ac:chgData name="Alan Luder (Valence Group Inc.)" userId="9f14a4d2-8b5c-4fb0-9a7b-d779ed5a424b" providerId="ADAL" clId="{CB793C73-2F9F-F146-A87A-3A49835A72DD}" dt="2021-05-26T18:27:23.395" v="553" actId="1076"/>
          <ac:spMkLst>
            <pc:docMk/>
            <pc:sldMk cId="26946072" sldId="2076138451"/>
            <ac:spMk id="152" creationId="{CD1A675C-27F6-4514-8905-10AA87FBF5AE}"/>
          </ac:spMkLst>
        </pc:spChg>
        <pc:spChg chg="mod">
          <ac:chgData name="Alan Luder (Valence Group Inc.)" userId="9f14a4d2-8b5c-4fb0-9a7b-d779ed5a424b" providerId="ADAL" clId="{CB793C73-2F9F-F146-A87A-3A49835A72DD}" dt="2021-05-26T18:26:51.400" v="547" actId="1076"/>
          <ac:spMkLst>
            <pc:docMk/>
            <pc:sldMk cId="26946072" sldId="2076138451"/>
            <ac:spMk id="164" creationId="{1E426BB6-EB04-4BE1-BC00-87555C1CD44E}"/>
          </ac:spMkLst>
        </pc:spChg>
        <pc:spChg chg="mod">
          <ac:chgData name="Alan Luder (Valence Group Inc.)" userId="9f14a4d2-8b5c-4fb0-9a7b-d779ed5a424b" providerId="ADAL" clId="{CB793C73-2F9F-F146-A87A-3A49835A72DD}" dt="2021-05-26T18:26:51.400" v="547" actId="1076"/>
          <ac:spMkLst>
            <pc:docMk/>
            <pc:sldMk cId="26946072" sldId="2076138451"/>
            <ac:spMk id="165" creationId="{86C2A67A-D969-41AC-9DE2-A1C0162D3C5C}"/>
          </ac:spMkLst>
        </pc:spChg>
        <pc:spChg chg="mod">
          <ac:chgData name="Alan Luder (Valence Group Inc.)" userId="9f14a4d2-8b5c-4fb0-9a7b-d779ed5a424b" providerId="ADAL" clId="{CB793C73-2F9F-F146-A87A-3A49835A72DD}" dt="2021-05-26T18:26:51.400" v="547" actId="1076"/>
          <ac:spMkLst>
            <pc:docMk/>
            <pc:sldMk cId="26946072" sldId="2076138451"/>
            <ac:spMk id="166" creationId="{72A719A6-1EF7-49C4-9ED5-85E7A0556C08}"/>
          </ac:spMkLst>
        </pc:spChg>
        <pc:spChg chg="mod">
          <ac:chgData name="Alan Luder (Valence Group Inc.)" userId="9f14a4d2-8b5c-4fb0-9a7b-d779ed5a424b" providerId="ADAL" clId="{CB793C73-2F9F-F146-A87A-3A49835A72DD}" dt="2021-05-26T18:26:51.400" v="547" actId="1076"/>
          <ac:spMkLst>
            <pc:docMk/>
            <pc:sldMk cId="26946072" sldId="2076138451"/>
            <ac:spMk id="167" creationId="{F6A0ABD3-49EB-4919-B940-ACBE9DA5EE00}"/>
          </ac:spMkLst>
        </pc:spChg>
        <pc:spChg chg="mod">
          <ac:chgData name="Alan Luder (Valence Group Inc.)" userId="9f14a4d2-8b5c-4fb0-9a7b-d779ed5a424b" providerId="ADAL" clId="{CB793C73-2F9F-F146-A87A-3A49835A72DD}" dt="2021-05-26T18:26:51.400" v="547" actId="1076"/>
          <ac:spMkLst>
            <pc:docMk/>
            <pc:sldMk cId="26946072" sldId="2076138451"/>
            <ac:spMk id="168" creationId="{E35437D0-9E6A-410C-ABAF-623CD05391DC}"/>
          </ac:spMkLst>
        </pc:spChg>
        <pc:spChg chg="mod">
          <ac:chgData name="Alan Luder (Valence Group Inc.)" userId="9f14a4d2-8b5c-4fb0-9a7b-d779ed5a424b" providerId="ADAL" clId="{CB793C73-2F9F-F146-A87A-3A49835A72DD}" dt="2021-05-26T18:26:51.400" v="547" actId="1076"/>
          <ac:spMkLst>
            <pc:docMk/>
            <pc:sldMk cId="26946072" sldId="2076138451"/>
            <ac:spMk id="169" creationId="{B9272C1A-07E5-4EA2-BE31-111509C2BE65}"/>
          </ac:spMkLst>
        </pc:spChg>
        <pc:spChg chg="mod">
          <ac:chgData name="Alan Luder (Valence Group Inc.)" userId="9f14a4d2-8b5c-4fb0-9a7b-d779ed5a424b" providerId="ADAL" clId="{CB793C73-2F9F-F146-A87A-3A49835A72DD}" dt="2021-05-26T18:26:51.400" v="547" actId="1076"/>
          <ac:spMkLst>
            <pc:docMk/>
            <pc:sldMk cId="26946072" sldId="2076138451"/>
            <ac:spMk id="170" creationId="{6C1993CC-5069-4B76-A657-455C712CB1C9}"/>
          </ac:spMkLst>
        </pc:spChg>
        <pc:spChg chg="mod">
          <ac:chgData name="Alan Luder (Valence Group Inc.)" userId="9f14a4d2-8b5c-4fb0-9a7b-d779ed5a424b" providerId="ADAL" clId="{CB793C73-2F9F-F146-A87A-3A49835A72DD}" dt="2021-05-26T18:26:51.400" v="547" actId="1076"/>
          <ac:spMkLst>
            <pc:docMk/>
            <pc:sldMk cId="26946072" sldId="2076138451"/>
            <ac:spMk id="171" creationId="{8BF6A74C-9011-47B4-A6AA-3F9A93206C3C}"/>
          </ac:spMkLst>
        </pc:spChg>
        <pc:spChg chg="mod">
          <ac:chgData name="Alan Luder (Valence Group Inc.)" userId="9f14a4d2-8b5c-4fb0-9a7b-d779ed5a424b" providerId="ADAL" clId="{CB793C73-2F9F-F146-A87A-3A49835A72DD}" dt="2021-05-26T18:26:51.400" v="547" actId="1076"/>
          <ac:spMkLst>
            <pc:docMk/>
            <pc:sldMk cId="26946072" sldId="2076138451"/>
            <ac:spMk id="172" creationId="{2D0DF045-A8D7-4893-BD95-BA738B763F6F}"/>
          </ac:spMkLst>
        </pc:spChg>
        <pc:spChg chg="mod">
          <ac:chgData name="Alan Luder (Valence Group Inc.)" userId="9f14a4d2-8b5c-4fb0-9a7b-d779ed5a424b" providerId="ADAL" clId="{CB793C73-2F9F-F146-A87A-3A49835A72DD}" dt="2021-05-26T18:26:51.400" v="547" actId="1076"/>
          <ac:spMkLst>
            <pc:docMk/>
            <pc:sldMk cId="26946072" sldId="2076138451"/>
            <ac:spMk id="173" creationId="{08183C26-B1FE-43E8-908E-1086873EFDEB}"/>
          </ac:spMkLst>
        </pc:spChg>
        <pc:spChg chg="mod">
          <ac:chgData name="Alan Luder (Valence Group Inc.)" userId="9f14a4d2-8b5c-4fb0-9a7b-d779ed5a424b" providerId="ADAL" clId="{CB793C73-2F9F-F146-A87A-3A49835A72DD}" dt="2021-05-26T18:26:51.400" v="547" actId="1076"/>
          <ac:spMkLst>
            <pc:docMk/>
            <pc:sldMk cId="26946072" sldId="2076138451"/>
            <ac:spMk id="174" creationId="{F5293579-0FC4-4A1E-9287-A1D3E6A771DB}"/>
          </ac:spMkLst>
        </pc:spChg>
        <pc:spChg chg="mod">
          <ac:chgData name="Alan Luder (Valence Group Inc.)" userId="9f14a4d2-8b5c-4fb0-9a7b-d779ed5a424b" providerId="ADAL" clId="{CB793C73-2F9F-F146-A87A-3A49835A72DD}" dt="2021-05-26T18:26:51.400" v="547" actId="1076"/>
          <ac:spMkLst>
            <pc:docMk/>
            <pc:sldMk cId="26946072" sldId="2076138451"/>
            <ac:spMk id="175" creationId="{B0F05F12-A4F6-47E8-BD1E-8787CDFC6253}"/>
          </ac:spMkLst>
        </pc:spChg>
        <pc:spChg chg="mod">
          <ac:chgData name="Alan Luder (Valence Group Inc.)" userId="9f14a4d2-8b5c-4fb0-9a7b-d779ed5a424b" providerId="ADAL" clId="{CB793C73-2F9F-F146-A87A-3A49835A72DD}" dt="2021-05-26T18:26:51.400" v="547" actId="1076"/>
          <ac:spMkLst>
            <pc:docMk/>
            <pc:sldMk cId="26946072" sldId="2076138451"/>
            <ac:spMk id="176" creationId="{8EB41C70-612F-4517-8ABB-F89A550E2B11}"/>
          </ac:spMkLst>
        </pc:spChg>
        <pc:spChg chg="mod">
          <ac:chgData name="Alan Luder (Valence Group Inc.)" userId="9f14a4d2-8b5c-4fb0-9a7b-d779ed5a424b" providerId="ADAL" clId="{CB793C73-2F9F-F146-A87A-3A49835A72DD}" dt="2021-05-26T18:26:51.400" v="547" actId="1076"/>
          <ac:spMkLst>
            <pc:docMk/>
            <pc:sldMk cId="26946072" sldId="2076138451"/>
            <ac:spMk id="177" creationId="{89AB9B56-0E74-4FB0-B0CD-B46064115A98}"/>
          </ac:spMkLst>
        </pc:spChg>
        <pc:grpChg chg="mod">
          <ac:chgData name="Alan Luder (Valence Group Inc.)" userId="9f14a4d2-8b5c-4fb0-9a7b-d779ed5a424b" providerId="ADAL" clId="{CB793C73-2F9F-F146-A87A-3A49835A72DD}" dt="2021-05-26T18:29:18.776" v="603" actId="1076"/>
          <ac:grpSpMkLst>
            <pc:docMk/>
            <pc:sldMk cId="26946072" sldId="2076138451"/>
            <ac:grpSpMk id="16" creationId="{29C61F2D-0B44-4150-BFD9-816D75ACC6A0}"/>
          </ac:grpSpMkLst>
        </pc:grpChg>
        <pc:grpChg chg="mod">
          <ac:chgData name="Alan Luder (Valence Group Inc.)" userId="9f14a4d2-8b5c-4fb0-9a7b-d779ed5a424b" providerId="ADAL" clId="{CB793C73-2F9F-F146-A87A-3A49835A72DD}" dt="2021-05-26T18:29:21.147" v="604" actId="1076"/>
          <ac:grpSpMkLst>
            <pc:docMk/>
            <pc:sldMk cId="26946072" sldId="2076138451"/>
            <ac:grpSpMk id="17" creationId="{A8A10630-7C2C-4A53-9C7B-77FBF373B654}"/>
          </ac:grpSpMkLst>
        </pc:grpChg>
        <pc:grpChg chg="mod">
          <ac:chgData name="Alan Luder (Valence Group Inc.)" userId="9f14a4d2-8b5c-4fb0-9a7b-d779ed5a424b" providerId="ADAL" clId="{CB793C73-2F9F-F146-A87A-3A49835A72DD}" dt="2021-05-26T18:28:01.761" v="562" actId="1076"/>
          <ac:grpSpMkLst>
            <pc:docMk/>
            <pc:sldMk cId="26946072" sldId="2076138451"/>
            <ac:grpSpMk id="18" creationId="{36A524A4-9C51-41EE-A3A2-E8CBA9DF0DC1}"/>
          </ac:grpSpMkLst>
        </pc:grpChg>
        <pc:grpChg chg="mod">
          <ac:chgData name="Alan Luder (Valence Group Inc.)" userId="9f14a4d2-8b5c-4fb0-9a7b-d779ed5a424b" providerId="ADAL" clId="{CB793C73-2F9F-F146-A87A-3A49835A72DD}" dt="2021-05-26T18:29:11.192" v="602" actId="1035"/>
          <ac:grpSpMkLst>
            <pc:docMk/>
            <pc:sldMk cId="26946072" sldId="2076138451"/>
            <ac:grpSpMk id="82" creationId="{71FDAA63-5052-4B13-9F60-9796145507D8}"/>
          </ac:grpSpMkLst>
        </pc:grpChg>
        <pc:grpChg chg="mod">
          <ac:chgData name="Alan Luder (Valence Group Inc.)" userId="9f14a4d2-8b5c-4fb0-9a7b-d779ed5a424b" providerId="ADAL" clId="{CB793C73-2F9F-F146-A87A-3A49835A72DD}" dt="2021-05-26T18:29:23.434" v="606" actId="1076"/>
          <ac:grpSpMkLst>
            <pc:docMk/>
            <pc:sldMk cId="26946072" sldId="2076138451"/>
            <ac:grpSpMk id="85" creationId="{E164D5E0-093C-40B7-9622-5608DB7BAEEB}"/>
          </ac:grpSpMkLst>
        </pc:grpChg>
        <pc:grpChg chg="mod">
          <ac:chgData name="Alan Luder (Valence Group Inc.)" userId="9f14a4d2-8b5c-4fb0-9a7b-d779ed5a424b" providerId="ADAL" clId="{CB793C73-2F9F-F146-A87A-3A49835A72DD}" dt="2021-05-26T18:29:11.192" v="602" actId="1035"/>
          <ac:grpSpMkLst>
            <pc:docMk/>
            <pc:sldMk cId="26946072" sldId="2076138451"/>
            <ac:grpSpMk id="88" creationId="{F337966D-4640-4F79-A9B3-87B28E71D520}"/>
          </ac:grpSpMkLst>
        </pc:grpChg>
        <pc:grpChg chg="mod">
          <ac:chgData name="Alan Luder (Valence Group Inc.)" userId="9f14a4d2-8b5c-4fb0-9a7b-d779ed5a424b" providerId="ADAL" clId="{CB793C73-2F9F-F146-A87A-3A49835A72DD}" dt="2021-05-26T18:28:01.761" v="562" actId="1076"/>
          <ac:grpSpMkLst>
            <pc:docMk/>
            <pc:sldMk cId="26946072" sldId="2076138451"/>
            <ac:grpSpMk id="91" creationId="{05DD19B8-8754-4D0D-994D-AC5C7B938834}"/>
          </ac:grpSpMkLst>
        </pc:grpChg>
        <pc:grpChg chg="mod">
          <ac:chgData name="Alan Luder (Valence Group Inc.)" userId="9f14a4d2-8b5c-4fb0-9a7b-d779ed5a424b" providerId="ADAL" clId="{CB793C73-2F9F-F146-A87A-3A49835A72DD}" dt="2021-05-26T18:26:51.400" v="547" actId="1076"/>
          <ac:grpSpMkLst>
            <pc:docMk/>
            <pc:sldMk cId="26946072" sldId="2076138451"/>
            <ac:grpSpMk id="96" creationId="{FE443FA0-9BCE-4942-8D98-899677B4CE32}"/>
          </ac:grpSpMkLst>
        </pc:grpChg>
        <pc:grpChg chg="mod">
          <ac:chgData name="Alan Luder (Valence Group Inc.)" userId="9f14a4d2-8b5c-4fb0-9a7b-d779ed5a424b" providerId="ADAL" clId="{CB793C73-2F9F-F146-A87A-3A49835A72DD}" dt="2021-05-26T18:29:11.192" v="602" actId="1035"/>
          <ac:grpSpMkLst>
            <pc:docMk/>
            <pc:sldMk cId="26946072" sldId="2076138451"/>
            <ac:grpSpMk id="102" creationId="{5386C2A3-350A-4308-81CC-A8BC6DCE9220}"/>
          </ac:grpSpMkLst>
        </pc:grpChg>
        <pc:grpChg chg="mod">
          <ac:chgData name="Alan Luder (Valence Group Inc.)" userId="9f14a4d2-8b5c-4fb0-9a7b-d779ed5a424b" providerId="ADAL" clId="{CB793C73-2F9F-F146-A87A-3A49835A72DD}" dt="2021-05-26T18:29:11.192" v="602" actId="1035"/>
          <ac:grpSpMkLst>
            <pc:docMk/>
            <pc:sldMk cId="26946072" sldId="2076138451"/>
            <ac:grpSpMk id="105" creationId="{E8F57712-04A1-4F9C-A173-F12CAA1E2F1C}"/>
          </ac:grpSpMkLst>
        </pc:grpChg>
        <pc:grpChg chg="mod">
          <ac:chgData name="Alan Luder (Valence Group Inc.)" userId="9f14a4d2-8b5c-4fb0-9a7b-d779ed5a424b" providerId="ADAL" clId="{CB793C73-2F9F-F146-A87A-3A49835A72DD}" dt="2021-05-26T18:26:59.951" v="551" actId="1076"/>
          <ac:grpSpMkLst>
            <pc:docMk/>
            <pc:sldMk cId="26946072" sldId="2076138451"/>
            <ac:grpSpMk id="124" creationId="{F866F0F9-ECAE-400F-8878-A9982A0FF23B}"/>
          </ac:grpSpMkLst>
        </pc:grpChg>
        <pc:grpChg chg="mod">
          <ac:chgData name="Alan Luder (Valence Group Inc.)" userId="9f14a4d2-8b5c-4fb0-9a7b-d779ed5a424b" providerId="ADAL" clId="{CB793C73-2F9F-F146-A87A-3A49835A72DD}" dt="2021-05-26T18:26:51.400" v="547" actId="1076"/>
          <ac:grpSpMkLst>
            <pc:docMk/>
            <pc:sldMk cId="26946072" sldId="2076138451"/>
            <ac:grpSpMk id="129" creationId="{7D433585-A3E7-4594-9332-259B85E8B2E6}"/>
          </ac:grpSpMkLst>
        </pc:grpChg>
        <pc:grpChg chg="mod">
          <ac:chgData name="Alan Luder (Valence Group Inc.)" userId="9f14a4d2-8b5c-4fb0-9a7b-d779ed5a424b" providerId="ADAL" clId="{CB793C73-2F9F-F146-A87A-3A49835A72DD}" dt="2021-05-26T18:27:26.668" v="555" actId="1076"/>
          <ac:grpSpMkLst>
            <pc:docMk/>
            <pc:sldMk cId="26946072" sldId="2076138451"/>
            <ac:grpSpMk id="132" creationId="{0EF37759-1EA1-4967-87C2-A3D61CEA800D}"/>
          </ac:grpSpMkLst>
        </pc:grpChg>
        <pc:grpChg chg="mod">
          <ac:chgData name="Alan Luder (Valence Group Inc.)" userId="9f14a4d2-8b5c-4fb0-9a7b-d779ed5a424b" providerId="ADAL" clId="{CB793C73-2F9F-F146-A87A-3A49835A72DD}" dt="2021-05-26T18:26:51.400" v="547" actId="1076"/>
          <ac:grpSpMkLst>
            <pc:docMk/>
            <pc:sldMk cId="26946072" sldId="2076138451"/>
            <ac:grpSpMk id="162" creationId="{A7B56B38-7795-4B6E-8E20-17CAA0B99446}"/>
          </ac:grpSpMkLst>
        </pc:grpChg>
        <pc:grpChg chg="mod">
          <ac:chgData name="Alan Luder (Valence Group Inc.)" userId="9f14a4d2-8b5c-4fb0-9a7b-d779ed5a424b" providerId="ADAL" clId="{CB793C73-2F9F-F146-A87A-3A49835A72DD}" dt="2021-05-26T18:26:51.400" v="547" actId="1076"/>
          <ac:grpSpMkLst>
            <pc:docMk/>
            <pc:sldMk cId="26946072" sldId="2076138451"/>
            <ac:grpSpMk id="163" creationId="{A15DADE5-B6EB-4E0C-929C-A5E8E70D45A4}"/>
          </ac:grpSpMkLst>
        </pc:grpChg>
        <pc:grpChg chg="mod">
          <ac:chgData name="Alan Luder (Valence Group Inc.)" userId="9f14a4d2-8b5c-4fb0-9a7b-d779ed5a424b" providerId="ADAL" clId="{CB793C73-2F9F-F146-A87A-3A49835A72DD}" dt="2021-05-26T18:27:31.821" v="556" actId="1076"/>
          <ac:grpSpMkLst>
            <pc:docMk/>
            <pc:sldMk cId="26946072" sldId="2076138451"/>
            <ac:grpSpMk id="178" creationId="{E3E0C26B-18D7-4DE6-A9A2-FB19DCA7AF8E}"/>
          </ac:grpSpMkLst>
        </pc:grpChg>
        <pc:grpChg chg="mod">
          <ac:chgData name="Alan Luder (Valence Group Inc.)" userId="9f14a4d2-8b5c-4fb0-9a7b-d779ed5a424b" providerId="ADAL" clId="{CB793C73-2F9F-F146-A87A-3A49835A72DD}" dt="2021-05-26T18:28:01.761" v="562" actId="1076"/>
          <ac:grpSpMkLst>
            <pc:docMk/>
            <pc:sldMk cId="26946072" sldId="2076138451"/>
            <ac:grpSpMk id="207" creationId="{CE9F94D4-7685-41BC-BBD9-2409236664DF}"/>
          </ac:grpSpMkLst>
        </pc:grpChg>
        <pc:grpChg chg="mod">
          <ac:chgData name="Alan Luder (Valence Group Inc.)" userId="9f14a4d2-8b5c-4fb0-9a7b-d779ed5a424b" providerId="ADAL" clId="{CB793C73-2F9F-F146-A87A-3A49835A72DD}" dt="2021-05-26T18:29:27.098" v="607" actId="1076"/>
          <ac:grpSpMkLst>
            <pc:docMk/>
            <pc:sldMk cId="26946072" sldId="2076138451"/>
            <ac:grpSpMk id="219" creationId="{C49A972C-E9C3-4713-961C-31A29A530084}"/>
          </ac:grpSpMkLst>
        </pc:grpChg>
        <pc:grpChg chg="mod">
          <ac:chgData name="Alan Luder (Valence Group Inc.)" userId="9f14a4d2-8b5c-4fb0-9a7b-d779ed5a424b" providerId="ADAL" clId="{CB793C73-2F9F-F146-A87A-3A49835A72DD}" dt="2021-05-26T18:29:11.192" v="602" actId="1035"/>
          <ac:grpSpMkLst>
            <pc:docMk/>
            <pc:sldMk cId="26946072" sldId="2076138451"/>
            <ac:grpSpMk id="229" creationId="{77F4D219-8781-4ADF-9930-838CDE613201}"/>
          </ac:grpSpMkLst>
        </pc:grpChg>
        <pc:grpChg chg="del">
          <ac:chgData name="Alan Luder (Valence Group Inc.)" userId="9f14a4d2-8b5c-4fb0-9a7b-d779ed5a424b" providerId="ADAL" clId="{CB793C73-2F9F-F146-A87A-3A49835A72DD}" dt="2021-05-26T18:26:29.412" v="543" actId="478"/>
          <ac:grpSpMkLst>
            <pc:docMk/>
            <pc:sldMk cId="26946072" sldId="2076138451"/>
            <ac:grpSpMk id="285" creationId="{E9ECCDC2-98AB-4D9B-A58F-F41501EEBBCB}"/>
          </ac:grpSpMkLst>
        </pc:grpChg>
        <pc:grpChg chg="del">
          <ac:chgData name="Alan Luder (Valence Group Inc.)" userId="9f14a4d2-8b5c-4fb0-9a7b-d779ed5a424b" providerId="ADAL" clId="{CB793C73-2F9F-F146-A87A-3A49835A72DD}" dt="2021-05-26T18:26:24.490" v="539" actId="478"/>
          <ac:grpSpMkLst>
            <pc:docMk/>
            <pc:sldMk cId="26946072" sldId="2076138451"/>
            <ac:grpSpMk id="298" creationId="{CED6DA3D-49DB-4D29-9CE9-F118C5C1BD51}"/>
          </ac:grpSpMkLst>
        </pc:grpChg>
        <pc:grpChg chg="del">
          <ac:chgData name="Alan Luder (Valence Group Inc.)" userId="9f14a4d2-8b5c-4fb0-9a7b-d779ed5a424b" providerId="ADAL" clId="{CB793C73-2F9F-F146-A87A-3A49835A72DD}" dt="2021-05-26T18:26:24.490" v="539" actId="478"/>
          <ac:grpSpMkLst>
            <pc:docMk/>
            <pc:sldMk cId="26946072" sldId="2076138451"/>
            <ac:grpSpMk id="313" creationId="{D35CD633-404C-4E48-B090-7B01CB039E5D}"/>
          </ac:grpSpMkLst>
        </pc:grpChg>
        <pc:grpChg chg="del">
          <ac:chgData name="Alan Luder (Valence Group Inc.)" userId="9f14a4d2-8b5c-4fb0-9a7b-d779ed5a424b" providerId="ADAL" clId="{CB793C73-2F9F-F146-A87A-3A49835A72DD}" dt="2021-05-26T18:26:28.819" v="542" actId="478"/>
          <ac:grpSpMkLst>
            <pc:docMk/>
            <pc:sldMk cId="26946072" sldId="2076138451"/>
            <ac:grpSpMk id="322" creationId="{0D78709E-5252-4ADF-90E0-3D204D8E0B50}"/>
          </ac:grpSpMkLst>
        </pc:grpChg>
        <pc:grpChg chg="del">
          <ac:chgData name="Alan Luder (Valence Group Inc.)" userId="9f14a4d2-8b5c-4fb0-9a7b-d779ed5a424b" providerId="ADAL" clId="{CB793C73-2F9F-F146-A87A-3A49835A72DD}" dt="2021-05-26T18:26:28.372" v="541" actId="478"/>
          <ac:grpSpMkLst>
            <pc:docMk/>
            <pc:sldMk cId="26946072" sldId="2076138451"/>
            <ac:grpSpMk id="335" creationId="{913DB8F5-191A-48C9-ADF2-E49F406D6C45}"/>
          </ac:grpSpMkLst>
        </pc:grpChg>
        <pc:grpChg chg="del">
          <ac:chgData name="Alan Luder (Valence Group Inc.)" userId="9f14a4d2-8b5c-4fb0-9a7b-d779ed5a424b" providerId="ADAL" clId="{CB793C73-2F9F-F146-A87A-3A49835A72DD}" dt="2021-05-26T18:26:26.556" v="540" actId="478"/>
          <ac:grpSpMkLst>
            <pc:docMk/>
            <pc:sldMk cId="26946072" sldId="2076138451"/>
            <ac:grpSpMk id="350" creationId="{E3336213-F478-4F69-A1A5-BF24E0C3A878}"/>
          </ac:grpSpMkLst>
        </pc:grpChg>
        <pc:grpChg chg="del">
          <ac:chgData name="Alan Luder (Valence Group Inc.)" userId="9f14a4d2-8b5c-4fb0-9a7b-d779ed5a424b" providerId="ADAL" clId="{CB793C73-2F9F-F146-A87A-3A49835A72DD}" dt="2021-05-26T18:26:24.490" v="539" actId="478"/>
          <ac:grpSpMkLst>
            <pc:docMk/>
            <pc:sldMk cId="26946072" sldId="2076138451"/>
            <ac:grpSpMk id="359" creationId="{C0036036-E2AE-480B-9BAD-C6CD0B5182CC}"/>
          </ac:grpSpMkLst>
        </pc:grpChg>
        <pc:cxnChg chg="mod">
          <ac:chgData name="Alan Luder (Valence Group Inc.)" userId="9f14a4d2-8b5c-4fb0-9a7b-d779ed5a424b" providerId="ADAL" clId="{CB793C73-2F9F-F146-A87A-3A49835A72DD}" dt="2021-05-26T18:28:01.761" v="562" actId="1076"/>
          <ac:cxnSpMkLst>
            <pc:docMk/>
            <pc:sldMk cId="26946072" sldId="2076138451"/>
            <ac:cxnSpMk id="139" creationId="{0466582E-470B-4398-A8D7-8EF9EEB8E8E7}"/>
          </ac:cxnSpMkLst>
        </pc:cxnChg>
        <pc:cxnChg chg="mod">
          <ac:chgData name="Alan Luder (Valence Group Inc.)" userId="9f14a4d2-8b5c-4fb0-9a7b-d779ed5a424b" providerId="ADAL" clId="{CB793C73-2F9F-F146-A87A-3A49835A72DD}" dt="2021-05-26T18:27:51.216" v="561" actId="14100"/>
          <ac:cxnSpMkLst>
            <pc:docMk/>
            <pc:sldMk cId="26946072" sldId="2076138451"/>
            <ac:cxnSpMk id="140" creationId="{D58A4876-E3F6-42E9-AB98-A9405923C0FF}"/>
          </ac:cxnSpMkLst>
        </pc:cxnChg>
        <pc:cxnChg chg="mod">
          <ac:chgData name="Alan Luder (Valence Group Inc.)" userId="9f14a4d2-8b5c-4fb0-9a7b-d779ed5a424b" providerId="ADAL" clId="{CB793C73-2F9F-F146-A87A-3A49835A72DD}" dt="2021-05-26T18:27:45.748" v="559" actId="1076"/>
          <ac:cxnSpMkLst>
            <pc:docMk/>
            <pc:sldMk cId="26946072" sldId="2076138451"/>
            <ac:cxnSpMk id="142" creationId="{D03F8754-052B-47CF-BEF8-26D5CB147171}"/>
          </ac:cxnSpMkLst>
        </pc:cxnChg>
      </pc:sldChg>
      <pc:sldChg chg="addSp delSp modSp mod modClrScheme chgLayout">
        <pc:chgData name="Alan Luder (Valence Group Inc.)" userId="9f14a4d2-8b5c-4fb0-9a7b-d779ed5a424b" providerId="ADAL" clId="{CB793C73-2F9F-F146-A87A-3A49835A72DD}" dt="2021-05-26T17:52:08.003" v="431" actId="207"/>
        <pc:sldMkLst>
          <pc:docMk/>
          <pc:sldMk cId="3868082525" sldId="2076138453"/>
        </pc:sldMkLst>
        <pc:spChg chg="add del mod ord">
          <ac:chgData name="Alan Luder (Valence Group Inc.)" userId="9f14a4d2-8b5c-4fb0-9a7b-d779ed5a424b" providerId="ADAL" clId="{CB793C73-2F9F-F146-A87A-3A49835A72DD}" dt="2021-05-26T17:05:19.531" v="177" actId="478"/>
          <ac:spMkLst>
            <pc:docMk/>
            <pc:sldMk cId="3868082525" sldId="2076138453"/>
            <ac:spMk id="2" creationId="{591C58C4-7E3F-FB44-AAC3-BE3E17F087FF}"/>
          </ac:spMkLst>
        </pc:spChg>
        <pc:spChg chg="add del mod ord">
          <ac:chgData name="Alan Luder (Valence Group Inc.)" userId="9f14a4d2-8b5c-4fb0-9a7b-d779ed5a424b" providerId="ADAL" clId="{CB793C73-2F9F-F146-A87A-3A49835A72DD}" dt="2021-05-26T17:05:56.054" v="189" actId="478"/>
          <ac:spMkLst>
            <pc:docMk/>
            <pc:sldMk cId="3868082525" sldId="2076138453"/>
            <ac:spMk id="3" creationId="{EE85B3BF-24C3-BA4E-81FA-948432D82C62}"/>
          </ac:spMkLst>
        </pc:spChg>
        <pc:spChg chg="add del mod">
          <ac:chgData name="Alan Luder (Valence Group Inc.)" userId="9f14a4d2-8b5c-4fb0-9a7b-d779ed5a424b" providerId="ADAL" clId="{CB793C73-2F9F-F146-A87A-3A49835A72DD}" dt="2021-05-26T17:32:18.089" v="392" actId="478"/>
          <ac:spMkLst>
            <pc:docMk/>
            <pc:sldMk cId="3868082525" sldId="2076138453"/>
            <ac:spMk id="4" creationId="{6FDD19E8-3F24-4DCA-8C91-879837F9A50F}"/>
          </ac:spMkLst>
        </pc:spChg>
        <pc:spChg chg="mod">
          <ac:chgData name="Alan Luder (Valence Group Inc.)" userId="9f14a4d2-8b5c-4fb0-9a7b-d779ed5a424b" providerId="ADAL" clId="{CB793C73-2F9F-F146-A87A-3A49835A72DD}" dt="2021-05-26T17:52:08.003" v="431" actId="207"/>
          <ac:spMkLst>
            <pc:docMk/>
            <pc:sldMk cId="3868082525" sldId="2076138453"/>
            <ac:spMk id="5" creationId="{3926383F-09A9-4B54-81D7-87A5A097ED9C}"/>
          </ac:spMkLst>
        </pc:spChg>
        <pc:spChg chg="mod">
          <ac:chgData name="Alan Luder (Valence Group Inc.)" userId="9f14a4d2-8b5c-4fb0-9a7b-d779ed5a424b" providerId="ADAL" clId="{CB793C73-2F9F-F146-A87A-3A49835A72DD}" dt="2021-05-26T17:09:38.082" v="208" actId="14100"/>
          <ac:spMkLst>
            <pc:docMk/>
            <pc:sldMk cId="3868082525" sldId="2076138453"/>
            <ac:spMk id="10" creationId="{F40F85C0-877F-4047-A1DB-32633D426B10}"/>
          </ac:spMkLst>
        </pc:spChg>
        <pc:spChg chg="mod">
          <ac:chgData name="Alan Luder (Valence Group Inc.)" userId="9f14a4d2-8b5c-4fb0-9a7b-d779ed5a424b" providerId="ADAL" clId="{CB793C73-2F9F-F146-A87A-3A49835A72DD}" dt="2021-05-26T17:07:07.475" v="199" actId="1076"/>
          <ac:spMkLst>
            <pc:docMk/>
            <pc:sldMk cId="3868082525" sldId="2076138453"/>
            <ac:spMk id="11" creationId="{D0EED95E-01C0-4E86-BBD2-54C035F15268}"/>
          </ac:spMkLst>
        </pc:spChg>
        <pc:spChg chg="mod">
          <ac:chgData name="Alan Luder (Valence Group Inc.)" userId="9f14a4d2-8b5c-4fb0-9a7b-d779ed5a424b" providerId="ADAL" clId="{CB793C73-2F9F-F146-A87A-3A49835A72DD}" dt="2021-05-26T17:07:07.475" v="199" actId="1076"/>
          <ac:spMkLst>
            <pc:docMk/>
            <pc:sldMk cId="3868082525" sldId="2076138453"/>
            <ac:spMk id="12" creationId="{05B1505A-F002-4360-9210-04AA2F83ECBD}"/>
          </ac:spMkLst>
        </pc:spChg>
        <pc:spChg chg="mod">
          <ac:chgData name="Alan Luder (Valence Group Inc.)" userId="9f14a4d2-8b5c-4fb0-9a7b-d779ed5a424b" providerId="ADAL" clId="{CB793C73-2F9F-F146-A87A-3A49835A72DD}" dt="2021-05-26T17:07:07.475" v="199" actId="1076"/>
          <ac:spMkLst>
            <pc:docMk/>
            <pc:sldMk cId="3868082525" sldId="2076138453"/>
            <ac:spMk id="13" creationId="{9F8BD626-68C1-4D59-BD6C-6352F3B46EF9}"/>
          </ac:spMkLst>
        </pc:spChg>
        <pc:spChg chg="mod">
          <ac:chgData name="Alan Luder (Valence Group Inc.)" userId="9f14a4d2-8b5c-4fb0-9a7b-d779ed5a424b" providerId="ADAL" clId="{CB793C73-2F9F-F146-A87A-3A49835A72DD}" dt="2021-05-26T17:07:07.475" v="199" actId="1076"/>
          <ac:spMkLst>
            <pc:docMk/>
            <pc:sldMk cId="3868082525" sldId="2076138453"/>
            <ac:spMk id="14" creationId="{88541928-90D5-4634-92C7-83D35F180B09}"/>
          </ac:spMkLst>
        </pc:spChg>
        <pc:spChg chg="mod">
          <ac:chgData name="Alan Luder (Valence Group Inc.)" userId="9f14a4d2-8b5c-4fb0-9a7b-d779ed5a424b" providerId="ADAL" clId="{CB793C73-2F9F-F146-A87A-3A49835A72DD}" dt="2021-05-26T17:09:38.082" v="208" actId="14100"/>
          <ac:spMkLst>
            <pc:docMk/>
            <pc:sldMk cId="3868082525" sldId="2076138453"/>
            <ac:spMk id="15" creationId="{8987D627-FB52-431E-9745-BF97B78C3024}"/>
          </ac:spMkLst>
        </pc:spChg>
        <pc:spChg chg="mod">
          <ac:chgData name="Alan Luder (Valence Group Inc.)" userId="9f14a4d2-8b5c-4fb0-9a7b-d779ed5a424b" providerId="ADAL" clId="{CB793C73-2F9F-F146-A87A-3A49835A72DD}" dt="2021-05-26T17:09:38.082" v="208" actId="14100"/>
          <ac:spMkLst>
            <pc:docMk/>
            <pc:sldMk cId="3868082525" sldId="2076138453"/>
            <ac:spMk id="16" creationId="{BEBC20D9-18EF-4E51-B833-93DE5D97066B}"/>
          </ac:spMkLst>
        </pc:spChg>
        <pc:spChg chg="mod">
          <ac:chgData name="Alan Luder (Valence Group Inc.)" userId="9f14a4d2-8b5c-4fb0-9a7b-d779ed5a424b" providerId="ADAL" clId="{CB793C73-2F9F-F146-A87A-3A49835A72DD}" dt="2021-05-26T17:09:38.082" v="208" actId="14100"/>
          <ac:spMkLst>
            <pc:docMk/>
            <pc:sldMk cId="3868082525" sldId="2076138453"/>
            <ac:spMk id="17" creationId="{D064832E-2A61-4D7D-92CC-F9BC9D564352}"/>
          </ac:spMkLst>
        </pc:spChg>
        <pc:spChg chg="mod">
          <ac:chgData name="Alan Luder (Valence Group Inc.)" userId="9f14a4d2-8b5c-4fb0-9a7b-d779ed5a424b" providerId="ADAL" clId="{CB793C73-2F9F-F146-A87A-3A49835A72DD}" dt="2021-05-26T17:06:25.859" v="195" actId="1076"/>
          <ac:spMkLst>
            <pc:docMk/>
            <pc:sldMk cId="3868082525" sldId="2076138453"/>
            <ac:spMk id="24" creationId="{1070717B-E1FE-4CB5-954B-D2F38A245E15}"/>
          </ac:spMkLst>
        </pc:spChg>
        <pc:spChg chg="mod">
          <ac:chgData name="Alan Luder (Valence Group Inc.)" userId="9f14a4d2-8b5c-4fb0-9a7b-d779ed5a424b" providerId="ADAL" clId="{CB793C73-2F9F-F146-A87A-3A49835A72DD}" dt="2021-05-26T17:06:25.859" v="195" actId="1076"/>
          <ac:spMkLst>
            <pc:docMk/>
            <pc:sldMk cId="3868082525" sldId="2076138453"/>
            <ac:spMk id="25" creationId="{7EEC1B01-B1C1-4576-AD7D-24BD05FBC87E}"/>
          </ac:spMkLst>
        </pc:spChg>
        <pc:spChg chg="mod">
          <ac:chgData name="Alan Luder (Valence Group Inc.)" userId="9f14a4d2-8b5c-4fb0-9a7b-d779ed5a424b" providerId="ADAL" clId="{CB793C73-2F9F-F146-A87A-3A49835A72DD}" dt="2021-05-26T17:06:25.859" v="195" actId="1076"/>
          <ac:spMkLst>
            <pc:docMk/>
            <pc:sldMk cId="3868082525" sldId="2076138453"/>
            <ac:spMk id="26" creationId="{4B316A54-141E-4A50-9C75-207C22465C30}"/>
          </ac:spMkLst>
        </pc:spChg>
        <pc:spChg chg="mod">
          <ac:chgData name="Alan Luder (Valence Group Inc.)" userId="9f14a4d2-8b5c-4fb0-9a7b-d779ed5a424b" providerId="ADAL" clId="{CB793C73-2F9F-F146-A87A-3A49835A72DD}" dt="2021-05-26T17:06:25.859" v="195" actId="1076"/>
          <ac:spMkLst>
            <pc:docMk/>
            <pc:sldMk cId="3868082525" sldId="2076138453"/>
            <ac:spMk id="27" creationId="{5585EA5F-176D-42DD-9F07-CE0C383CC0C1}"/>
          </ac:spMkLst>
        </pc:spChg>
        <pc:spChg chg="add del mod ord">
          <ac:chgData name="Alan Luder (Valence Group Inc.)" userId="9f14a4d2-8b5c-4fb0-9a7b-d779ed5a424b" providerId="ADAL" clId="{CB793C73-2F9F-F146-A87A-3A49835A72DD}" dt="2021-05-26T17:07:29.544" v="203" actId="478"/>
          <ac:spMkLst>
            <pc:docMk/>
            <pc:sldMk cId="3868082525" sldId="2076138453"/>
            <ac:spMk id="31" creationId="{00EE5A3F-8FB6-B943-BD03-6906003CD542}"/>
          </ac:spMkLst>
        </pc:spChg>
        <pc:grpChg chg="mod">
          <ac:chgData name="Alan Luder (Valence Group Inc.)" userId="9f14a4d2-8b5c-4fb0-9a7b-d779ed5a424b" providerId="ADAL" clId="{CB793C73-2F9F-F146-A87A-3A49835A72DD}" dt="2021-05-26T17:32:25.799" v="393" actId="14100"/>
          <ac:grpSpMkLst>
            <pc:docMk/>
            <pc:sldMk cId="3868082525" sldId="2076138453"/>
            <ac:grpSpMk id="6" creationId="{74AA290B-6283-4615-B831-C59902D12A49}"/>
          </ac:grpSpMkLst>
        </pc:grpChg>
        <pc:grpChg chg="mod">
          <ac:chgData name="Alan Luder (Valence Group Inc.)" userId="9f14a4d2-8b5c-4fb0-9a7b-d779ed5a424b" providerId="ADAL" clId="{CB793C73-2F9F-F146-A87A-3A49835A72DD}" dt="2021-05-26T17:07:12.987" v="200" actId="1076"/>
          <ac:grpSpMkLst>
            <pc:docMk/>
            <pc:sldMk cId="3868082525" sldId="2076138453"/>
            <ac:grpSpMk id="20" creationId="{B4AE58C4-8C29-4E81-90CC-5B6715587C13}"/>
          </ac:grpSpMkLst>
        </pc:grpChg>
        <pc:picChg chg="mod">
          <ac:chgData name="Alan Luder (Valence Group Inc.)" userId="9f14a4d2-8b5c-4fb0-9a7b-d779ed5a424b" providerId="ADAL" clId="{CB793C73-2F9F-F146-A87A-3A49835A72DD}" dt="2021-05-26T17:07:12.987" v="200" actId="1076"/>
          <ac:picMkLst>
            <pc:docMk/>
            <pc:sldMk cId="3868082525" sldId="2076138453"/>
            <ac:picMk id="18" creationId="{262A1486-1C2B-44E4-B10D-FA93837D0673}"/>
          </ac:picMkLst>
        </pc:picChg>
        <pc:picChg chg="mod">
          <ac:chgData name="Alan Luder (Valence Group Inc.)" userId="9f14a4d2-8b5c-4fb0-9a7b-d779ed5a424b" providerId="ADAL" clId="{CB793C73-2F9F-F146-A87A-3A49835A72DD}" dt="2021-05-26T17:07:12.987" v="200" actId="1076"/>
          <ac:picMkLst>
            <pc:docMk/>
            <pc:sldMk cId="3868082525" sldId="2076138453"/>
            <ac:picMk id="19" creationId="{66728950-FBBB-4FEA-88B7-3F7DC678BE68}"/>
          </ac:picMkLst>
        </pc:picChg>
        <pc:picChg chg="mod">
          <ac:chgData name="Alan Luder (Valence Group Inc.)" userId="9f14a4d2-8b5c-4fb0-9a7b-d779ed5a424b" providerId="ADAL" clId="{CB793C73-2F9F-F146-A87A-3A49835A72DD}" dt="2021-05-26T17:07:12.987" v="200" actId="1076"/>
          <ac:picMkLst>
            <pc:docMk/>
            <pc:sldMk cId="3868082525" sldId="2076138453"/>
            <ac:picMk id="23" creationId="{A4BF23F0-6474-4604-A10D-09CDACF960C3}"/>
          </ac:picMkLst>
        </pc:picChg>
        <pc:cxnChg chg="mod">
          <ac:chgData name="Alan Luder (Valence Group Inc.)" userId="9f14a4d2-8b5c-4fb0-9a7b-d779ed5a424b" providerId="ADAL" clId="{CB793C73-2F9F-F146-A87A-3A49835A72DD}" dt="2021-05-26T17:06:41.082" v="198" actId="14100"/>
          <ac:cxnSpMkLst>
            <pc:docMk/>
            <pc:sldMk cId="3868082525" sldId="2076138453"/>
            <ac:cxnSpMk id="28" creationId="{B6201EFE-6E49-47D4-892F-8B18C0E9715A}"/>
          </ac:cxnSpMkLst>
        </pc:cxnChg>
        <pc:cxnChg chg="mod">
          <ac:chgData name="Alan Luder (Valence Group Inc.)" userId="9f14a4d2-8b5c-4fb0-9a7b-d779ed5a424b" providerId="ADAL" clId="{CB793C73-2F9F-F146-A87A-3A49835A72DD}" dt="2021-05-26T17:06:41.082" v="198" actId="14100"/>
          <ac:cxnSpMkLst>
            <pc:docMk/>
            <pc:sldMk cId="3868082525" sldId="2076138453"/>
            <ac:cxnSpMk id="29" creationId="{996DFD0F-1B3E-432C-B3C6-0D1BBCDF3A0F}"/>
          </ac:cxnSpMkLst>
        </pc:cxnChg>
        <pc:cxnChg chg="mod">
          <ac:chgData name="Alan Luder (Valence Group Inc.)" userId="9f14a4d2-8b5c-4fb0-9a7b-d779ed5a424b" providerId="ADAL" clId="{CB793C73-2F9F-F146-A87A-3A49835A72DD}" dt="2021-05-26T17:06:41.082" v="198" actId="14100"/>
          <ac:cxnSpMkLst>
            <pc:docMk/>
            <pc:sldMk cId="3868082525" sldId="2076138453"/>
            <ac:cxnSpMk id="30" creationId="{B7D9E849-5268-4908-9A6C-34DAA9162755}"/>
          </ac:cxnSpMkLst>
        </pc:cxnChg>
      </pc:sldChg>
      <pc:sldChg chg="addSp delSp modSp mod chgLayout">
        <pc:chgData name="Alan Luder (Valence Group Inc.)" userId="9f14a4d2-8b5c-4fb0-9a7b-d779ed5a424b" providerId="ADAL" clId="{CB793C73-2F9F-F146-A87A-3A49835A72DD}" dt="2021-05-26T17:19:58.888" v="280" actId="1076"/>
        <pc:sldMkLst>
          <pc:docMk/>
          <pc:sldMk cId="3972117934" sldId="2076138454"/>
        </pc:sldMkLst>
        <pc:spChg chg="del">
          <ac:chgData name="Alan Luder (Valence Group Inc.)" userId="9f14a4d2-8b5c-4fb0-9a7b-d779ed5a424b" providerId="ADAL" clId="{CB793C73-2F9F-F146-A87A-3A49835A72DD}" dt="2021-05-26T17:19:31.429" v="273" actId="478"/>
          <ac:spMkLst>
            <pc:docMk/>
            <pc:sldMk cId="3972117934" sldId="2076138454"/>
            <ac:spMk id="2" creationId="{8F900199-A6E8-48D1-BB16-5AB6061E7AA5}"/>
          </ac:spMkLst>
        </pc:spChg>
        <pc:spChg chg="add del mod">
          <ac:chgData name="Alan Luder (Valence Group Inc.)" userId="9f14a4d2-8b5c-4fb0-9a7b-d779ed5a424b" providerId="ADAL" clId="{CB793C73-2F9F-F146-A87A-3A49835A72DD}" dt="2021-05-26T17:19:33.450" v="274" actId="478"/>
          <ac:spMkLst>
            <pc:docMk/>
            <pc:sldMk cId="3972117934" sldId="2076138454"/>
            <ac:spMk id="5" creationId="{371BE92E-C3E4-1241-945B-73331AA2C18B}"/>
          </ac:spMkLst>
        </pc:spChg>
        <pc:spChg chg="add del mod ord">
          <ac:chgData name="Alan Luder (Valence Group Inc.)" userId="9f14a4d2-8b5c-4fb0-9a7b-d779ed5a424b" providerId="ADAL" clId="{CB793C73-2F9F-F146-A87A-3A49835A72DD}" dt="2021-05-26T17:19:47.490" v="276" actId="478"/>
          <ac:spMkLst>
            <pc:docMk/>
            <pc:sldMk cId="3972117934" sldId="2076138454"/>
            <ac:spMk id="6" creationId="{AA870879-3281-094C-ABA9-4A5723E99DE4}"/>
          </ac:spMkLst>
        </pc:spChg>
        <pc:picChg chg="mod">
          <ac:chgData name="Alan Luder (Valence Group Inc.)" userId="9f14a4d2-8b5c-4fb0-9a7b-d779ed5a424b" providerId="ADAL" clId="{CB793C73-2F9F-F146-A87A-3A49835A72DD}" dt="2021-05-26T17:19:58.888" v="280" actId="1076"/>
          <ac:picMkLst>
            <pc:docMk/>
            <pc:sldMk cId="3972117934" sldId="2076138454"/>
            <ac:picMk id="4" creationId="{2194084E-3A58-48D2-B438-510E7D6BFE38}"/>
          </ac:picMkLst>
        </pc:picChg>
      </pc:sldChg>
      <pc:sldChg chg="addSp delSp modSp mod chgLayout">
        <pc:chgData name="Alan Luder (Valence Group Inc.)" userId="9f14a4d2-8b5c-4fb0-9a7b-d779ed5a424b" providerId="ADAL" clId="{CB793C73-2F9F-F146-A87A-3A49835A72DD}" dt="2021-05-26T18:03:22.979" v="462" actId="1076"/>
        <pc:sldMkLst>
          <pc:docMk/>
          <pc:sldMk cId="2302806519" sldId="2076138455"/>
        </pc:sldMkLst>
        <pc:spChg chg="del">
          <ac:chgData name="Alan Luder (Valence Group Inc.)" userId="9f14a4d2-8b5c-4fb0-9a7b-d779ed5a424b" providerId="ADAL" clId="{CB793C73-2F9F-F146-A87A-3A49835A72DD}" dt="2021-05-26T18:00:58.001" v="456" actId="478"/>
          <ac:spMkLst>
            <pc:docMk/>
            <pc:sldMk cId="2302806519" sldId="2076138455"/>
            <ac:spMk id="2" creationId="{2E52365F-EE52-465C-AC82-8D5007FBB071}"/>
          </ac:spMkLst>
        </pc:spChg>
        <pc:spChg chg="add del mod">
          <ac:chgData name="Alan Luder (Valence Group Inc.)" userId="9f14a4d2-8b5c-4fb0-9a7b-d779ed5a424b" providerId="ADAL" clId="{CB793C73-2F9F-F146-A87A-3A49835A72DD}" dt="2021-05-26T18:01:00.900" v="457" actId="478"/>
          <ac:spMkLst>
            <pc:docMk/>
            <pc:sldMk cId="2302806519" sldId="2076138455"/>
            <ac:spMk id="5" creationId="{F6605D42-940D-0F49-AC65-6EF7B16E1439}"/>
          </ac:spMkLst>
        </pc:spChg>
        <pc:spChg chg="add del mod ord">
          <ac:chgData name="Alan Luder (Valence Group Inc.)" userId="9f14a4d2-8b5c-4fb0-9a7b-d779ed5a424b" providerId="ADAL" clId="{CB793C73-2F9F-F146-A87A-3A49835A72DD}" dt="2021-05-26T18:03:11.942" v="459" actId="478"/>
          <ac:spMkLst>
            <pc:docMk/>
            <pc:sldMk cId="2302806519" sldId="2076138455"/>
            <ac:spMk id="6" creationId="{B3A3AB7D-3E3B-804D-812F-D791B3ECB5ED}"/>
          </ac:spMkLst>
        </pc:spChg>
        <pc:picChg chg="mod">
          <ac:chgData name="Alan Luder (Valence Group Inc.)" userId="9f14a4d2-8b5c-4fb0-9a7b-d779ed5a424b" providerId="ADAL" clId="{CB793C73-2F9F-F146-A87A-3A49835A72DD}" dt="2021-05-26T18:03:22.979" v="462" actId="1076"/>
          <ac:picMkLst>
            <pc:docMk/>
            <pc:sldMk cId="2302806519" sldId="2076138455"/>
            <ac:picMk id="4" creationId="{F4EAB50C-AB7D-4E52-9491-5F0F7730CE77}"/>
          </ac:picMkLst>
        </pc:picChg>
      </pc:sldChg>
      <pc:sldChg chg="addSp delSp modSp mod chgLayout">
        <pc:chgData name="Alan Luder (Valence Group Inc.)" userId="9f14a4d2-8b5c-4fb0-9a7b-d779ed5a424b" providerId="ADAL" clId="{CB793C73-2F9F-F146-A87A-3A49835A72DD}" dt="2021-05-26T18:24:15.229" v="534" actId="1076"/>
        <pc:sldMkLst>
          <pc:docMk/>
          <pc:sldMk cId="3928548622" sldId="2076138456"/>
        </pc:sldMkLst>
        <pc:spChg chg="del">
          <ac:chgData name="Alan Luder (Valence Group Inc.)" userId="9f14a4d2-8b5c-4fb0-9a7b-d779ed5a424b" providerId="ADAL" clId="{CB793C73-2F9F-F146-A87A-3A49835A72DD}" dt="2021-05-26T18:23:54.945" v="528" actId="478"/>
          <ac:spMkLst>
            <pc:docMk/>
            <pc:sldMk cId="3928548622" sldId="2076138456"/>
            <ac:spMk id="2" creationId="{BBC5A4E7-11F0-42C3-9B5C-0ACC1BFAB6A1}"/>
          </ac:spMkLst>
        </pc:spChg>
        <pc:spChg chg="add del mod">
          <ac:chgData name="Alan Luder (Valence Group Inc.)" userId="9f14a4d2-8b5c-4fb0-9a7b-d779ed5a424b" providerId="ADAL" clId="{CB793C73-2F9F-F146-A87A-3A49835A72DD}" dt="2021-05-26T18:23:57.417" v="529" actId="478"/>
          <ac:spMkLst>
            <pc:docMk/>
            <pc:sldMk cId="3928548622" sldId="2076138456"/>
            <ac:spMk id="5" creationId="{D75FFFEF-E374-0C43-A084-63856C000855}"/>
          </ac:spMkLst>
        </pc:spChg>
        <pc:spChg chg="add del mod ord">
          <ac:chgData name="Alan Luder (Valence Group Inc.)" userId="9f14a4d2-8b5c-4fb0-9a7b-d779ed5a424b" providerId="ADAL" clId="{CB793C73-2F9F-F146-A87A-3A49835A72DD}" dt="2021-05-26T18:24:06.681" v="531" actId="478"/>
          <ac:spMkLst>
            <pc:docMk/>
            <pc:sldMk cId="3928548622" sldId="2076138456"/>
            <ac:spMk id="6" creationId="{9BCB5338-BB3F-5543-B736-8E45DB06CC04}"/>
          </ac:spMkLst>
        </pc:spChg>
        <pc:picChg chg="mod">
          <ac:chgData name="Alan Luder (Valence Group Inc.)" userId="9f14a4d2-8b5c-4fb0-9a7b-d779ed5a424b" providerId="ADAL" clId="{CB793C73-2F9F-F146-A87A-3A49835A72DD}" dt="2021-05-26T18:24:15.229" v="534" actId="1076"/>
          <ac:picMkLst>
            <pc:docMk/>
            <pc:sldMk cId="3928548622" sldId="2076138456"/>
            <ac:picMk id="4" creationId="{8A8A2DF2-6596-4CE7-9B7D-093447DBF3D1}"/>
          </ac:picMkLst>
        </pc:picChg>
      </pc:sldChg>
      <pc:sldMasterChg chg="delSp mod delSldLayout modSldLayout">
        <pc:chgData name="Alan Luder (Valence Group Inc.)" userId="9f14a4d2-8b5c-4fb0-9a7b-d779ed5a424b" providerId="ADAL" clId="{CB793C73-2F9F-F146-A87A-3A49835A72DD}" dt="2021-05-26T18:51:51.629" v="674" actId="478"/>
        <pc:sldMasterMkLst>
          <pc:docMk/>
          <pc:sldMasterMk cId="14513726" sldId="2147485397"/>
        </pc:sldMasterMkLst>
        <pc:grpChg chg="del">
          <ac:chgData name="Alan Luder (Valence Group Inc.)" userId="9f14a4d2-8b5c-4fb0-9a7b-d779ed5a424b" providerId="ADAL" clId="{CB793C73-2F9F-F146-A87A-3A49835A72DD}" dt="2021-05-26T18:51:30.840" v="668" actId="478"/>
          <ac:grpSpMkLst>
            <pc:docMk/>
            <pc:sldMasterMk cId="14513726" sldId="2147485397"/>
            <ac:grpSpMk id="51" creationId="{A7EE612F-C4FE-344D-A154-AD529507B9EB}"/>
          </ac:grpSpMkLst>
        </pc:grpChg>
        <pc:sldLayoutChg chg="del">
          <pc:chgData name="Alan Luder (Valence Group Inc.)" userId="9f14a4d2-8b5c-4fb0-9a7b-d779ed5a424b" providerId="ADAL" clId="{CB793C73-2F9F-F146-A87A-3A49835A72DD}" dt="2021-05-26T18:51:36.432" v="669" actId="2696"/>
          <pc:sldLayoutMkLst>
            <pc:docMk/>
            <pc:sldMasterMk cId="14513726" sldId="2147485397"/>
            <pc:sldLayoutMk cId="2227528371" sldId="2147485510"/>
          </pc:sldLayoutMkLst>
        </pc:sldLayoutChg>
        <pc:sldLayoutChg chg="delSp mod">
          <pc:chgData name="Alan Luder (Valence Group Inc.)" userId="9f14a4d2-8b5c-4fb0-9a7b-d779ed5a424b" providerId="ADAL" clId="{CB793C73-2F9F-F146-A87A-3A49835A72DD}" dt="2021-05-26T18:51:51.629" v="674" actId="478"/>
          <pc:sldLayoutMkLst>
            <pc:docMk/>
            <pc:sldMasterMk cId="14513726" sldId="2147485397"/>
            <pc:sldLayoutMk cId="4178281550" sldId="2147485513"/>
          </pc:sldLayoutMkLst>
          <pc:grpChg chg="del">
            <ac:chgData name="Alan Luder (Valence Group Inc.)" userId="9f14a4d2-8b5c-4fb0-9a7b-d779ed5a424b" providerId="ADAL" clId="{CB793C73-2F9F-F146-A87A-3A49835A72DD}" dt="2021-05-26T18:51:51.629" v="674" actId="478"/>
            <ac:grpSpMkLst>
              <pc:docMk/>
              <pc:sldMasterMk cId="14513726" sldId="2147485397"/>
              <pc:sldLayoutMk cId="4178281550" sldId="2147485513"/>
              <ac:grpSpMk id="3" creationId="{3DA53362-4130-F744-9D19-DA18480960B3}"/>
            </ac:grpSpMkLst>
          </pc:grpChg>
        </pc:sldLayoutChg>
        <pc:sldLayoutChg chg="del">
          <pc:chgData name="Alan Luder (Valence Group Inc.)" userId="9f14a4d2-8b5c-4fb0-9a7b-d779ed5a424b" providerId="ADAL" clId="{CB793C73-2F9F-F146-A87A-3A49835A72DD}" dt="2021-05-26T18:51:47.593" v="673" actId="2696"/>
          <pc:sldLayoutMkLst>
            <pc:docMk/>
            <pc:sldMasterMk cId="14513726" sldId="2147485397"/>
            <pc:sldLayoutMk cId="3091391837" sldId="2147485516"/>
          </pc:sldLayoutMkLst>
        </pc:sldLayoutChg>
        <pc:sldLayoutChg chg="del">
          <pc:chgData name="Alan Luder (Valence Group Inc.)" userId="9f14a4d2-8b5c-4fb0-9a7b-d779ed5a424b" providerId="ADAL" clId="{CB793C73-2F9F-F146-A87A-3A49835A72DD}" dt="2021-05-26T18:51:40.406" v="670" actId="2696"/>
          <pc:sldLayoutMkLst>
            <pc:docMk/>
            <pc:sldMasterMk cId="14513726" sldId="2147485397"/>
            <pc:sldLayoutMk cId="3255610650" sldId="2147485517"/>
          </pc:sldLayoutMkLst>
        </pc:sldLayoutChg>
        <pc:sldLayoutChg chg="del">
          <pc:chgData name="Alan Luder (Valence Group Inc.)" userId="9f14a4d2-8b5c-4fb0-9a7b-d779ed5a424b" providerId="ADAL" clId="{CB793C73-2F9F-F146-A87A-3A49835A72DD}" dt="2021-05-26T16:37:54.382" v="106" actId="2696"/>
          <pc:sldLayoutMkLst>
            <pc:docMk/>
            <pc:sldMasterMk cId="14513726" sldId="2147485397"/>
            <pc:sldLayoutMk cId="2329469815" sldId="2147485596"/>
          </pc:sldLayoutMkLst>
        </pc:sldLayoutChg>
        <pc:sldLayoutChg chg="del">
          <pc:chgData name="Alan Luder (Valence Group Inc.)" userId="9f14a4d2-8b5c-4fb0-9a7b-d779ed5a424b" providerId="ADAL" clId="{CB793C73-2F9F-F146-A87A-3A49835A72DD}" dt="2021-05-26T18:51:45.153" v="672" actId="2696"/>
          <pc:sldLayoutMkLst>
            <pc:docMk/>
            <pc:sldMasterMk cId="14513726" sldId="2147485397"/>
            <pc:sldLayoutMk cId="265332846" sldId="2147485754"/>
          </pc:sldLayoutMkLst>
        </pc:sldLayoutChg>
        <pc:sldLayoutChg chg="del">
          <pc:chgData name="Alan Luder (Valence Group Inc.)" userId="9f14a4d2-8b5c-4fb0-9a7b-d779ed5a424b" providerId="ADAL" clId="{CB793C73-2F9F-F146-A87A-3A49835A72DD}" dt="2021-05-26T18:35:45.602" v="637" actId="2696"/>
          <pc:sldLayoutMkLst>
            <pc:docMk/>
            <pc:sldMasterMk cId="14513726" sldId="2147485397"/>
            <pc:sldLayoutMk cId="2056633302" sldId="2147485755"/>
          </pc:sldLayoutMkLst>
        </pc:sldLayoutChg>
        <pc:sldLayoutChg chg="del">
          <pc:chgData name="Alan Luder (Valence Group Inc.)" userId="9f14a4d2-8b5c-4fb0-9a7b-d779ed5a424b" providerId="ADAL" clId="{CB793C73-2F9F-F146-A87A-3A49835A72DD}" dt="2021-05-26T18:51:42.629" v="671" actId="2696"/>
          <pc:sldLayoutMkLst>
            <pc:docMk/>
            <pc:sldMasterMk cId="14513726" sldId="2147485397"/>
            <pc:sldLayoutMk cId="3783942257" sldId="2147485756"/>
          </pc:sldLayoutMkLst>
        </pc:sldLayoutChg>
      </pc:sldMasterChg>
      <pc:sldMasterChg chg="del delSldLayout">
        <pc:chgData name="Alan Luder (Valence Group Inc.)" userId="9f14a4d2-8b5c-4fb0-9a7b-d779ed5a424b" providerId="ADAL" clId="{CB793C73-2F9F-F146-A87A-3A49835A72DD}" dt="2021-05-26T16:37:17.654" v="103" actId="2696"/>
        <pc:sldMasterMkLst>
          <pc:docMk/>
          <pc:sldMasterMk cId="698660179" sldId="2147485525"/>
        </pc:sldMasterMkLst>
        <pc:sldLayoutChg chg="del">
          <pc:chgData name="Alan Luder (Valence Group Inc.)" userId="9f14a4d2-8b5c-4fb0-9a7b-d779ed5a424b" providerId="ADAL" clId="{CB793C73-2F9F-F146-A87A-3A49835A72DD}" dt="2021-05-26T16:37:17.586" v="70" actId="2696"/>
          <pc:sldLayoutMkLst>
            <pc:docMk/>
            <pc:sldMasterMk cId="698660179" sldId="2147485525"/>
            <pc:sldLayoutMk cId="3994459926" sldId="2147485526"/>
          </pc:sldLayoutMkLst>
        </pc:sldLayoutChg>
        <pc:sldLayoutChg chg="del">
          <pc:chgData name="Alan Luder (Valence Group Inc.)" userId="9f14a4d2-8b5c-4fb0-9a7b-d779ed5a424b" providerId="ADAL" clId="{CB793C73-2F9F-F146-A87A-3A49835A72DD}" dt="2021-05-26T16:37:17.591" v="71" actId="2696"/>
          <pc:sldLayoutMkLst>
            <pc:docMk/>
            <pc:sldMasterMk cId="698660179" sldId="2147485525"/>
            <pc:sldLayoutMk cId="4256620523" sldId="2147485527"/>
          </pc:sldLayoutMkLst>
        </pc:sldLayoutChg>
        <pc:sldLayoutChg chg="del">
          <pc:chgData name="Alan Luder (Valence Group Inc.)" userId="9f14a4d2-8b5c-4fb0-9a7b-d779ed5a424b" providerId="ADAL" clId="{CB793C73-2F9F-F146-A87A-3A49835A72DD}" dt="2021-05-26T16:37:17.593" v="72" actId="2696"/>
          <pc:sldLayoutMkLst>
            <pc:docMk/>
            <pc:sldMasterMk cId="698660179" sldId="2147485525"/>
            <pc:sldLayoutMk cId="3457877588" sldId="2147485528"/>
          </pc:sldLayoutMkLst>
        </pc:sldLayoutChg>
        <pc:sldLayoutChg chg="del">
          <pc:chgData name="Alan Luder (Valence Group Inc.)" userId="9f14a4d2-8b5c-4fb0-9a7b-d779ed5a424b" providerId="ADAL" clId="{CB793C73-2F9F-F146-A87A-3A49835A72DD}" dt="2021-05-26T16:37:17.595" v="73" actId="2696"/>
          <pc:sldLayoutMkLst>
            <pc:docMk/>
            <pc:sldMasterMk cId="698660179" sldId="2147485525"/>
            <pc:sldLayoutMk cId="1020266867" sldId="2147485529"/>
          </pc:sldLayoutMkLst>
        </pc:sldLayoutChg>
        <pc:sldLayoutChg chg="del">
          <pc:chgData name="Alan Luder (Valence Group Inc.)" userId="9f14a4d2-8b5c-4fb0-9a7b-d779ed5a424b" providerId="ADAL" clId="{CB793C73-2F9F-F146-A87A-3A49835A72DD}" dt="2021-05-26T16:37:17.597" v="74" actId="2696"/>
          <pc:sldLayoutMkLst>
            <pc:docMk/>
            <pc:sldMasterMk cId="698660179" sldId="2147485525"/>
            <pc:sldLayoutMk cId="3138798072" sldId="2147485530"/>
          </pc:sldLayoutMkLst>
        </pc:sldLayoutChg>
        <pc:sldLayoutChg chg="del">
          <pc:chgData name="Alan Luder (Valence Group Inc.)" userId="9f14a4d2-8b5c-4fb0-9a7b-d779ed5a424b" providerId="ADAL" clId="{CB793C73-2F9F-F146-A87A-3A49835A72DD}" dt="2021-05-26T16:37:17.599" v="75" actId="2696"/>
          <pc:sldLayoutMkLst>
            <pc:docMk/>
            <pc:sldMasterMk cId="698660179" sldId="2147485525"/>
            <pc:sldLayoutMk cId="175268517" sldId="2147485531"/>
          </pc:sldLayoutMkLst>
        </pc:sldLayoutChg>
        <pc:sldLayoutChg chg="del">
          <pc:chgData name="Alan Luder (Valence Group Inc.)" userId="9f14a4d2-8b5c-4fb0-9a7b-d779ed5a424b" providerId="ADAL" clId="{CB793C73-2F9F-F146-A87A-3A49835A72DD}" dt="2021-05-26T16:37:17.601" v="76" actId="2696"/>
          <pc:sldLayoutMkLst>
            <pc:docMk/>
            <pc:sldMasterMk cId="698660179" sldId="2147485525"/>
            <pc:sldLayoutMk cId="3417473507" sldId="2147485532"/>
          </pc:sldLayoutMkLst>
        </pc:sldLayoutChg>
        <pc:sldLayoutChg chg="del">
          <pc:chgData name="Alan Luder (Valence Group Inc.)" userId="9f14a4d2-8b5c-4fb0-9a7b-d779ed5a424b" providerId="ADAL" clId="{CB793C73-2F9F-F146-A87A-3A49835A72DD}" dt="2021-05-26T16:37:17.602" v="77" actId="2696"/>
          <pc:sldLayoutMkLst>
            <pc:docMk/>
            <pc:sldMasterMk cId="698660179" sldId="2147485525"/>
            <pc:sldLayoutMk cId="2101003213" sldId="2147485533"/>
          </pc:sldLayoutMkLst>
        </pc:sldLayoutChg>
        <pc:sldLayoutChg chg="del">
          <pc:chgData name="Alan Luder (Valence Group Inc.)" userId="9f14a4d2-8b5c-4fb0-9a7b-d779ed5a424b" providerId="ADAL" clId="{CB793C73-2F9F-F146-A87A-3A49835A72DD}" dt="2021-05-26T16:37:17.604" v="78" actId="2696"/>
          <pc:sldLayoutMkLst>
            <pc:docMk/>
            <pc:sldMasterMk cId="698660179" sldId="2147485525"/>
            <pc:sldLayoutMk cId="1926724078" sldId="2147485534"/>
          </pc:sldLayoutMkLst>
        </pc:sldLayoutChg>
        <pc:sldLayoutChg chg="del">
          <pc:chgData name="Alan Luder (Valence Group Inc.)" userId="9f14a4d2-8b5c-4fb0-9a7b-d779ed5a424b" providerId="ADAL" clId="{CB793C73-2F9F-F146-A87A-3A49835A72DD}" dt="2021-05-26T16:37:17.606" v="79" actId="2696"/>
          <pc:sldLayoutMkLst>
            <pc:docMk/>
            <pc:sldMasterMk cId="698660179" sldId="2147485525"/>
            <pc:sldLayoutMk cId="2057269903" sldId="2147485535"/>
          </pc:sldLayoutMkLst>
        </pc:sldLayoutChg>
        <pc:sldLayoutChg chg="del">
          <pc:chgData name="Alan Luder (Valence Group Inc.)" userId="9f14a4d2-8b5c-4fb0-9a7b-d779ed5a424b" providerId="ADAL" clId="{CB793C73-2F9F-F146-A87A-3A49835A72DD}" dt="2021-05-26T16:37:17.608" v="80" actId="2696"/>
          <pc:sldLayoutMkLst>
            <pc:docMk/>
            <pc:sldMasterMk cId="698660179" sldId="2147485525"/>
            <pc:sldLayoutMk cId="138589660" sldId="2147485536"/>
          </pc:sldLayoutMkLst>
        </pc:sldLayoutChg>
        <pc:sldLayoutChg chg="del">
          <pc:chgData name="Alan Luder (Valence Group Inc.)" userId="9f14a4d2-8b5c-4fb0-9a7b-d779ed5a424b" providerId="ADAL" clId="{CB793C73-2F9F-F146-A87A-3A49835A72DD}" dt="2021-05-26T16:37:17.609" v="81" actId="2696"/>
          <pc:sldLayoutMkLst>
            <pc:docMk/>
            <pc:sldMasterMk cId="698660179" sldId="2147485525"/>
            <pc:sldLayoutMk cId="2191844380" sldId="2147485537"/>
          </pc:sldLayoutMkLst>
        </pc:sldLayoutChg>
        <pc:sldLayoutChg chg="del">
          <pc:chgData name="Alan Luder (Valence Group Inc.)" userId="9f14a4d2-8b5c-4fb0-9a7b-d779ed5a424b" providerId="ADAL" clId="{CB793C73-2F9F-F146-A87A-3A49835A72DD}" dt="2021-05-26T16:37:17.611" v="82" actId="2696"/>
          <pc:sldLayoutMkLst>
            <pc:docMk/>
            <pc:sldMasterMk cId="698660179" sldId="2147485525"/>
            <pc:sldLayoutMk cId="1904520373" sldId="2147485538"/>
          </pc:sldLayoutMkLst>
        </pc:sldLayoutChg>
        <pc:sldLayoutChg chg="del">
          <pc:chgData name="Alan Luder (Valence Group Inc.)" userId="9f14a4d2-8b5c-4fb0-9a7b-d779ed5a424b" providerId="ADAL" clId="{CB793C73-2F9F-F146-A87A-3A49835A72DD}" dt="2021-05-26T16:37:17.613" v="83" actId="2696"/>
          <pc:sldLayoutMkLst>
            <pc:docMk/>
            <pc:sldMasterMk cId="698660179" sldId="2147485525"/>
            <pc:sldLayoutMk cId="379084795" sldId="2147485539"/>
          </pc:sldLayoutMkLst>
        </pc:sldLayoutChg>
        <pc:sldLayoutChg chg="del">
          <pc:chgData name="Alan Luder (Valence Group Inc.)" userId="9f14a4d2-8b5c-4fb0-9a7b-d779ed5a424b" providerId="ADAL" clId="{CB793C73-2F9F-F146-A87A-3A49835A72DD}" dt="2021-05-26T16:37:17.614" v="84" actId="2696"/>
          <pc:sldLayoutMkLst>
            <pc:docMk/>
            <pc:sldMasterMk cId="698660179" sldId="2147485525"/>
            <pc:sldLayoutMk cId="2030253301" sldId="2147485540"/>
          </pc:sldLayoutMkLst>
        </pc:sldLayoutChg>
        <pc:sldLayoutChg chg="del">
          <pc:chgData name="Alan Luder (Valence Group Inc.)" userId="9f14a4d2-8b5c-4fb0-9a7b-d779ed5a424b" providerId="ADAL" clId="{CB793C73-2F9F-F146-A87A-3A49835A72DD}" dt="2021-05-26T16:37:17.616" v="85" actId="2696"/>
          <pc:sldLayoutMkLst>
            <pc:docMk/>
            <pc:sldMasterMk cId="698660179" sldId="2147485525"/>
            <pc:sldLayoutMk cId="2235131112" sldId="2147485541"/>
          </pc:sldLayoutMkLst>
        </pc:sldLayoutChg>
        <pc:sldLayoutChg chg="del">
          <pc:chgData name="Alan Luder (Valence Group Inc.)" userId="9f14a4d2-8b5c-4fb0-9a7b-d779ed5a424b" providerId="ADAL" clId="{CB793C73-2F9F-F146-A87A-3A49835A72DD}" dt="2021-05-26T16:37:17.620" v="86" actId="2696"/>
          <pc:sldLayoutMkLst>
            <pc:docMk/>
            <pc:sldMasterMk cId="698660179" sldId="2147485525"/>
            <pc:sldLayoutMk cId="1388143564" sldId="2147485542"/>
          </pc:sldLayoutMkLst>
        </pc:sldLayoutChg>
        <pc:sldLayoutChg chg="del">
          <pc:chgData name="Alan Luder (Valence Group Inc.)" userId="9f14a4d2-8b5c-4fb0-9a7b-d779ed5a424b" providerId="ADAL" clId="{CB793C73-2F9F-F146-A87A-3A49835A72DD}" dt="2021-05-26T16:37:17.621" v="87" actId="2696"/>
          <pc:sldLayoutMkLst>
            <pc:docMk/>
            <pc:sldMasterMk cId="698660179" sldId="2147485525"/>
            <pc:sldLayoutMk cId="3248690342" sldId="2147485543"/>
          </pc:sldLayoutMkLst>
        </pc:sldLayoutChg>
        <pc:sldLayoutChg chg="del">
          <pc:chgData name="Alan Luder (Valence Group Inc.)" userId="9f14a4d2-8b5c-4fb0-9a7b-d779ed5a424b" providerId="ADAL" clId="{CB793C73-2F9F-F146-A87A-3A49835A72DD}" dt="2021-05-26T16:37:17.623" v="88" actId="2696"/>
          <pc:sldLayoutMkLst>
            <pc:docMk/>
            <pc:sldMasterMk cId="698660179" sldId="2147485525"/>
            <pc:sldLayoutMk cId="2926682127" sldId="2147485544"/>
          </pc:sldLayoutMkLst>
        </pc:sldLayoutChg>
        <pc:sldLayoutChg chg="del">
          <pc:chgData name="Alan Luder (Valence Group Inc.)" userId="9f14a4d2-8b5c-4fb0-9a7b-d779ed5a424b" providerId="ADAL" clId="{CB793C73-2F9F-F146-A87A-3A49835A72DD}" dt="2021-05-26T16:37:17.624" v="89" actId="2696"/>
          <pc:sldLayoutMkLst>
            <pc:docMk/>
            <pc:sldMasterMk cId="698660179" sldId="2147485525"/>
            <pc:sldLayoutMk cId="1980494462" sldId="2147485545"/>
          </pc:sldLayoutMkLst>
        </pc:sldLayoutChg>
        <pc:sldLayoutChg chg="del">
          <pc:chgData name="Alan Luder (Valence Group Inc.)" userId="9f14a4d2-8b5c-4fb0-9a7b-d779ed5a424b" providerId="ADAL" clId="{CB793C73-2F9F-F146-A87A-3A49835A72DD}" dt="2021-05-26T16:37:17.626" v="90" actId="2696"/>
          <pc:sldLayoutMkLst>
            <pc:docMk/>
            <pc:sldMasterMk cId="698660179" sldId="2147485525"/>
            <pc:sldLayoutMk cId="83619836" sldId="2147485546"/>
          </pc:sldLayoutMkLst>
        </pc:sldLayoutChg>
        <pc:sldLayoutChg chg="del">
          <pc:chgData name="Alan Luder (Valence Group Inc.)" userId="9f14a4d2-8b5c-4fb0-9a7b-d779ed5a424b" providerId="ADAL" clId="{CB793C73-2F9F-F146-A87A-3A49835A72DD}" dt="2021-05-26T16:37:17.627" v="91" actId="2696"/>
          <pc:sldLayoutMkLst>
            <pc:docMk/>
            <pc:sldMasterMk cId="698660179" sldId="2147485525"/>
            <pc:sldLayoutMk cId="2140223388" sldId="2147485547"/>
          </pc:sldLayoutMkLst>
        </pc:sldLayoutChg>
        <pc:sldLayoutChg chg="del">
          <pc:chgData name="Alan Luder (Valence Group Inc.)" userId="9f14a4d2-8b5c-4fb0-9a7b-d779ed5a424b" providerId="ADAL" clId="{CB793C73-2F9F-F146-A87A-3A49835A72DD}" dt="2021-05-26T16:37:17.631" v="92" actId="2696"/>
          <pc:sldLayoutMkLst>
            <pc:docMk/>
            <pc:sldMasterMk cId="698660179" sldId="2147485525"/>
            <pc:sldLayoutMk cId="4282878656" sldId="2147485548"/>
          </pc:sldLayoutMkLst>
        </pc:sldLayoutChg>
        <pc:sldLayoutChg chg="del">
          <pc:chgData name="Alan Luder (Valence Group Inc.)" userId="9f14a4d2-8b5c-4fb0-9a7b-d779ed5a424b" providerId="ADAL" clId="{CB793C73-2F9F-F146-A87A-3A49835A72DD}" dt="2021-05-26T16:37:17.633" v="93" actId="2696"/>
          <pc:sldLayoutMkLst>
            <pc:docMk/>
            <pc:sldMasterMk cId="698660179" sldId="2147485525"/>
            <pc:sldLayoutMk cId="1998451406" sldId="2147485549"/>
          </pc:sldLayoutMkLst>
        </pc:sldLayoutChg>
        <pc:sldLayoutChg chg="del">
          <pc:chgData name="Alan Luder (Valence Group Inc.)" userId="9f14a4d2-8b5c-4fb0-9a7b-d779ed5a424b" providerId="ADAL" clId="{CB793C73-2F9F-F146-A87A-3A49835A72DD}" dt="2021-05-26T16:37:17.634" v="94" actId="2696"/>
          <pc:sldLayoutMkLst>
            <pc:docMk/>
            <pc:sldMasterMk cId="698660179" sldId="2147485525"/>
            <pc:sldLayoutMk cId="1123421537" sldId="2147485550"/>
          </pc:sldLayoutMkLst>
        </pc:sldLayoutChg>
        <pc:sldLayoutChg chg="del">
          <pc:chgData name="Alan Luder (Valence Group Inc.)" userId="9f14a4d2-8b5c-4fb0-9a7b-d779ed5a424b" providerId="ADAL" clId="{CB793C73-2F9F-F146-A87A-3A49835A72DD}" dt="2021-05-26T16:37:17.636" v="95" actId="2696"/>
          <pc:sldLayoutMkLst>
            <pc:docMk/>
            <pc:sldMasterMk cId="698660179" sldId="2147485525"/>
            <pc:sldLayoutMk cId="611379245" sldId="2147485551"/>
          </pc:sldLayoutMkLst>
        </pc:sldLayoutChg>
        <pc:sldLayoutChg chg="del">
          <pc:chgData name="Alan Luder (Valence Group Inc.)" userId="9f14a4d2-8b5c-4fb0-9a7b-d779ed5a424b" providerId="ADAL" clId="{CB793C73-2F9F-F146-A87A-3A49835A72DD}" dt="2021-05-26T16:37:17.637" v="96" actId="2696"/>
          <pc:sldLayoutMkLst>
            <pc:docMk/>
            <pc:sldMasterMk cId="698660179" sldId="2147485525"/>
            <pc:sldLayoutMk cId="2215773783" sldId="2147485552"/>
          </pc:sldLayoutMkLst>
        </pc:sldLayoutChg>
        <pc:sldLayoutChg chg="del">
          <pc:chgData name="Alan Luder (Valence Group Inc.)" userId="9f14a4d2-8b5c-4fb0-9a7b-d779ed5a424b" providerId="ADAL" clId="{CB793C73-2F9F-F146-A87A-3A49835A72DD}" dt="2021-05-26T16:37:17.640" v="97" actId="2696"/>
          <pc:sldLayoutMkLst>
            <pc:docMk/>
            <pc:sldMasterMk cId="698660179" sldId="2147485525"/>
            <pc:sldLayoutMk cId="4148089392" sldId="2147485553"/>
          </pc:sldLayoutMkLst>
        </pc:sldLayoutChg>
        <pc:sldLayoutChg chg="del">
          <pc:chgData name="Alan Luder (Valence Group Inc.)" userId="9f14a4d2-8b5c-4fb0-9a7b-d779ed5a424b" providerId="ADAL" clId="{CB793C73-2F9F-F146-A87A-3A49835A72DD}" dt="2021-05-26T16:37:17.642" v="98" actId="2696"/>
          <pc:sldLayoutMkLst>
            <pc:docMk/>
            <pc:sldMasterMk cId="698660179" sldId="2147485525"/>
            <pc:sldLayoutMk cId="2966377524" sldId="2147485554"/>
          </pc:sldLayoutMkLst>
        </pc:sldLayoutChg>
        <pc:sldLayoutChg chg="del">
          <pc:chgData name="Alan Luder (Valence Group Inc.)" userId="9f14a4d2-8b5c-4fb0-9a7b-d779ed5a424b" providerId="ADAL" clId="{CB793C73-2F9F-F146-A87A-3A49835A72DD}" dt="2021-05-26T16:37:17.643" v="99" actId="2696"/>
          <pc:sldLayoutMkLst>
            <pc:docMk/>
            <pc:sldMasterMk cId="698660179" sldId="2147485525"/>
            <pc:sldLayoutMk cId="2875741779" sldId="2147485555"/>
          </pc:sldLayoutMkLst>
        </pc:sldLayoutChg>
        <pc:sldLayoutChg chg="del">
          <pc:chgData name="Alan Luder (Valence Group Inc.)" userId="9f14a4d2-8b5c-4fb0-9a7b-d779ed5a424b" providerId="ADAL" clId="{CB793C73-2F9F-F146-A87A-3A49835A72DD}" dt="2021-05-26T16:37:17.645" v="100" actId="2696"/>
          <pc:sldLayoutMkLst>
            <pc:docMk/>
            <pc:sldMasterMk cId="698660179" sldId="2147485525"/>
            <pc:sldLayoutMk cId="3143392284" sldId="2147485556"/>
          </pc:sldLayoutMkLst>
        </pc:sldLayoutChg>
        <pc:sldLayoutChg chg="del">
          <pc:chgData name="Alan Luder (Valence Group Inc.)" userId="9f14a4d2-8b5c-4fb0-9a7b-d779ed5a424b" providerId="ADAL" clId="{CB793C73-2F9F-F146-A87A-3A49835A72DD}" dt="2021-05-26T16:37:17.647" v="101" actId="2696"/>
          <pc:sldLayoutMkLst>
            <pc:docMk/>
            <pc:sldMasterMk cId="698660179" sldId="2147485525"/>
            <pc:sldLayoutMk cId="692412913" sldId="2147485557"/>
          </pc:sldLayoutMkLst>
        </pc:sldLayoutChg>
        <pc:sldLayoutChg chg="del">
          <pc:chgData name="Alan Luder (Valence Group Inc.)" userId="9f14a4d2-8b5c-4fb0-9a7b-d779ed5a424b" providerId="ADAL" clId="{CB793C73-2F9F-F146-A87A-3A49835A72DD}" dt="2021-05-26T16:37:17.648" v="102" actId="2696"/>
          <pc:sldLayoutMkLst>
            <pc:docMk/>
            <pc:sldMasterMk cId="698660179" sldId="2147485525"/>
            <pc:sldLayoutMk cId="3484288599" sldId="214748555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8681"/>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5/2021 2:29 PM</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5/2021 2:25 PM</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H0-Intro Slide title - </a:t>
            </a:r>
            <a:r>
              <a:rPr lang="en-US" err="1"/>
              <a:t>Semibold</a:t>
            </a:r>
            <a:r>
              <a:rPr lang="en-US"/>
              <a:t> - 40pt**</a:t>
            </a:r>
          </a:p>
          <a:p>
            <a:pPr lvl="0"/>
            <a:r>
              <a:rPr lang="en-US"/>
              <a:t>H1- Slide Header - </a:t>
            </a:r>
            <a:r>
              <a:rPr lang="en-US" err="1"/>
              <a:t>Semibold</a:t>
            </a:r>
            <a:r>
              <a:rPr lang="en-US"/>
              <a:t> - 28pt </a:t>
            </a:r>
          </a:p>
          <a:p>
            <a:pPr lvl="0"/>
            <a:r>
              <a:rPr lang="en-US"/>
              <a:t>H2- Subhead -  </a:t>
            </a:r>
            <a:r>
              <a:rPr lang="en-US" err="1"/>
              <a:t>Semibold</a:t>
            </a:r>
            <a:r>
              <a:rPr lang="en-US"/>
              <a:t> - 18pt </a:t>
            </a:r>
          </a:p>
          <a:p>
            <a:pPr lvl="0"/>
            <a:r>
              <a:rPr lang="en-US"/>
              <a:t>Body - Regular - 16pt</a:t>
            </a:r>
          </a:p>
          <a:p>
            <a:pPr lvl="0"/>
            <a:r>
              <a:rPr lang="en-US"/>
              <a:t>Sub Body - Regular - 10pt*</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5/2021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139058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2418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B271222-1964-401D-98B6-DC33C4504D0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6883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6E368-B51F-42BE-9BC5-2A0DE251D1D4}" type="slidenum">
              <a:rPr lang="en-US" smtClean="0"/>
              <a:t>14</a:t>
            </a:fld>
            <a:endParaRPr lang="en-US"/>
          </a:p>
        </p:txBody>
      </p:sp>
    </p:spTree>
    <p:extLst>
      <p:ext uri="{BB962C8B-B14F-4D97-AF65-F5344CB8AC3E}">
        <p14:creationId xmlns:p14="http://schemas.microsoft.com/office/powerpoint/2010/main" val="1730003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365 Fraud Protection - Loss Prevention Overview vide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5/2021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366527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Times" pitchFamily="2" charset="0"/>
              </a:rPr>
              <a:t> </a:t>
            </a:r>
            <a:endParaRPr lang="en-US" dirty="0"/>
          </a:p>
          <a:p>
            <a:endParaRPr lang="en-US" dirty="0">
              <a:solidFill>
                <a:schemeClr val="bg1"/>
              </a:solidFill>
            </a:endParaRP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5/2021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203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5/2021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699143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7276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a:t>Innovation – Shared intelligence with issuers: </a:t>
            </a:r>
            <a:r>
              <a:rPr lang="en-US" sz="900"/>
              <a:t>Deep bank partnerships and routing/retry recommendations </a:t>
            </a:r>
            <a:br>
              <a:rPr lang="en-US" sz="900"/>
            </a:br>
            <a:r>
              <a:rPr lang="en-US" sz="900"/>
              <a:t>help improve acceptance rates by increasing merchant’s successful sales completions with fewer good transactions blocked.</a:t>
            </a:r>
          </a:p>
          <a:p>
            <a:endParaRPr lang="en-US" sz="850">
              <a:cs typeface="Segoe UI"/>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6/25/2021 2:2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743124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365 Fraud Protection - Purchase Protection Overview vide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5/2021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202838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2434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B271222-1964-401D-98B6-DC33C4504D0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6809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6E368-B51F-42BE-9BC5-2A0DE251D1D4}" type="slidenum">
              <a:rPr lang="en-US" smtClean="0"/>
              <a:t>10</a:t>
            </a:fld>
            <a:endParaRPr lang="en-US"/>
          </a:p>
        </p:txBody>
      </p:sp>
    </p:spTree>
    <p:extLst>
      <p:ext uri="{BB962C8B-B14F-4D97-AF65-F5344CB8AC3E}">
        <p14:creationId xmlns:p14="http://schemas.microsoft.com/office/powerpoint/2010/main" val="352729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365 Fraud Protection - Account Prevention Overview vide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5/2021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742715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Read me">
    <p:bg bwMode="gray">
      <p:bgRef idx="1001">
        <a:schemeClr val="bg1"/>
      </p:bgRef>
    </p:bg>
    <p:spTree>
      <p:nvGrpSpPr>
        <p:cNvPr id="1" name=""/>
        <p:cNvGrpSpPr/>
        <p:nvPr/>
      </p:nvGrpSpPr>
      <p:grpSpPr>
        <a:xfrm>
          <a:off x="0" y="0"/>
          <a:ext cx="0" cy="0"/>
          <a:chOff x="0" y="0"/>
          <a:chExt cx="0" cy="0"/>
        </a:xfrm>
      </p:grpSpPr>
      <p:sp>
        <p:nvSpPr>
          <p:cNvPr id="12" name="Bottom nav" hidden="1">
            <a:extLst>
              <a:ext uri="{FF2B5EF4-FFF2-40B4-BE49-F238E27FC236}">
                <a16:creationId xmlns:a16="http://schemas.microsoft.com/office/drawing/2014/main" id="{AA07EBE7-989D-7F41-B370-AB31F513C535}"/>
              </a:ext>
            </a:extLst>
          </p:cNvPr>
          <p:cNvSpPr/>
          <p:nvPr userDrawn="1"/>
        </p:nvSpPr>
        <p:spPr bwMode="auto">
          <a:xfrm flipV="1">
            <a:off x="1" y="5905498"/>
            <a:ext cx="12192000" cy="9525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Box 3">
            <a:extLst>
              <a:ext uri="{FF2B5EF4-FFF2-40B4-BE49-F238E27FC236}">
                <a16:creationId xmlns:a16="http://schemas.microsoft.com/office/drawing/2014/main" id="{0ABAEB74-DA95-1447-B90A-033F99BFB3E6}"/>
              </a:ext>
            </a:extLst>
          </p:cNvPr>
          <p:cNvSpPr txBox="1"/>
          <p:nvPr userDrawn="1"/>
        </p:nvSpPr>
        <p:spPr>
          <a:xfrm>
            <a:off x="584200" y="1403124"/>
            <a:ext cx="7185308" cy="1610377"/>
          </a:xfrm>
          <a:prstGeom prst="rect">
            <a:avLst/>
          </a:prstGeom>
          <a:noFill/>
        </p:spPr>
        <p:txBody>
          <a:bodyPr wrap="square" lIns="0" tIns="0" rIns="0" bIns="0" rtlCol="0">
            <a:spAutoFit/>
          </a:bodyPr>
          <a:lstStyle/>
          <a:p>
            <a:pPr marL="285750" lvl="0" indent="-285750">
              <a:lnSpc>
                <a:spcPct val="150000"/>
              </a:lnSpc>
              <a:buFont typeface="Arial" panose="020B0604020202020204" pitchFamily="34" charset="0"/>
              <a:buChar char="•"/>
            </a:pPr>
            <a:r>
              <a:rPr lang="en-US" sz="1800"/>
              <a:t>Please be sure to view the notes section of the slides. They will contain talking points.</a:t>
            </a:r>
          </a:p>
          <a:p>
            <a:pPr marL="285750" lvl="0" indent="-285750">
              <a:lnSpc>
                <a:spcPct val="150000"/>
              </a:lnSpc>
              <a:buFont typeface="Arial" panose="020B0604020202020204" pitchFamily="34" charset="0"/>
              <a:buChar char="•"/>
            </a:pPr>
            <a:r>
              <a:rPr lang="en-US" sz="1800"/>
              <a:t>This deck is mostly customer ready, but you should remove the comments in the notes section before you give them to a customer.</a:t>
            </a:r>
          </a:p>
        </p:txBody>
      </p:sp>
      <p:sp>
        <p:nvSpPr>
          <p:cNvPr id="7" name="TextBox 6">
            <a:extLst>
              <a:ext uri="{FF2B5EF4-FFF2-40B4-BE49-F238E27FC236}">
                <a16:creationId xmlns:a16="http://schemas.microsoft.com/office/drawing/2014/main" id="{F496D97E-0B1B-5348-8C20-FD9635868838}"/>
              </a:ext>
            </a:extLst>
          </p:cNvPr>
          <p:cNvSpPr txBox="1"/>
          <p:nvPr userDrawn="1"/>
        </p:nvSpPr>
        <p:spPr>
          <a:xfrm>
            <a:off x="1324708" y="457200"/>
            <a:ext cx="7185309" cy="430887"/>
          </a:xfrm>
          <a:prstGeom prst="rect">
            <a:avLst/>
          </a:prstGeom>
          <a:noFill/>
        </p:spPr>
        <p:txBody>
          <a:bodyPr wrap="square" lIns="0" tIns="0" rIns="0" bIns="0" rtlCol="0">
            <a:spAutoFit/>
          </a:bodyPr>
          <a:lstStyle/>
          <a:p>
            <a:pPr marL="0" lvl="0" indent="0">
              <a:lnSpc>
                <a:spcPct val="100000"/>
              </a:lnSpc>
              <a:buFont typeface="Arial" panose="020B0604020202020204" pitchFamily="34" charset="0"/>
              <a:buNone/>
            </a:pPr>
            <a:r>
              <a:rPr lang="en-US" sz="2800">
                <a:latin typeface="+mj-lt"/>
              </a:rPr>
              <a:t>Read me</a:t>
            </a:r>
          </a:p>
        </p:txBody>
      </p:sp>
      <p:pic>
        <p:nvPicPr>
          <p:cNvPr id="15" name="Graphic 14" descr="Information with solid fill">
            <a:extLst>
              <a:ext uri="{FF2B5EF4-FFF2-40B4-BE49-F238E27FC236}">
                <a16:creationId xmlns:a16="http://schemas.microsoft.com/office/drawing/2014/main" id="{7FBDE39A-12E4-0E4D-A6C9-654A03520F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344606"/>
            <a:ext cx="656073" cy="656073"/>
          </a:xfrm>
          <a:prstGeom prst="rect">
            <a:avLst/>
          </a:prstGeom>
        </p:spPr>
      </p:pic>
    </p:spTree>
    <p:extLst>
      <p:ext uri="{BB962C8B-B14F-4D97-AF65-F5344CB8AC3E}">
        <p14:creationId xmlns:p14="http://schemas.microsoft.com/office/powerpoint/2010/main" val="1938687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grpSp>
        <p:nvGrpSpPr>
          <p:cNvPr id="3" name="Bottom nav bleed">
            <a:extLst>
              <a:ext uri="{FF2B5EF4-FFF2-40B4-BE49-F238E27FC236}">
                <a16:creationId xmlns:a16="http://schemas.microsoft.com/office/drawing/2014/main" id="{3DA53362-4130-F744-9D19-DA18480960B3}"/>
              </a:ext>
            </a:extLst>
          </p:cNvPr>
          <p:cNvGrpSpPr/>
          <p:nvPr userDrawn="1"/>
        </p:nvGrpSpPr>
        <p:grpSpPr>
          <a:xfrm>
            <a:off x="-2243390" y="5712206"/>
            <a:ext cx="16678780" cy="669544"/>
            <a:chOff x="-2243390" y="5667494"/>
            <a:chExt cx="16678780" cy="669544"/>
          </a:xfrm>
        </p:grpSpPr>
        <p:sp>
          <p:nvSpPr>
            <p:cNvPr id="4" name="TextBox 3">
              <a:extLst>
                <a:ext uri="{FF2B5EF4-FFF2-40B4-BE49-F238E27FC236}">
                  <a16:creationId xmlns:a16="http://schemas.microsoft.com/office/drawing/2014/main" id="{66A943AC-EA49-044C-BF03-78B6CED0CDC1}"/>
                </a:ext>
              </a:extLst>
            </p:cNvPr>
            <p:cNvSpPr txBox="1"/>
            <p:nvPr userDrawn="1"/>
          </p:nvSpPr>
          <p:spPr>
            <a:xfrm>
              <a:off x="-1905863" y="5667494"/>
              <a:ext cx="1233094" cy="184666"/>
            </a:xfrm>
            <a:prstGeom prst="rect">
              <a:avLst/>
            </a:prstGeom>
            <a:noFill/>
          </p:spPr>
          <p:txBody>
            <a:bodyPr wrap="none" lIns="0" tIns="0" rIns="0" bIns="0" rtlCol="0">
              <a:spAutoFit/>
            </a:bodyPr>
            <a:lstStyle/>
            <a:p>
              <a:pPr algn="l"/>
              <a:r>
                <a:rPr lang="en-US" sz="1200">
                  <a:solidFill>
                    <a:srgbClr val="D83B01"/>
                  </a:solidFill>
                </a:rPr>
                <a:t>Bottom Nav Bleed</a:t>
              </a:r>
            </a:p>
          </p:txBody>
        </p:sp>
        <p:cxnSp>
          <p:nvCxnSpPr>
            <p:cNvPr id="5" name="Straight Connector 4">
              <a:extLst>
                <a:ext uri="{FF2B5EF4-FFF2-40B4-BE49-F238E27FC236}">
                  <a16:creationId xmlns:a16="http://schemas.microsoft.com/office/drawing/2014/main" id="{4B099338-D14D-984C-B38F-FEDD9751CF64}"/>
                </a:ext>
              </a:extLst>
            </p:cNvPr>
            <p:cNvCxnSpPr>
              <a:cxnSpLocks/>
            </p:cNvCxnSpPr>
            <p:nvPr userDrawn="1"/>
          </p:nvCxnSpPr>
          <p:spPr>
            <a:xfrm>
              <a:off x="-2243390" y="5888242"/>
              <a:ext cx="16678780" cy="0"/>
            </a:xfrm>
            <a:prstGeom prst="line">
              <a:avLst/>
            </a:prstGeom>
            <a:ln w="28575">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39CE698-B53D-2241-880A-7FCA109EB1BE}"/>
                </a:ext>
              </a:extLst>
            </p:cNvPr>
            <p:cNvSpPr txBox="1"/>
            <p:nvPr userDrawn="1"/>
          </p:nvSpPr>
          <p:spPr>
            <a:xfrm>
              <a:off x="-1886625" y="5967706"/>
              <a:ext cx="1194622" cy="369332"/>
            </a:xfrm>
            <a:prstGeom prst="rect">
              <a:avLst/>
            </a:prstGeom>
            <a:noFill/>
          </p:spPr>
          <p:txBody>
            <a:bodyPr wrap="none" lIns="0" tIns="0" rIns="0" bIns="0" rtlCol="0">
              <a:spAutoFit/>
            </a:bodyPr>
            <a:lstStyle/>
            <a:p>
              <a:pPr algn="ctr"/>
              <a:r>
                <a:rPr lang="en-US" sz="1200">
                  <a:solidFill>
                    <a:srgbClr val="D83B01"/>
                  </a:solidFill>
                </a:rPr>
                <a:t>No text &amp; images</a:t>
              </a:r>
            </a:p>
            <a:p>
              <a:pPr algn="ctr"/>
              <a:r>
                <a:rPr lang="en-US" sz="1200">
                  <a:solidFill>
                    <a:srgbClr val="D83B01"/>
                  </a:solidFill>
                </a:rPr>
                <a:t>below this line</a:t>
              </a:r>
            </a:p>
          </p:txBody>
        </p:sp>
      </p:grpSp>
      <p:sp>
        <p:nvSpPr>
          <p:cNvPr id="12" name="16:9 Video" hidden="1">
            <a:extLst>
              <a:ext uri="{FF2B5EF4-FFF2-40B4-BE49-F238E27FC236}">
                <a16:creationId xmlns:a16="http://schemas.microsoft.com/office/drawing/2014/main" id="{91464CC1-CB9B-2447-86D4-9E344E2A5E46}"/>
              </a:ext>
            </a:extLst>
          </p:cNvPr>
          <p:cNvSpPr>
            <a:spLocks noChangeAspect="1"/>
          </p:cNvSpPr>
          <p:nvPr userDrawn="1"/>
        </p:nvSpPr>
        <p:spPr bwMode="auto">
          <a:xfrm>
            <a:off x="817417" y="-5452"/>
            <a:ext cx="10557163" cy="59384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Content Placeholder 14">
            <a:extLst>
              <a:ext uri="{FF2B5EF4-FFF2-40B4-BE49-F238E27FC236}">
                <a16:creationId xmlns:a16="http://schemas.microsoft.com/office/drawing/2014/main" id="{A0B232A2-ED98-0C4D-8DF2-A5EDE27CD309}"/>
              </a:ext>
            </a:extLst>
          </p:cNvPr>
          <p:cNvSpPr>
            <a:spLocks noGrp="1"/>
          </p:cNvSpPr>
          <p:nvPr>
            <p:ph sz="quarter" idx="13" hasCustomPrompt="1"/>
          </p:nvPr>
        </p:nvSpPr>
        <p:spPr>
          <a:xfrm>
            <a:off x="817417" y="0"/>
            <a:ext cx="10557163" cy="5932953"/>
          </a:xfrm>
        </p:spPr>
        <p:txBody>
          <a:bodyPr bIns="0" anchor="ctr"/>
          <a:lstStyle>
            <a:lvl1pPr marL="0" indent="0" algn="ctr">
              <a:buNone/>
              <a:defRPr sz="1800" b="0" u="none"/>
            </a:lvl1pPr>
            <a:lvl2pPr marL="228600" indent="0">
              <a:buNone/>
              <a:defRPr/>
            </a:lvl2pPr>
            <a:lvl3pPr marL="457200" indent="0">
              <a:buNone/>
              <a:defRPr/>
            </a:lvl3pPr>
            <a:lvl4pPr marL="661988" indent="0">
              <a:buNone/>
              <a:defRPr/>
            </a:lvl4pPr>
            <a:lvl5pPr marL="855663" indent="0">
              <a:buNone/>
              <a:defRPr/>
            </a:lvl5pPr>
          </a:lstStyle>
          <a:p>
            <a:r>
              <a:rPr lang="en-US"/>
              <a:t>All videos with voice over needs to be accompanied by closed caption (CC)</a:t>
            </a:r>
            <a:br>
              <a:rPr lang="en-US"/>
            </a:br>
            <a:br>
              <a:rPr lang="en-US"/>
            </a:br>
            <a:br>
              <a:rPr lang="en-US"/>
            </a:br>
            <a:br>
              <a:rPr lang="en-US"/>
            </a:br>
            <a:br>
              <a:rPr lang="en-US"/>
            </a:br>
            <a:br>
              <a:rPr lang="en-US"/>
            </a:br>
            <a:br>
              <a:rPr lang="en-US"/>
            </a:br>
            <a:br>
              <a:rPr lang="en-US"/>
            </a:br>
            <a:br>
              <a:rPr lang="en-US"/>
            </a:br>
            <a:r>
              <a:rPr lang="en-US"/>
              <a:t>Please upload video (CC) to Microsoft Stream and then insert an online video here </a:t>
            </a:r>
            <a:br>
              <a:rPr lang="en-US"/>
            </a:br>
            <a:r>
              <a:rPr lang="en-US"/>
              <a:t>Create a proper thumbnail to be used in Four Winds</a:t>
            </a:r>
          </a:p>
        </p:txBody>
      </p:sp>
    </p:spTree>
    <p:extLst>
      <p:ext uri="{BB962C8B-B14F-4D97-AF65-F5344CB8AC3E}">
        <p14:creationId xmlns:p14="http://schemas.microsoft.com/office/powerpoint/2010/main" val="27809454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Takeaways">
    <p:bg>
      <p:bgRef idx="1001">
        <a:schemeClr val="bg2"/>
      </p:bgRef>
    </p:bg>
    <p:spTree>
      <p:nvGrpSpPr>
        <p:cNvPr id="1" name=""/>
        <p:cNvGrpSpPr/>
        <p:nvPr/>
      </p:nvGrpSpPr>
      <p:grpSpPr>
        <a:xfrm>
          <a:off x="0" y="0"/>
          <a:ext cx="0" cy="0"/>
          <a:chOff x="0" y="0"/>
          <a:chExt cx="0" cy="0"/>
        </a:xfrm>
      </p:grpSpPr>
      <p:sp>
        <p:nvSpPr>
          <p:cNvPr id="13" name="Content Placeholder 8">
            <a:extLst>
              <a:ext uri="{FF2B5EF4-FFF2-40B4-BE49-F238E27FC236}">
                <a16:creationId xmlns:a16="http://schemas.microsoft.com/office/drawing/2014/main" id="{C88908C0-E1C6-9D44-AE46-A34870870309}"/>
              </a:ext>
            </a:extLst>
          </p:cNvPr>
          <p:cNvSpPr>
            <a:spLocks noGrp="1"/>
          </p:cNvSpPr>
          <p:nvPr>
            <p:ph sz="quarter" idx="13" hasCustomPrompt="1"/>
          </p:nvPr>
        </p:nvSpPr>
        <p:spPr>
          <a:xfrm>
            <a:off x="6096000" y="487681"/>
            <a:ext cx="5513388" cy="4892038"/>
          </a:xfrm>
        </p:spPr>
        <p:txBody>
          <a:bodyPr anchor="ctr"/>
          <a:lstStyle>
            <a:lvl1pPr marL="0" indent="0" algn="ctr">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MS technology list</a:t>
            </a:r>
          </a:p>
        </p:txBody>
      </p:sp>
      <p:sp>
        <p:nvSpPr>
          <p:cNvPr id="6" name="Content Placeholder 8">
            <a:extLst>
              <a:ext uri="{FF2B5EF4-FFF2-40B4-BE49-F238E27FC236}">
                <a16:creationId xmlns:a16="http://schemas.microsoft.com/office/drawing/2014/main" id="{D4312BEA-4774-E74B-BA9D-FB807148548D}"/>
              </a:ext>
            </a:extLst>
          </p:cNvPr>
          <p:cNvSpPr>
            <a:spLocks noGrp="1"/>
          </p:cNvSpPr>
          <p:nvPr>
            <p:ph sz="quarter" idx="14" hasCustomPrompt="1"/>
          </p:nvPr>
        </p:nvSpPr>
        <p:spPr>
          <a:xfrm>
            <a:off x="548640" y="2779811"/>
            <a:ext cx="4826000" cy="307777"/>
          </a:xfrm>
        </p:spPr>
        <p:txBody>
          <a:bodyPr/>
          <a:lstStyle>
            <a:lvl1pPr marL="0" indent="0">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Story summary</a:t>
            </a:r>
          </a:p>
        </p:txBody>
      </p:sp>
    </p:spTree>
    <p:extLst>
      <p:ext uri="{BB962C8B-B14F-4D97-AF65-F5344CB8AC3E}">
        <p14:creationId xmlns:p14="http://schemas.microsoft.com/office/powerpoint/2010/main" val="7666413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467138"/>
            <a:ext cx="4417695" cy="430887"/>
          </a:xfrm>
        </p:spPr>
        <p:txBody>
          <a:bodyPr/>
          <a:lstStyle/>
          <a:p>
            <a:r>
              <a:rPr lang="en-US"/>
              <a:t>Click to edit Master title style</a:t>
            </a:r>
          </a:p>
        </p:txBody>
      </p:sp>
      <p:sp>
        <p:nvSpPr>
          <p:cNvPr id="11" name="Rectangle 10">
            <a:extLst>
              <a:ext uri="{FF2B5EF4-FFF2-40B4-BE49-F238E27FC236}">
                <a16:creationId xmlns:a16="http://schemas.microsoft.com/office/drawing/2014/main" id="{AEF9D9C4-FEE0-9140-8E09-49E3D935E052}"/>
              </a:ext>
            </a:extLst>
          </p:cNvPr>
          <p:cNvSpPr/>
          <p:nvPr userDrawn="1"/>
        </p:nvSpPr>
        <p:spPr bwMode="auto">
          <a:xfrm flipH="1">
            <a:off x="5602029" y="0"/>
            <a:ext cx="658996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ext Placeholder 15">
            <a:extLst>
              <a:ext uri="{FF2B5EF4-FFF2-40B4-BE49-F238E27FC236}">
                <a16:creationId xmlns:a16="http://schemas.microsoft.com/office/drawing/2014/main" id="{6249060D-B877-C449-A83B-3A2B15B114EA}"/>
              </a:ext>
            </a:extLst>
          </p:cNvPr>
          <p:cNvSpPr>
            <a:spLocks noGrp="1"/>
          </p:cNvSpPr>
          <p:nvPr>
            <p:ph type="body" sz="quarter" idx="10" hasCustomPrompt="1"/>
          </p:nvPr>
        </p:nvSpPr>
        <p:spPr>
          <a:xfrm>
            <a:off x="584200" y="3353776"/>
            <a:ext cx="4418013" cy="311945"/>
          </a:xfrm>
        </p:spPr>
        <p:txBody>
          <a:bodyPr anchor="b" anchorCtr="0"/>
          <a:lstStyle>
            <a:lvl1pPr marL="0" indent="0" algn="ctr">
              <a:buNone/>
              <a:defRPr sz="1800"/>
            </a:lvl1pPr>
          </a:lstStyle>
          <a:p>
            <a:pPr lvl="0"/>
            <a:r>
              <a:rPr lang="en-US"/>
              <a:t>Click to add Demo Name</a:t>
            </a:r>
          </a:p>
        </p:txBody>
      </p:sp>
      <p:sp>
        <p:nvSpPr>
          <p:cNvPr id="21" name="TextBox 20">
            <a:extLst>
              <a:ext uri="{FF2B5EF4-FFF2-40B4-BE49-F238E27FC236}">
                <a16:creationId xmlns:a16="http://schemas.microsoft.com/office/drawing/2014/main" id="{48D7785F-65C9-FB45-8601-EA95910597D2}"/>
              </a:ext>
            </a:extLst>
          </p:cNvPr>
          <p:cNvSpPr txBox="1"/>
          <p:nvPr userDrawn="1"/>
        </p:nvSpPr>
        <p:spPr>
          <a:xfrm>
            <a:off x="4184374" y="2325757"/>
            <a:ext cx="65" cy="307777"/>
          </a:xfrm>
          <a:prstGeom prst="rect">
            <a:avLst/>
          </a:prstGeom>
          <a:noFill/>
        </p:spPr>
        <p:txBody>
          <a:bodyPr wrap="none" lIns="0" tIns="0" rIns="0" bIns="0" rtlCol="0">
            <a:spAutoFit/>
          </a:bodyPr>
          <a:lstStyle/>
          <a:p>
            <a:pPr algn="l"/>
            <a:endParaRPr lang="en-US" sz="2000" err="1"/>
          </a:p>
        </p:txBody>
      </p:sp>
      <p:pic>
        <p:nvPicPr>
          <p:cNvPr id="37" name="Graphic 36">
            <a:extLst>
              <a:ext uri="{FF2B5EF4-FFF2-40B4-BE49-F238E27FC236}">
                <a16:creationId xmlns:a16="http://schemas.microsoft.com/office/drawing/2014/main" id="{4D31A56D-FF4E-9B48-AC2F-8A637CE5C2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41275" y="2164310"/>
            <a:ext cx="720808" cy="720808"/>
          </a:xfrm>
          <a:prstGeom prst="rect">
            <a:avLst/>
          </a:prstGeom>
        </p:spPr>
      </p:pic>
      <p:sp>
        <p:nvSpPr>
          <p:cNvPr id="40" name="Content Placeholder 14">
            <a:extLst>
              <a:ext uri="{FF2B5EF4-FFF2-40B4-BE49-F238E27FC236}">
                <a16:creationId xmlns:a16="http://schemas.microsoft.com/office/drawing/2014/main" id="{51DACEF4-FE26-A945-A81B-7185C60CAA1B}"/>
              </a:ext>
            </a:extLst>
          </p:cNvPr>
          <p:cNvSpPr>
            <a:spLocks noGrp="1"/>
          </p:cNvSpPr>
          <p:nvPr>
            <p:ph sz="quarter" idx="13" hasCustomPrompt="1"/>
          </p:nvPr>
        </p:nvSpPr>
        <p:spPr>
          <a:xfrm>
            <a:off x="6169794" y="1436688"/>
            <a:ext cx="5439594" cy="3741704"/>
          </a:xfrm>
        </p:spPr>
        <p:txBody>
          <a:bodyPr bIns="2377440" anchor="ctr"/>
          <a:lstStyle>
            <a:lvl1pPr marL="0" indent="0" algn="ctr">
              <a:buNone/>
              <a:defRPr sz="1800"/>
            </a:lvl1pPr>
            <a:lvl2pPr marL="228600" indent="0">
              <a:buNone/>
              <a:defRPr/>
            </a:lvl2pPr>
            <a:lvl3pPr marL="457200" indent="0">
              <a:buNone/>
              <a:defRPr/>
            </a:lvl3pPr>
            <a:lvl4pPr marL="661988" indent="0">
              <a:buNone/>
              <a:defRPr/>
            </a:lvl4pPr>
            <a:lvl5pPr marL="855663" indent="0">
              <a:buNone/>
              <a:defRPr/>
            </a:lvl5pPr>
          </a:lstStyle>
          <a:p>
            <a:r>
              <a:rPr lang="en-US"/>
              <a:t>Please insert image or thumbnail </a:t>
            </a:r>
            <a:br>
              <a:rPr lang="en-US"/>
            </a:br>
            <a:r>
              <a:rPr lang="en-US"/>
              <a:t>of interactive demo here.</a:t>
            </a:r>
          </a:p>
        </p:txBody>
      </p:sp>
    </p:spTree>
    <p:extLst>
      <p:ext uri="{BB962C8B-B14F-4D97-AF65-F5344CB8AC3E}">
        <p14:creationId xmlns:p14="http://schemas.microsoft.com/office/powerpoint/2010/main" val="2264598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60">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verview Slid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dpi="0" rotWithShape="1">
            <a:blip r:embed="rId2">
              <a:alphaModFix/>
            </a:blip>
            <a:srcRect/>
            <a:stretch>
              <a:fillRect/>
            </a:stretch>
          </a:blipFill>
        </p:spPr>
        <p:txBody>
          <a:bodyPr wrap="none" tIns="5852160" bIns="0" anchor="ctr">
            <a:noAutofit/>
          </a:bodyPr>
          <a:lstStyle>
            <a:lvl1pPr marL="0" indent="0" algn="ctr">
              <a:buNone/>
              <a:defRPr sz="1400" b="1">
                <a:solidFill>
                  <a:srgbClr val="000000"/>
                </a:solidFill>
              </a:defRPr>
            </a:lvl1pPr>
          </a:lstStyle>
          <a:p>
            <a:r>
              <a:rPr lang="en-US"/>
              <a:t>Drag &amp; drop photo here to change background image</a:t>
            </a:r>
          </a:p>
        </p:txBody>
      </p:sp>
      <p:sp>
        <p:nvSpPr>
          <p:cNvPr id="15" name="Title 2">
            <a:extLst>
              <a:ext uri="{FF2B5EF4-FFF2-40B4-BE49-F238E27FC236}">
                <a16:creationId xmlns:a16="http://schemas.microsoft.com/office/drawing/2014/main" id="{C9731B56-D8C7-674A-916C-0C4BBF4EC9C5}"/>
              </a:ext>
            </a:extLst>
          </p:cNvPr>
          <p:cNvSpPr>
            <a:spLocks noGrp="1"/>
          </p:cNvSpPr>
          <p:nvPr>
            <p:ph type="title" hasCustomPrompt="1"/>
          </p:nvPr>
        </p:nvSpPr>
        <p:spPr bwMode="ltGray">
          <a:xfrm>
            <a:off x="0" y="0"/>
            <a:ext cx="12192000" cy="5905500"/>
          </a:xfrm>
          <a:gradFill flip="none" rotWithShape="1">
            <a:gsLst>
              <a:gs pos="40000">
                <a:srgbClr val="000000">
                  <a:alpha val="70000"/>
                </a:srgbClr>
              </a:gs>
              <a:gs pos="100000">
                <a:srgbClr val="000000">
                  <a:alpha val="0"/>
                </a:srgbClr>
              </a:gs>
            </a:gsLst>
            <a:lin ang="5400000" scaled="1"/>
            <a:tileRect/>
          </a:gradFill>
        </p:spPr>
        <p:txBody>
          <a:bodyPr lIns="0" tIns="0" rIns="0" bIns="2743200" anchor="ctr" anchorCtr="0">
            <a:noAutofit/>
          </a:bodyPr>
          <a:lstStyle>
            <a:lvl1pPr algn="ctr">
              <a:defRPr sz="4000" spc="0">
                <a:solidFill>
                  <a:srgbClr val="FFFFFF"/>
                </a:solidFill>
              </a:defRPr>
            </a:lvl1pPr>
          </a:lstStyle>
          <a:p>
            <a:r>
              <a:rPr lang="en-US"/>
              <a:t>Story Name</a:t>
            </a:r>
          </a:p>
        </p:txBody>
      </p:sp>
      <p:sp>
        <p:nvSpPr>
          <p:cNvPr id="9" name="Text Placeholder 2">
            <a:extLst>
              <a:ext uri="{FF2B5EF4-FFF2-40B4-BE49-F238E27FC236}">
                <a16:creationId xmlns:a16="http://schemas.microsoft.com/office/drawing/2014/main" id="{FD46A4DD-39E0-6A4F-B81F-F7C7E7773B20}"/>
              </a:ext>
            </a:extLst>
          </p:cNvPr>
          <p:cNvSpPr>
            <a:spLocks noGrp="1"/>
          </p:cNvSpPr>
          <p:nvPr>
            <p:ph type="body" sz="quarter" idx="12" hasCustomPrompt="1"/>
          </p:nvPr>
        </p:nvSpPr>
        <p:spPr>
          <a:xfrm>
            <a:off x="1898904" y="2286000"/>
            <a:ext cx="8394192" cy="1170432"/>
          </a:xfrm>
          <a:solidFill>
            <a:schemeClr val="tx1">
              <a:alpha val="50000"/>
            </a:schemeClr>
          </a:solidFill>
        </p:spPr>
        <p:txBody>
          <a:bodyPr wrap="square" lIns="457200" tIns="457200" rIns="457200" bIns="457200" anchor="t">
            <a:spAutoFit/>
          </a:bodyPr>
          <a:lstStyle>
            <a:lvl1pPr marL="0" indent="0" algn="just">
              <a:spcAft>
                <a:spcPts val="600"/>
              </a:spcAft>
              <a:buFont typeface="Wingdings" panose="05000000000000000000" pitchFamily="2" charset="2"/>
              <a:buNone/>
              <a:defRPr sz="1600">
                <a:solidFill>
                  <a:schemeClr val="bg1"/>
                </a:solidFill>
              </a:defRPr>
            </a:lvl1pPr>
          </a:lstStyle>
          <a:p>
            <a:pPr lvl="0"/>
            <a:r>
              <a:rPr lang="en-US"/>
              <a:t>Story details</a:t>
            </a:r>
          </a:p>
        </p:txBody>
      </p:sp>
    </p:spTree>
    <p:extLst>
      <p:ext uri="{BB962C8B-B14F-4D97-AF65-F5344CB8AC3E}">
        <p14:creationId xmlns:p14="http://schemas.microsoft.com/office/powerpoint/2010/main" val="19818901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p:txBody>
          <a:bodyPr/>
          <a:lstStyle/>
          <a:p>
            <a:r>
              <a:rPr lang="en-US"/>
              <a:t>Click To Add Title</a:t>
            </a:r>
          </a:p>
        </p:txBody>
      </p:sp>
      <p:sp>
        <p:nvSpPr>
          <p:cNvPr id="4" name="Text Placeholder 3"/>
          <p:cNvSpPr>
            <a:spLocks noGrp="1"/>
          </p:cNvSpPr>
          <p:nvPr>
            <p:ph type="body" sz="quarter" idx="10" hasCustomPrompt="1"/>
          </p:nvPr>
        </p:nvSpPr>
        <p:spPr>
          <a:xfrm>
            <a:off x="586390" y="1219206"/>
            <a:ext cx="11018520" cy="430887"/>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add text</a:t>
            </a:r>
          </a:p>
        </p:txBody>
      </p:sp>
    </p:spTree>
    <p:extLst>
      <p:ext uri="{BB962C8B-B14F-4D97-AF65-F5344CB8AC3E}">
        <p14:creationId xmlns:p14="http://schemas.microsoft.com/office/powerpoint/2010/main" val="51095254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12" name="16:9 Video" hidden="1">
            <a:extLst>
              <a:ext uri="{FF2B5EF4-FFF2-40B4-BE49-F238E27FC236}">
                <a16:creationId xmlns:a16="http://schemas.microsoft.com/office/drawing/2014/main" id="{91464CC1-CB9B-2447-86D4-9E344E2A5E46}"/>
              </a:ext>
            </a:extLst>
          </p:cNvPr>
          <p:cNvSpPr>
            <a:spLocks noChangeAspect="1"/>
          </p:cNvSpPr>
          <p:nvPr userDrawn="1"/>
        </p:nvSpPr>
        <p:spPr bwMode="auto">
          <a:xfrm>
            <a:off x="817417" y="-5452"/>
            <a:ext cx="10557163" cy="59384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Content Placeholder 14">
            <a:extLst>
              <a:ext uri="{FF2B5EF4-FFF2-40B4-BE49-F238E27FC236}">
                <a16:creationId xmlns:a16="http://schemas.microsoft.com/office/drawing/2014/main" id="{A0B232A2-ED98-0C4D-8DF2-A5EDE27CD309}"/>
              </a:ext>
            </a:extLst>
          </p:cNvPr>
          <p:cNvSpPr>
            <a:spLocks noGrp="1"/>
          </p:cNvSpPr>
          <p:nvPr>
            <p:ph sz="quarter" idx="13" hasCustomPrompt="1"/>
          </p:nvPr>
        </p:nvSpPr>
        <p:spPr>
          <a:xfrm>
            <a:off x="817417" y="0"/>
            <a:ext cx="10557163" cy="5932953"/>
          </a:xfrm>
        </p:spPr>
        <p:txBody>
          <a:bodyPr bIns="2377440" anchor="ctr"/>
          <a:lstStyle>
            <a:lvl1pPr marL="0" indent="0" algn="ctr">
              <a:buNone/>
              <a:defRPr sz="1800"/>
            </a:lvl1pPr>
            <a:lvl2pPr marL="228600" indent="0">
              <a:buNone/>
              <a:defRPr/>
            </a:lvl2pPr>
            <a:lvl3pPr marL="457200" indent="0">
              <a:buNone/>
              <a:defRPr/>
            </a:lvl3pPr>
            <a:lvl4pPr marL="661988" indent="0">
              <a:buNone/>
              <a:defRPr/>
            </a:lvl4pPr>
            <a:lvl5pPr marL="855663" indent="0">
              <a:buNone/>
              <a:defRPr/>
            </a:lvl5pPr>
          </a:lstStyle>
          <a:p>
            <a:r>
              <a:rPr lang="en-US"/>
              <a:t>Please upload video to Stream and then insert an online video here </a:t>
            </a:r>
            <a:br>
              <a:rPr lang="en-US"/>
            </a:br>
            <a:r>
              <a:rPr lang="en-US"/>
              <a:t>Create a proper thumbnail to be used in Four Winds</a:t>
            </a:r>
          </a:p>
        </p:txBody>
      </p:sp>
    </p:spTree>
    <p:extLst>
      <p:ext uri="{BB962C8B-B14F-4D97-AF65-F5344CB8AC3E}">
        <p14:creationId xmlns:p14="http://schemas.microsoft.com/office/powerpoint/2010/main" val="4178281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Takeaways">
    <p:bg>
      <p:bgRef idx="1001">
        <a:schemeClr val="bg2"/>
      </p:bgRef>
    </p:bg>
    <p:spTree>
      <p:nvGrpSpPr>
        <p:cNvPr id="1" name=""/>
        <p:cNvGrpSpPr/>
        <p:nvPr/>
      </p:nvGrpSpPr>
      <p:grpSpPr>
        <a:xfrm>
          <a:off x="0" y="0"/>
          <a:ext cx="0" cy="0"/>
          <a:chOff x="0" y="0"/>
          <a:chExt cx="0" cy="0"/>
        </a:xfrm>
      </p:grpSpPr>
      <p:sp>
        <p:nvSpPr>
          <p:cNvPr id="13" name="Content Placeholder 8">
            <a:extLst>
              <a:ext uri="{FF2B5EF4-FFF2-40B4-BE49-F238E27FC236}">
                <a16:creationId xmlns:a16="http://schemas.microsoft.com/office/drawing/2014/main" id="{C88908C0-E1C6-9D44-AE46-A34870870309}"/>
              </a:ext>
            </a:extLst>
          </p:cNvPr>
          <p:cNvSpPr>
            <a:spLocks noGrp="1"/>
          </p:cNvSpPr>
          <p:nvPr>
            <p:ph sz="quarter" idx="13" hasCustomPrompt="1"/>
          </p:nvPr>
        </p:nvSpPr>
        <p:spPr>
          <a:xfrm>
            <a:off x="6096000" y="487681"/>
            <a:ext cx="5513388" cy="4892038"/>
          </a:xfrm>
        </p:spPr>
        <p:txBody>
          <a:bodyPr anchor="ctr"/>
          <a:lstStyle>
            <a:lvl1pPr marL="0" indent="0" algn="ctr">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MS technology list</a:t>
            </a:r>
          </a:p>
        </p:txBody>
      </p:sp>
      <p:sp>
        <p:nvSpPr>
          <p:cNvPr id="6" name="Content Placeholder 8">
            <a:extLst>
              <a:ext uri="{FF2B5EF4-FFF2-40B4-BE49-F238E27FC236}">
                <a16:creationId xmlns:a16="http://schemas.microsoft.com/office/drawing/2014/main" id="{D4312BEA-4774-E74B-BA9D-FB807148548D}"/>
              </a:ext>
            </a:extLst>
          </p:cNvPr>
          <p:cNvSpPr>
            <a:spLocks noGrp="1"/>
          </p:cNvSpPr>
          <p:nvPr>
            <p:ph sz="quarter" idx="14" hasCustomPrompt="1"/>
          </p:nvPr>
        </p:nvSpPr>
        <p:spPr>
          <a:xfrm>
            <a:off x="548640" y="2779811"/>
            <a:ext cx="4826000" cy="307777"/>
          </a:xfrm>
        </p:spPr>
        <p:txBody>
          <a:bodyPr/>
          <a:lstStyle>
            <a:lvl1pPr marL="0" indent="0">
              <a:buNone/>
              <a:defRPr sz="2000"/>
            </a:lvl1pPr>
            <a:lvl2pPr marL="228600" indent="0">
              <a:buNone/>
              <a:defRPr/>
            </a:lvl2pPr>
            <a:lvl3pPr marL="457200" indent="0">
              <a:buNone/>
              <a:defRPr/>
            </a:lvl3pPr>
            <a:lvl4pPr marL="661988" indent="0">
              <a:buNone/>
              <a:defRPr/>
            </a:lvl4pPr>
            <a:lvl5pPr marL="855663" indent="0">
              <a:buNone/>
              <a:defRPr/>
            </a:lvl5pPr>
          </a:lstStyle>
          <a:p>
            <a:pPr lvl="0"/>
            <a:r>
              <a:rPr lang="en-US"/>
              <a:t>Story summary</a:t>
            </a:r>
          </a:p>
        </p:txBody>
      </p:sp>
    </p:spTree>
    <p:extLst>
      <p:ext uri="{BB962C8B-B14F-4D97-AF65-F5344CB8AC3E}">
        <p14:creationId xmlns:p14="http://schemas.microsoft.com/office/powerpoint/2010/main" val="1886952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for Feedback/Commen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hasCustomPrompt="1"/>
          </p:nvPr>
        </p:nvSpPr>
        <p:spPr bwMode="white">
          <a:xfrm>
            <a:off x="588263" y="457200"/>
            <a:ext cx="11018520" cy="430887"/>
          </a:xfrm>
        </p:spPr>
        <p:txBody>
          <a:bodyPr/>
          <a:lstStyle>
            <a:lvl1pPr>
              <a:defRPr b="0">
                <a:solidFill>
                  <a:schemeClr val="tx1"/>
                </a:solidFill>
                <a:latin typeface="+mj-lt"/>
                <a:ea typeface="Segoe UI" pitchFamily="34" charset="0"/>
                <a:cs typeface="Segoe UI" pitchFamily="34" charset="0"/>
              </a:defRPr>
            </a:lvl1pPr>
          </a:lstStyle>
          <a:p>
            <a:r>
              <a:rPr lang="en-US"/>
              <a:t>Click to edit tit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46221"/>
          </a:xfrm>
        </p:spPr>
        <p:txBody>
          <a:bodyPr>
            <a:spAutoFit/>
          </a:bodyPr>
          <a:lstStyle>
            <a:lvl1pPr>
              <a:defRPr sz="1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p:txBody>
      </p:sp>
      <p:sp>
        <p:nvSpPr>
          <p:cNvPr id="2" name="Rectangle 1">
            <a:extLst>
              <a:ext uri="{FF2B5EF4-FFF2-40B4-BE49-F238E27FC236}">
                <a16:creationId xmlns:a16="http://schemas.microsoft.com/office/drawing/2014/main" id="{18CADA32-F26F-F04C-9672-0A8B222A10CC}"/>
              </a:ext>
            </a:extLst>
          </p:cNvPr>
          <p:cNvSpPr/>
          <p:nvPr userDrawn="1"/>
        </p:nvSpPr>
        <p:spPr bwMode="auto">
          <a:xfrm>
            <a:off x="0" y="6269037"/>
            <a:ext cx="12192000" cy="588963"/>
          </a:xfrm>
          <a:prstGeom prst="rect">
            <a:avLst/>
          </a:prstGeom>
          <a:solidFill>
            <a:srgbClr val="FDFF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Bottom nav" hidden="1">
            <a:extLst>
              <a:ext uri="{FF2B5EF4-FFF2-40B4-BE49-F238E27FC236}">
                <a16:creationId xmlns:a16="http://schemas.microsoft.com/office/drawing/2014/main" id="{AA07EBE7-989D-7F41-B370-AB31F513C535}"/>
              </a:ext>
            </a:extLst>
          </p:cNvPr>
          <p:cNvSpPr/>
          <p:nvPr userDrawn="1"/>
        </p:nvSpPr>
        <p:spPr bwMode="auto">
          <a:xfrm flipV="1">
            <a:off x="1" y="5905498"/>
            <a:ext cx="12192000" cy="9525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51895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ad me">
    <p:bg bwMode="gray">
      <p:bgRef idx="1001">
        <a:schemeClr val="bg1"/>
      </p:bgRef>
    </p:bg>
    <p:spTree>
      <p:nvGrpSpPr>
        <p:cNvPr id="1" name=""/>
        <p:cNvGrpSpPr/>
        <p:nvPr/>
      </p:nvGrpSpPr>
      <p:grpSpPr>
        <a:xfrm>
          <a:off x="0" y="0"/>
          <a:ext cx="0" cy="0"/>
          <a:chOff x="0" y="0"/>
          <a:chExt cx="0" cy="0"/>
        </a:xfrm>
      </p:grpSpPr>
      <p:sp>
        <p:nvSpPr>
          <p:cNvPr id="12" name="Bottom nav" hidden="1">
            <a:extLst>
              <a:ext uri="{FF2B5EF4-FFF2-40B4-BE49-F238E27FC236}">
                <a16:creationId xmlns:a16="http://schemas.microsoft.com/office/drawing/2014/main" id="{AA07EBE7-989D-7F41-B370-AB31F513C535}"/>
              </a:ext>
            </a:extLst>
          </p:cNvPr>
          <p:cNvSpPr/>
          <p:nvPr userDrawn="1"/>
        </p:nvSpPr>
        <p:spPr bwMode="auto">
          <a:xfrm flipV="1">
            <a:off x="1" y="5905498"/>
            <a:ext cx="12192000" cy="9525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Box 3">
            <a:extLst>
              <a:ext uri="{FF2B5EF4-FFF2-40B4-BE49-F238E27FC236}">
                <a16:creationId xmlns:a16="http://schemas.microsoft.com/office/drawing/2014/main" id="{0ABAEB74-DA95-1447-B90A-033F99BFB3E6}"/>
              </a:ext>
            </a:extLst>
          </p:cNvPr>
          <p:cNvSpPr txBox="1"/>
          <p:nvPr userDrawn="1"/>
        </p:nvSpPr>
        <p:spPr>
          <a:xfrm>
            <a:off x="584200" y="1403124"/>
            <a:ext cx="7185308" cy="1610377"/>
          </a:xfrm>
          <a:prstGeom prst="rect">
            <a:avLst/>
          </a:prstGeom>
          <a:noFill/>
        </p:spPr>
        <p:txBody>
          <a:bodyPr wrap="square" lIns="0" tIns="0" rIns="0" bIns="0" rtlCol="0">
            <a:spAutoFit/>
          </a:bodyPr>
          <a:lstStyle/>
          <a:p>
            <a:pPr marL="285750" lvl="0" indent="-285750">
              <a:lnSpc>
                <a:spcPct val="150000"/>
              </a:lnSpc>
              <a:buFont typeface="Arial" panose="020B0604020202020204" pitchFamily="34" charset="0"/>
              <a:buChar char="•"/>
            </a:pPr>
            <a:r>
              <a:rPr lang="en-US" sz="1800"/>
              <a:t>Please be sure to view the notes section of the slides. They will contain talking points.</a:t>
            </a:r>
          </a:p>
          <a:p>
            <a:pPr marL="285750" lvl="0" indent="-285750">
              <a:lnSpc>
                <a:spcPct val="150000"/>
              </a:lnSpc>
              <a:buFont typeface="Arial" panose="020B0604020202020204" pitchFamily="34" charset="0"/>
              <a:buChar char="•"/>
            </a:pPr>
            <a:r>
              <a:rPr lang="en-US" sz="1800"/>
              <a:t>This deck is mostly customer ready, but you should remove the comments in the notes section before you give them to a customer.</a:t>
            </a:r>
          </a:p>
        </p:txBody>
      </p:sp>
      <p:sp>
        <p:nvSpPr>
          <p:cNvPr id="7" name="TextBox 6">
            <a:extLst>
              <a:ext uri="{FF2B5EF4-FFF2-40B4-BE49-F238E27FC236}">
                <a16:creationId xmlns:a16="http://schemas.microsoft.com/office/drawing/2014/main" id="{F496D97E-0B1B-5348-8C20-FD9635868838}"/>
              </a:ext>
            </a:extLst>
          </p:cNvPr>
          <p:cNvSpPr txBox="1"/>
          <p:nvPr userDrawn="1"/>
        </p:nvSpPr>
        <p:spPr>
          <a:xfrm>
            <a:off x="1324708" y="457200"/>
            <a:ext cx="7185309" cy="430887"/>
          </a:xfrm>
          <a:prstGeom prst="rect">
            <a:avLst/>
          </a:prstGeom>
          <a:noFill/>
        </p:spPr>
        <p:txBody>
          <a:bodyPr wrap="square" lIns="0" tIns="0" rIns="0" bIns="0" rtlCol="0">
            <a:spAutoFit/>
          </a:bodyPr>
          <a:lstStyle/>
          <a:p>
            <a:pPr marL="0" lvl="0" indent="0">
              <a:lnSpc>
                <a:spcPct val="100000"/>
              </a:lnSpc>
              <a:buFont typeface="Arial" panose="020B0604020202020204" pitchFamily="34" charset="0"/>
              <a:buNone/>
            </a:pPr>
            <a:r>
              <a:rPr lang="en-US" sz="2800">
                <a:latin typeface="+mj-lt"/>
              </a:rPr>
              <a:t>Read me</a:t>
            </a:r>
          </a:p>
        </p:txBody>
      </p:sp>
      <p:pic>
        <p:nvPicPr>
          <p:cNvPr id="15" name="Graphic 14" descr="Information with solid fill">
            <a:extLst>
              <a:ext uri="{FF2B5EF4-FFF2-40B4-BE49-F238E27FC236}">
                <a16:creationId xmlns:a16="http://schemas.microsoft.com/office/drawing/2014/main" id="{7FBDE39A-12E4-0E4D-A6C9-654A03520F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344606"/>
            <a:ext cx="656073" cy="656073"/>
          </a:xfrm>
          <a:prstGeom prst="rect">
            <a:avLst/>
          </a:prstGeom>
        </p:spPr>
      </p:pic>
    </p:spTree>
    <p:extLst>
      <p:ext uri="{BB962C8B-B14F-4D97-AF65-F5344CB8AC3E}">
        <p14:creationId xmlns:p14="http://schemas.microsoft.com/office/powerpoint/2010/main" val="1596181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view Slid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dpi="0" rotWithShape="1">
            <a:blip r:embed="rId2">
              <a:alphaModFix/>
            </a:blip>
            <a:srcRect/>
            <a:stretch>
              <a:fillRect/>
            </a:stretch>
          </a:blipFill>
        </p:spPr>
        <p:txBody>
          <a:bodyPr wrap="none" tIns="5852160" bIns="0" anchor="ctr">
            <a:noAutofit/>
          </a:bodyPr>
          <a:lstStyle>
            <a:lvl1pPr marL="0" indent="0" algn="ctr">
              <a:buNone/>
              <a:defRPr sz="1400" b="1">
                <a:solidFill>
                  <a:srgbClr val="000000"/>
                </a:solidFill>
              </a:defRPr>
            </a:lvl1pPr>
          </a:lstStyle>
          <a:p>
            <a:r>
              <a:rPr lang="en-US"/>
              <a:t>Drag &amp; drop photo here to change background image</a:t>
            </a:r>
          </a:p>
        </p:txBody>
      </p:sp>
      <p:sp>
        <p:nvSpPr>
          <p:cNvPr id="15" name="Title 2">
            <a:extLst>
              <a:ext uri="{FF2B5EF4-FFF2-40B4-BE49-F238E27FC236}">
                <a16:creationId xmlns:a16="http://schemas.microsoft.com/office/drawing/2014/main" id="{C9731B56-D8C7-674A-916C-0C4BBF4EC9C5}"/>
              </a:ext>
            </a:extLst>
          </p:cNvPr>
          <p:cNvSpPr>
            <a:spLocks noGrp="1"/>
          </p:cNvSpPr>
          <p:nvPr>
            <p:ph type="title" hasCustomPrompt="1"/>
          </p:nvPr>
        </p:nvSpPr>
        <p:spPr bwMode="ltGray">
          <a:xfrm>
            <a:off x="0" y="0"/>
            <a:ext cx="12192000" cy="5905500"/>
          </a:xfrm>
          <a:gradFill flip="none" rotWithShape="1">
            <a:gsLst>
              <a:gs pos="40000">
                <a:srgbClr val="000000">
                  <a:alpha val="70000"/>
                </a:srgbClr>
              </a:gs>
              <a:gs pos="100000">
                <a:srgbClr val="000000">
                  <a:alpha val="0"/>
                </a:srgbClr>
              </a:gs>
            </a:gsLst>
            <a:lin ang="5400000" scaled="1"/>
            <a:tileRect/>
          </a:gradFill>
        </p:spPr>
        <p:txBody>
          <a:bodyPr lIns="0" tIns="0" rIns="0" bIns="2743200" anchor="ctr" anchorCtr="0">
            <a:noAutofit/>
          </a:bodyPr>
          <a:lstStyle>
            <a:lvl1pPr algn="ctr">
              <a:defRPr sz="4000" spc="0">
                <a:solidFill>
                  <a:srgbClr val="FFFFFF"/>
                </a:solidFill>
              </a:defRPr>
            </a:lvl1pPr>
          </a:lstStyle>
          <a:p>
            <a:r>
              <a:rPr lang="en-US"/>
              <a:t>Story Name</a:t>
            </a:r>
          </a:p>
        </p:txBody>
      </p:sp>
      <p:sp>
        <p:nvSpPr>
          <p:cNvPr id="9" name="Text Placeholder 2">
            <a:extLst>
              <a:ext uri="{FF2B5EF4-FFF2-40B4-BE49-F238E27FC236}">
                <a16:creationId xmlns:a16="http://schemas.microsoft.com/office/drawing/2014/main" id="{FD46A4DD-39E0-6A4F-B81F-F7C7E7773B20}"/>
              </a:ext>
            </a:extLst>
          </p:cNvPr>
          <p:cNvSpPr>
            <a:spLocks noGrp="1"/>
          </p:cNvSpPr>
          <p:nvPr>
            <p:ph type="body" sz="quarter" idx="12" hasCustomPrompt="1"/>
          </p:nvPr>
        </p:nvSpPr>
        <p:spPr>
          <a:xfrm>
            <a:off x="1898904" y="2286000"/>
            <a:ext cx="8394192" cy="1170432"/>
          </a:xfrm>
          <a:solidFill>
            <a:schemeClr val="tx1">
              <a:alpha val="50000"/>
            </a:schemeClr>
          </a:solidFill>
        </p:spPr>
        <p:txBody>
          <a:bodyPr wrap="square" lIns="457200" tIns="457200" rIns="457200" bIns="457200" anchor="t">
            <a:spAutoFit/>
          </a:bodyPr>
          <a:lstStyle>
            <a:lvl1pPr marL="0" indent="0" algn="just">
              <a:spcAft>
                <a:spcPts val="600"/>
              </a:spcAft>
              <a:buFont typeface="Wingdings" panose="05000000000000000000" pitchFamily="2" charset="2"/>
              <a:buNone/>
              <a:defRPr sz="1600">
                <a:solidFill>
                  <a:schemeClr val="bg1"/>
                </a:solidFill>
              </a:defRPr>
            </a:lvl1pPr>
          </a:lstStyle>
          <a:p>
            <a:pPr lvl="0"/>
            <a:r>
              <a:rPr lang="en-US"/>
              <a:t>Story details</a:t>
            </a:r>
          </a:p>
        </p:txBody>
      </p:sp>
    </p:spTree>
    <p:extLst>
      <p:ext uri="{BB962C8B-B14F-4D97-AF65-F5344CB8AC3E}">
        <p14:creationId xmlns:p14="http://schemas.microsoft.com/office/powerpoint/2010/main" val="13679446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p:txBody>
          <a:bodyPr/>
          <a:lstStyle/>
          <a:p>
            <a:r>
              <a:rPr lang="en-US"/>
              <a:t>Click To Add Title</a:t>
            </a:r>
          </a:p>
        </p:txBody>
      </p:sp>
      <p:sp>
        <p:nvSpPr>
          <p:cNvPr id="4" name="Text Placeholder 3"/>
          <p:cNvSpPr>
            <a:spLocks noGrp="1"/>
          </p:cNvSpPr>
          <p:nvPr>
            <p:ph type="body" sz="quarter" idx="10" hasCustomPrompt="1"/>
          </p:nvPr>
        </p:nvSpPr>
        <p:spPr>
          <a:xfrm>
            <a:off x="586390" y="1219206"/>
            <a:ext cx="11018520" cy="430887"/>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add text</a:t>
            </a:r>
          </a:p>
        </p:txBody>
      </p:sp>
    </p:spTree>
    <p:extLst>
      <p:ext uri="{BB962C8B-B14F-4D97-AF65-F5344CB8AC3E}">
        <p14:creationId xmlns:p14="http://schemas.microsoft.com/office/powerpoint/2010/main" val="16199558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2.emf"/><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6" name="4W_Guideline" hidden="1">
            <a:extLst>
              <a:ext uri="{FF2B5EF4-FFF2-40B4-BE49-F238E27FC236}">
                <a16:creationId xmlns:a16="http://schemas.microsoft.com/office/drawing/2014/main" id="{5CD081D9-E718-4442-ACB6-7CB94AD3FF0D}"/>
              </a:ext>
            </a:extLst>
          </p:cNvPr>
          <p:cNvPicPr>
            <a:picLocks noChangeAspect="1"/>
          </p:cNvPicPr>
          <p:nvPr userDrawn="1"/>
        </p:nvPicPr>
        <p:blipFill>
          <a:blip r:embed="rId7"/>
          <a:stretch>
            <a:fillRect/>
          </a:stretch>
        </p:blipFill>
        <p:spPr>
          <a:xfrm>
            <a:off x="-3048" y="0"/>
            <a:ext cx="12192000" cy="6858000"/>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246221"/>
          </a:xfrm>
          <a:prstGeom prst="rect">
            <a:avLst/>
          </a:prstGeom>
        </p:spPr>
        <p:txBody>
          <a:bodyPr vert="horz" wrap="square" lIns="0" tIns="0" rIns="0" bIns="0" rtlCol="0">
            <a:spAutoFit/>
          </a:bodyPr>
          <a:lstStyle/>
          <a:p>
            <a:pPr lvl="0"/>
            <a:r>
              <a:rPr lang="en-US"/>
              <a:t>Click to edit Master text styles</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hidden="1">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513726"/>
      </p:ext>
    </p:extLst>
  </p:cSld>
  <p:clrMap bg1="lt1" tx1="dk1" bg2="lt2" tx2="dk2" accent1="accent1" accent2="accent2" accent3="accent3" accent4="accent4" accent5="accent5" accent6="accent6" hlink="hlink" folHlink="folHlink"/>
  <p:sldLayoutIdLst>
    <p:sldLayoutId id="2147485515" r:id="rId1"/>
    <p:sldLayoutId id="2147485512" r:id="rId2"/>
    <p:sldLayoutId id="2147485514" r:id="rId3"/>
    <p:sldLayoutId id="2147485513" r:id="rId4"/>
    <p:sldLayoutId id="2147485509" r:id="rId5"/>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25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guide id="31" orient="horz" pos="3720" userDrawn="1">
          <p15:clr>
            <a:srgbClr val="F26B43"/>
          </p15:clr>
        </p15:guide>
        <p15:guide id="32" orient="horz" pos="1848" userDrawn="1">
          <p15:clr>
            <a:srgbClr val="F26B43"/>
          </p15:clr>
        </p15:guide>
        <p15:guide id="33"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6" name="4W_Guideline" hidden="1">
            <a:extLst>
              <a:ext uri="{FF2B5EF4-FFF2-40B4-BE49-F238E27FC236}">
                <a16:creationId xmlns:a16="http://schemas.microsoft.com/office/drawing/2014/main" id="{5CD081D9-E718-4442-ACB6-7CB94AD3FF0D}"/>
              </a:ext>
            </a:extLst>
          </p:cNvPr>
          <p:cNvPicPr>
            <a:picLocks noChangeAspect="1"/>
          </p:cNvPicPr>
          <p:nvPr userDrawn="1"/>
        </p:nvPicPr>
        <p:blipFill>
          <a:blip r:embed="rId9"/>
          <a:stretch>
            <a:fillRect/>
          </a:stretch>
        </p:blipFill>
        <p:spPr>
          <a:xfrm>
            <a:off x="-3048" y="0"/>
            <a:ext cx="12192000" cy="6858000"/>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246221"/>
          </a:xfrm>
          <a:prstGeom prst="rect">
            <a:avLst/>
          </a:prstGeom>
        </p:spPr>
        <p:txBody>
          <a:bodyPr vert="horz" wrap="square" lIns="0" tIns="0" rIns="0" bIns="0" rtlCol="0">
            <a:spAutoFit/>
          </a:bodyPr>
          <a:lstStyle/>
          <a:p>
            <a:pPr lvl="0"/>
            <a:r>
              <a:rPr lang="en-US"/>
              <a:t>Click to edit Master text styles</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hidden="1">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grpSp>
        <p:nvGrpSpPr>
          <p:cNvPr id="51" name="Bottom nav bleed">
            <a:extLst>
              <a:ext uri="{FF2B5EF4-FFF2-40B4-BE49-F238E27FC236}">
                <a16:creationId xmlns:a16="http://schemas.microsoft.com/office/drawing/2014/main" id="{A7EE612F-C4FE-344D-A154-AD529507B9EB}"/>
              </a:ext>
            </a:extLst>
          </p:cNvPr>
          <p:cNvGrpSpPr/>
          <p:nvPr userDrawn="1"/>
        </p:nvGrpSpPr>
        <p:grpSpPr>
          <a:xfrm>
            <a:off x="-2243390" y="5712206"/>
            <a:ext cx="16678780" cy="669544"/>
            <a:chOff x="-2243390" y="5667494"/>
            <a:chExt cx="16678780" cy="669544"/>
          </a:xfrm>
        </p:grpSpPr>
        <p:sp>
          <p:nvSpPr>
            <p:cNvPr id="52" name="TextBox 51">
              <a:extLst>
                <a:ext uri="{FF2B5EF4-FFF2-40B4-BE49-F238E27FC236}">
                  <a16:creationId xmlns:a16="http://schemas.microsoft.com/office/drawing/2014/main" id="{AD20446E-AC74-9742-81F1-34522E701265}"/>
                </a:ext>
              </a:extLst>
            </p:cNvPr>
            <p:cNvSpPr txBox="1"/>
            <p:nvPr userDrawn="1"/>
          </p:nvSpPr>
          <p:spPr>
            <a:xfrm>
              <a:off x="-1905863" y="5667494"/>
              <a:ext cx="1233094" cy="184666"/>
            </a:xfrm>
            <a:prstGeom prst="rect">
              <a:avLst/>
            </a:prstGeom>
            <a:noFill/>
          </p:spPr>
          <p:txBody>
            <a:bodyPr wrap="none" lIns="0" tIns="0" rIns="0" bIns="0" rtlCol="0">
              <a:spAutoFit/>
            </a:bodyPr>
            <a:lstStyle/>
            <a:p>
              <a:pPr algn="l"/>
              <a:r>
                <a:rPr lang="en-US" sz="1200">
                  <a:solidFill>
                    <a:srgbClr val="D83B01"/>
                  </a:solidFill>
                </a:rPr>
                <a:t>Bottom Nav Bleed</a:t>
              </a:r>
            </a:p>
          </p:txBody>
        </p:sp>
        <p:cxnSp>
          <p:nvCxnSpPr>
            <p:cNvPr id="53" name="Straight Connector 52">
              <a:extLst>
                <a:ext uri="{FF2B5EF4-FFF2-40B4-BE49-F238E27FC236}">
                  <a16:creationId xmlns:a16="http://schemas.microsoft.com/office/drawing/2014/main" id="{6F61527D-BD82-894D-86F7-D3340B9BC78F}"/>
                </a:ext>
              </a:extLst>
            </p:cNvPr>
            <p:cNvCxnSpPr>
              <a:cxnSpLocks/>
            </p:cNvCxnSpPr>
            <p:nvPr userDrawn="1"/>
          </p:nvCxnSpPr>
          <p:spPr>
            <a:xfrm>
              <a:off x="-2243390" y="5888242"/>
              <a:ext cx="16678780" cy="0"/>
            </a:xfrm>
            <a:prstGeom prst="line">
              <a:avLst/>
            </a:prstGeom>
            <a:ln w="28575">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26EE476E-4058-4740-86B4-FC752B14D167}"/>
                </a:ext>
              </a:extLst>
            </p:cNvPr>
            <p:cNvSpPr txBox="1"/>
            <p:nvPr userDrawn="1"/>
          </p:nvSpPr>
          <p:spPr>
            <a:xfrm>
              <a:off x="-1886625" y="5967706"/>
              <a:ext cx="1194622" cy="369332"/>
            </a:xfrm>
            <a:prstGeom prst="rect">
              <a:avLst/>
            </a:prstGeom>
            <a:noFill/>
          </p:spPr>
          <p:txBody>
            <a:bodyPr wrap="none" lIns="0" tIns="0" rIns="0" bIns="0" rtlCol="0">
              <a:spAutoFit/>
            </a:bodyPr>
            <a:lstStyle/>
            <a:p>
              <a:pPr algn="ctr"/>
              <a:r>
                <a:rPr lang="en-US" sz="1200">
                  <a:solidFill>
                    <a:srgbClr val="D83B01"/>
                  </a:solidFill>
                </a:rPr>
                <a:t>No text &amp; images</a:t>
              </a:r>
            </a:p>
            <a:p>
              <a:pPr algn="ctr"/>
              <a:r>
                <a:rPr lang="en-US" sz="1200">
                  <a:solidFill>
                    <a:srgbClr val="D83B01"/>
                  </a:solidFill>
                </a:rPr>
                <a:t>below this line</a:t>
              </a:r>
            </a:p>
          </p:txBody>
        </p:sp>
      </p:grpSp>
    </p:spTree>
    <p:extLst>
      <p:ext uri="{BB962C8B-B14F-4D97-AF65-F5344CB8AC3E}">
        <p14:creationId xmlns:p14="http://schemas.microsoft.com/office/powerpoint/2010/main" val="3987331840"/>
      </p:ext>
    </p:extLst>
  </p:cSld>
  <p:clrMap bg1="lt1" tx1="dk1" bg2="lt2" tx2="dk2" accent1="accent1" accent2="accent2" accent3="accent3" accent4="accent4" accent5="accent5" accent6="accent6" hlink="hlink" folHlink="folHlink"/>
  <p:sldLayoutIdLst>
    <p:sldLayoutId id="2147485517" r:id="rId1"/>
    <p:sldLayoutId id="2147485518" r:id="rId2"/>
    <p:sldLayoutId id="2147485519" r:id="rId3"/>
    <p:sldLayoutId id="2147485520" r:id="rId4"/>
    <p:sldLayoutId id="2147485521" r:id="rId5"/>
    <p:sldLayoutId id="2147485522" r:id="rId6"/>
    <p:sldLayoutId id="2147485523" r:id="rId7"/>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25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720">
          <p15:clr>
            <a:srgbClr val="F26B43"/>
          </p15:clr>
        </p15:guide>
        <p15:guide id="32" orient="horz" pos="1848">
          <p15:clr>
            <a:srgbClr val="F26B43"/>
          </p15:clr>
        </p15:guide>
        <p15:guide id="3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ideo" Target="https://msit.microsoftstream.com/embed/video/83e90840-98dc-869c-135e-f1ebbda723c2?autoplay=false&amp;showinfo=true&amp;app=powerpoint&amp;appPlatform=win32&amp;hostCorrelationId=b8244e2e-eb47-41da-b8ea-072e870e1d6b" TargetMode="Externa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3.xml"/><Relationship Id="rId7" Type="http://schemas.openxmlformats.org/officeDocument/2006/relationships/image" Target="../media/image3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7.emf"/><Relationship Id="rId5" Type="http://schemas.openxmlformats.org/officeDocument/2006/relationships/oleObject" Target="../embeddings/oleObject2.bin"/><Relationship Id="rId10" Type="http://schemas.openxmlformats.org/officeDocument/2006/relationships/image" Target="../media/image37.png"/><Relationship Id="rId4" Type="http://schemas.openxmlformats.org/officeDocument/2006/relationships/notesSlide" Target="../notesSlides/notesSlide11.xml"/><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ideo" Target="https://msit.microsoftstream.com/embed/video/83e90840-98dc-869c-bdd9-f1ebbda5cbfd?autoplay=false&amp;showinfo=true&amp;app=powerpoint&amp;appPlatform=win32&amp;hostCorrelationId=82e2debc-44c8-4de8-a6b4-11d953c7126b" TargetMode="Externa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emf"/><Relationship Id="rId1" Type="http://schemas.openxmlformats.org/officeDocument/2006/relationships/slideLayout" Target="../slideLayouts/slideLayout5.xml"/><Relationship Id="rId4" Type="http://schemas.openxmlformats.org/officeDocument/2006/relationships/image" Target="../media/image42.sv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emf"/><Relationship Id="rId9" Type="http://schemas.openxmlformats.org/officeDocument/2006/relationships/image" Target="../media/image23.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ideo" Target="https://msit.microsoftstream.com/embed/video/83e90840-98dc-869c-9e75-f1ebbda66d9c?autoplay=false&amp;showinfo=true&amp;app=powerpoint&amp;appPlatform=win32&amp;hostCorrelationId=7e8f3590-0b85-463d-8d28-0fd231cf94c2" TargetMode="Externa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1.bin"/><Relationship Id="rId10" Type="http://schemas.openxmlformats.org/officeDocument/2006/relationships/image" Target="../media/image31.png"/><Relationship Id="rId4" Type="http://schemas.openxmlformats.org/officeDocument/2006/relationships/notesSlide" Target="../notesSlides/notesSlide7.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3797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128">
            <a:extLst>
              <a:ext uri="{FF2B5EF4-FFF2-40B4-BE49-F238E27FC236}">
                <a16:creationId xmlns:a16="http://schemas.microsoft.com/office/drawing/2014/main" id="{9C5890E8-75B7-4FD2-8ABE-5E46E79F002F}"/>
              </a:ext>
            </a:extLst>
          </p:cNvPr>
          <p:cNvGrpSpPr>
            <a:grpSpLocks noChangeAspect="1"/>
          </p:cNvGrpSpPr>
          <p:nvPr/>
        </p:nvGrpSpPr>
        <p:grpSpPr>
          <a:xfrm>
            <a:off x="3714295" y="2467739"/>
            <a:ext cx="1716784" cy="1716784"/>
            <a:chOff x="2364229" y="3829100"/>
            <a:chExt cx="685800" cy="685800"/>
          </a:xfrm>
        </p:grpSpPr>
        <p:sp>
          <p:nvSpPr>
            <p:cNvPr id="130" name="Oval 129">
              <a:extLst>
                <a:ext uri="{FF2B5EF4-FFF2-40B4-BE49-F238E27FC236}">
                  <a16:creationId xmlns:a16="http://schemas.microsoft.com/office/drawing/2014/main" id="{6F93E2FB-7A8F-4165-8BD2-994749343274}"/>
                </a:ext>
              </a:extLst>
            </p:cNvPr>
            <p:cNvSpPr/>
            <p:nvPr/>
          </p:nvSpPr>
          <p:spPr bwMode="auto">
            <a:xfrm>
              <a:off x="2364229" y="3829100"/>
              <a:ext cx="685800" cy="685800"/>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aphic 99">
              <a:extLst>
                <a:ext uri="{FF2B5EF4-FFF2-40B4-BE49-F238E27FC236}">
                  <a16:creationId xmlns:a16="http://schemas.microsoft.com/office/drawing/2014/main" id="{2E9AED12-D460-4906-A3A8-84ACC9421299}"/>
                </a:ext>
              </a:extLst>
            </p:cNvPr>
            <p:cNvGrpSpPr/>
            <p:nvPr/>
          </p:nvGrpSpPr>
          <p:grpSpPr>
            <a:xfrm>
              <a:off x="2456057" y="3988430"/>
              <a:ext cx="502145" cy="367147"/>
              <a:chOff x="3223667" y="1717208"/>
              <a:chExt cx="914400" cy="668569"/>
            </a:xfrm>
            <a:solidFill>
              <a:srgbClr val="3C3C41">
                <a:lumMod val="50000"/>
              </a:srgbClr>
            </a:solidFill>
          </p:grpSpPr>
          <p:sp>
            <p:nvSpPr>
              <p:cNvPr id="132" name="Freeform: Shape 131">
                <a:extLst>
                  <a:ext uri="{FF2B5EF4-FFF2-40B4-BE49-F238E27FC236}">
                    <a16:creationId xmlns:a16="http://schemas.microsoft.com/office/drawing/2014/main" id="{5FFDB79A-6D25-4892-BD12-45DCE59B84B7}"/>
                  </a:ext>
                </a:extLst>
              </p:cNvPr>
              <p:cNvSpPr/>
              <p:nvPr/>
            </p:nvSpPr>
            <p:spPr>
              <a:xfrm>
                <a:off x="3223667" y="2023827"/>
                <a:ext cx="914400" cy="361950"/>
              </a:xfrm>
              <a:custGeom>
                <a:avLst/>
                <a:gdLst/>
                <a:ahLst/>
                <a:cxnLst/>
                <a:rect l="0" t="0" r="0" b="0"/>
                <a:pathLst>
                  <a:path w="914400" h="361950">
                    <a:moveTo>
                      <a:pt x="900246" y="345967"/>
                    </a:moveTo>
                    <a:lnTo>
                      <a:pt x="793890" y="345967"/>
                    </a:lnTo>
                    <a:lnTo>
                      <a:pt x="793890" y="57998"/>
                    </a:lnTo>
                    <a:cubicBezTo>
                      <a:pt x="791909" y="58331"/>
                      <a:pt x="789918" y="58865"/>
                      <a:pt x="787908" y="58998"/>
                    </a:cubicBezTo>
                    <a:cubicBezTo>
                      <a:pt x="784489" y="59322"/>
                      <a:pt x="780955" y="59531"/>
                      <a:pt x="777440" y="59531"/>
                    </a:cubicBezTo>
                    <a:cubicBezTo>
                      <a:pt x="743026" y="59531"/>
                      <a:pt x="707831" y="41872"/>
                      <a:pt x="672741" y="7144"/>
                    </a:cubicBezTo>
                    <a:cubicBezTo>
                      <a:pt x="657997" y="24022"/>
                      <a:pt x="620020" y="60970"/>
                      <a:pt x="568823" y="62617"/>
                    </a:cubicBezTo>
                    <a:cubicBezTo>
                      <a:pt x="567604" y="62856"/>
                      <a:pt x="566290" y="62856"/>
                      <a:pt x="564985" y="62856"/>
                    </a:cubicBezTo>
                    <a:cubicBezTo>
                      <a:pt x="528133" y="62856"/>
                      <a:pt x="492604" y="43901"/>
                      <a:pt x="459172" y="7163"/>
                    </a:cubicBezTo>
                    <a:cubicBezTo>
                      <a:pt x="425748" y="43901"/>
                      <a:pt x="390211" y="62856"/>
                      <a:pt x="353358" y="62856"/>
                    </a:cubicBezTo>
                    <a:cubicBezTo>
                      <a:pt x="352149" y="62856"/>
                      <a:pt x="350834" y="62856"/>
                      <a:pt x="349606" y="62617"/>
                    </a:cubicBezTo>
                    <a:cubicBezTo>
                      <a:pt x="298399" y="60970"/>
                      <a:pt x="260356" y="24022"/>
                      <a:pt x="245574" y="7144"/>
                    </a:cubicBezTo>
                    <a:cubicBezTo>
                      <a:pt x="210588" y="41891"/>
                      <a:pt x="175403" y="59531"/>
                      <a:pt x="140980" y="59531"/>
                    </a:cubicBezTo>
                    <a:cubicBezTo>
                      <a:pt x="137436" y="59531"/>
                      <a:pt x="133902" y="59322"/>
                      <a:pt x="130397" y="58998"/>
                    </a:cubicBezTo>
                    <a:cubicBezTo>
                      <a:pt x="128407" y="58855"/>
                      <a:pt x="126425" y="58331"/>
                      <a:pt x="124549" y="57998"/>
                    </a:cubicBezTo>
                    <a:lnTo>
                      <a:pt x="124549" y="345929"/>
                    </a:lnTo>
                    <a:lnTo>
                      <a:pt x="16193" y="345929"/>
                    </a:lnTo>
                    <a:cubicBezTo>
                      <a:pt x="11106" y="345929"/>
                      <a:pt x="7144" y="349891"/>
                      <a:pt x="7144" y="355121"/>
                    </a:cubicBezTo>
                    <a:cubicBezTo>
                      <a:pt x="7144" y="359950"/>
                      <a:pt x="11106" y="364274"/>
                      <a:pt x="16193" y="364274"/>
                    </a:cubicBezTo>
                    <a:lnTo>
                      <a:pt x="900236" y="364274"/>
                    </a:lnTo>
                    <a:cubicBezTo>
                      <a:pt x="905313" y="364274"/>
                      <a:pt x="909523" y="359950"/>
                      <a:pt x="909523" y="355121"/>
                    </a:cubicBezTo>
                    <a:cubicBezTo>
                      <a:pt x="909523" y="349910"/>
                      <a:pt x="905323" y="345967"/>
                      <a:pt x="900246" y="345967"/>
                    </a:cubicBezTo>
                    <a:close/>
                    <a:moveTo>
                      <a:pt x="166821" y="236706"/>
                    </a:moveTo>
                    <a:lnTo>
                      <a:pt x="166821" y="218294"/>
                    </a:lnTo>
                    <a:lnTo>
                      <a:pt x="166821" y="102127"/>
                    </a:lnTo>
                    <a:cubicBezTo>
                      <a:pt x="166916" y="97403"/>
                      <a:pt x="168907" y="85258"/>
                      <a:pt x="184671" y="85258"/>
                    </a:cubicBezTo>
                    <a:lnTo>
                      <a:pt x="550964" y="85258"/>
                    </a:lnTo>
                    <a:cubicBezTo>
                      <a:pt x="556384" y="85658"/>
                      <a:pt x="566633" y="88659"/>
                      <a:pt x="566633" y="104975"/>
                    </a:cubicBezTo>
                    <a:lnTo>
                      <a:pt x="566633" y="218294"/>
                    </a:lnTo>
                    <a:lnTo>
                      <a:pt x="566633" y="236706"/>
                    </a:lnTo>
                    <a:lnTo>
                      <a:pt x="566633" y="246545"/>
                    </a:lnTo>
                    <a:cubicBezTo>
                      <a:pt x="566633" y="246545"/>
                      <a:pt x="566633" y="264833"/>
                      <a:pt x="548650" y="264833"/>
                    </a:cubicBezTo>
                    <a:lnTo>
                      <a:pt x="186004" y="264833"/>
                    </a:lnTo>
                    <a:cubicBezTo>
                      <a:pt x="168459" y="264833"/>
                      <a:pt x="166907" y="252384"/>
                      <a:pt x="166811" y="248745"/>
                    </a:cubicBezTo>
                    <a:lnTo>
                      <a:pt x="166811" y="236706"/>
                    </a:lnTo>
                    <a:close/>
                    <a:moveTo>
                      <a:pt x="733187" y="345967"/>
                    </a:moveTo>
                    <a:lnTo>
                      <a:pt x="733187" y="103556"/>
                    </a:lnTo>
                    <a:lnTo>
                      <a:pt x="617010" y="103556"/>
                    </a:lnTo>
                    <a:lnTo>
                      <a:pt x="617010" y="345967"/>
                    </a:lnTo>
                    <a:lnTo>
                      <a:pt x="598608" y="345967"/>
                    </a:lnTo>
                    <a:lnTo>
                      <a:pt x="598608" y="112728"/>
                    </a:lnTo>
                    <a:cubicBezTo>
                      <a:pt x="598608" y="89668"/>
                      <a:pt x="609952" y="85801"/>
                      <a:pt x="615601" y="85258"/>
                    </a:cubicBezTo>
                    <a:lnTo>
                      <a:pt x="732882" y="85258"/>
                    </a:lnTo>
                    <a:cubicBezTo>
                      <a:pt x="732882" y="85258"/>
                      <a:pt x="751513" y="84468"/>
                      <a:pt x="751513" y="108976"/>
                    </a:cubicBezTo>
                    <a:lnTo>
                      <a:pt x="751513" y="345967"/>
                    </a:lnTo>
                    <a:lnTo>
                      <a:pt x="733187" y="345967"/>
                    </a:lnTo>
                    <a:close/>
                    <a:moveTo>
                      <a:pt x="630803" y="233629"/>
                    </a:moveTo>
                    <a:cubicBezTo>
                      <a:pt x="630803" y="225352"/>
                      <a:pt x="637432" y="218646"/>
                      <a:pt x="645919" y="218646"/>
                    </a:cubicBezTo>
                    <a:cubicBezTo>
                      <a:pt x="654196" y="218646"/>
                      <a:pt x="660940" y="225352"/>
                      <a:pt x="660940" y="233629"/>
                    </a:cubicBezTo>
                    <a:cubicBezTo>
                      <a:pt x="660940" y="241916"/>
                      <a:pt x="654196" y="248745"/>
                      <a:pt x="645919" y="248745"/>
                    </a:cubicBezTo>
                    <a:cubicBezTo>
                      <a:pt x="637451" y="248745"/>
                      <a:pt x="630803" y="241916"/>
                      <a:pt x="630803" y="23362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3" name="Freeform: Shape 132">
                <a:extLst>
                  <a:ext uri="{FF2B5EF4-FFF2-40B4-BE49-F238E27FC236}">
                    <a16:creationId xmlns:a16="http://schemas.microsoft.com/office/drawing/2014/main" id="{C426F0EE-39A2-4C29-95AD-4985EBD089C1}"/>
                  </a:ext>
                </a:extLst>
              </p:cNvPr>
              <p:cNvSpPr/>
              <p:nvPr/>
            </p:nvSpPr>
            <p:spPr>
              <a:xfrm>
                <a:off x="3483262" y="2019417"/>
                <a:ext cx="180975" cy="47625"/>
              </a:xfrm>
              <a:custGeom>
                <a:avLst/>
                <a:gdLst/>
                <a:ahLst/>
                <a:cxnLst/>
                <a:rect l="0" t="0" r="0" b="0"/>
                <a:pathLst>
                  <a:path w="180975" h="47625">
                    <a:moveTo>
                      <a:pt x="90764" y="48939"/>
                    </a:moveTo>
                    <a:cubicBezTo>
                      <a:pt x="121558" y="50073"/>
                      <a:pt x="150343" y="35938"/>
                      <a:pt x="178794" y="7144"/>
                    </a:cubicBezTo>
                    <a:lnTo>
                      <a:pt x="7144" y="7144"/>
                    </a:lnTo>
                    <a:cubicBezTo>
                      <a:pt x="23270" y="23470"/>
                      <a:pt x="53483" y="47511"/>
                      <a:pt x="90764"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4" name="Freeform: Shape 133">
                <a:extLst>
                  <a:ext uri="{FF2B5EF4-FFF2-40B4-BE49-F238E27FC236}">
                    <a16:creationId xmlns:a16="http://schemas.microsoft.com/office/drawing/2014/main" id="{C9799981-E490-4C56-BD8D-F16443085C6B}"/>
                  </a:ext>
                </a:extLst>
              </p:cNvPr>
              <p:cNvSpPr/>
              <p:nvPr/>
            </p:nvSpPr>
            <p:spPr>
              <a:xfrm>
                <a:off x="3476523" y="1717208"/>
                <a:ext cx="200025" cy="295275"/>
              </a:xfrm>
              <a:custGeom>
                <a:avLst/>
                <a:gdLst/>
                <a:ahLst/>
                <a:cxnLst/>
                <a:rect l="0" t="0" r="0" b="0"/>
                <a:pathLst>
                  <a:path w="200025" h="295275">
                    <a:moveTo>
                      <a:pt x="21608" y="290913"/>
                    </a:moveTo>
                    <a:lnTo>
                      <a:pt x="184466" y="290913"/>
                    </a:lnTo>
                    <a:cubicBezTo>
                      <a:pt x="184466" y="290913"/>
                      <a:pt x="197258" y="287255"/>
                      <a:pt x="197258" y="274920"/>
                    </a:cubicBezTo>
                    <a:lnTo>
                      <a:pt x="197258" y="29556"/>
                    </a:lnTo>
                    <a:cubicBezTo>
                      <a:pt x="196953" y="22698"/>
                      <a:pt x="194724" y="7144"/>
                      <a:pt x="179494" y="7144"/>
                    </a:cubicBezTo>
                    <a:lnTo>
                      <a:pt x="70719" y="7144"/>
                    </a:lnTo>
                    <a:cubicBezTo>
                      <a:pt x="66308" y="7696"/>
                      <a:pt x="57803" y="11563"/>
                      <a:pt x="53850" y="32852"/>
                    </a:cubicBezTo>
                    <a:lnTo>
                      <a:pt x="7177" y="276911"/>
                    </a:lnTo>
                    <a:cubicBezTo>
                      <a:pt x="7158" y="276911"/>
                      <a:pt x="5853" y="290913"/>
                      <a:pt x="21608" y="290913"/>
                    </a:cubicBezTo>
                    <a:close/>
                    <a:moveTo>
                      <a:pt x="69395" y="38491"/>
                    </a:moveTo>
                    <a:cubicBezTo>
                      <a:pt x="70023" y="34414"/>
                      <a:pt x="74014" y="31661"/>
                      <a:pt x="78110" y="32433"/>
                    </a:cubicBezTo>
                    <a:cubicBezTo>
                      <a:pt x="82282" y="33204"/>
                      <a:pt x="84949" y="37176"/>
                      <a:pt x="84301" y="41138"/>
                    </a:cubicBezTo>
                    <a:lnTo>
                      <a:pt x="55412" y="202016"/>
                    </a:lnTo>
                    <a:cubicBezTo>
                      <a:pt x="54621" y="206197"/>
                      <a:pt x="50659" y="208740"/>
                      <a:pt x="46573" y="208074"/>
                    </a:cubicBezTo>
                    <a:cubicBezTo>
                      <a:pt x="42505" y="207416"/>
                      <a:pt x="39724" y="203340"/>
                      <a:pt x="40515" y="199253"/>
                    </a:cubicBezTo>
                    <a:lnTo>
                      <a:pt x="69395" y="38491"/>
                    </a:lnTo>
                    <a:close/>
                    <a:moveTo>
                      <a:pt x="36400" y="221523"/>
                    </a:moveTo>
                    <a:cubicBezTo>
                      <a:pt x="37276" y="217332"/>
                      <a:pt x="41134" y="214579"/>
                      <a:pt x="45220" y="215332"/>
                    </a:cubicBezTo>
                    <a:cubicBezTo>
                      <a:pt x="49297" y="216094"/>
                      <a:pt x="52173" y="220085"/>
                      <a:pt x="51297" y="224266"/>
                    </a:cubicBezTo>
                    <a:lnTo>
                      <a:pt x="48192" y="242021"/>
                    </a:lnTo>
                    <a:cubicBezTo>
                      <a:pt x="47430" y="246002"/>
                      <a:pt x="43477" y="248755"/>
                      <a:pt x="39400" y="248117"/>
                    </a:cubicBezTo>
                    <a:cubicBezTo>
                      <a:pt x="35200" y="247326"/>
                      <a:pt x="32552" y="243478"/>
                      <a:pt x="33209" y="239297"/>
                    </a:cubicBezTo>
                    <a:lnTo>
                      <a:pt x="36400" y="221523"/>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5" name="Freeform: Shape 134">
                <a:extLst>
                  <a:ext uri="{FF2B5EF4-FFF2-40B4-BE49-F238E27FC236}">
                    <a16:creationId xmlns:a16="http://schemas.microsoft.com/office/drawing/2014/main" id="{EBEB99F4-6F6E-42E2-A7A1-DDCEA4109664}"/>
                  </a:ext>
                </a:extLst>
              </p:cNvPr>
              <p:cNvSpPr/>
              <p:nvPr/>
            </p:nvSpPr>
            <p:spPr>
              <a:xfrm>
                <a:off x="3280367" y="1717227"/>
                <a:ext cx="238125" cy="295275"/>
              </a:xfrm>
              <a:custGeom>
                <a:avLst/>
                <a:gdLst/>
                <a:ahLst/>
                <a:cxnLst/>
                <a:rect l="0" t="0" r="0" b="0"/>
                <a:pathLst>
                  <a:path w="238125" h="295275">
                    <a:moveTo>
                      <a:pt x="25368" y="290894"/>
                    </a:moveTo>
                    <a:lnTo>
                      <a:pt x="169681" y="290894"/>
                    </a:lnTo>
                    <a:cubicBezTo>
                      <a:pt x="169681" y="290894"/>
                      <a:pt x="181816" y="291656"/>
                      <a:pt x="184807" y="276892"/>
                    </a:cubicBezTo>
                    <a:lnTo>
                      <a:pt x="232803" y="25127"/>
                    </a:lnTo>
                    <a:cubicBezTo>
                      <a:pt x="232803" y="24689"/>
                      <a:pt x="234223" y="7810"/>
                      <a:pt x="218678" y="7144"/>
                    </a:cubicBezTo>
                    <a:lnTo>
                      <a:pt x="123485" y="7144"/>
                    </a:lnTo>
                    <a:cubicBezTo>
                      <a:pt x="118932" y="7144"/>
                      <a:pt x="106273" y="8573"/>
                      <a:pt x="101978" y="20288"/>
                    </a:cubicBezTo>
                    <a:lnTo>
                      <a:pt x="7299" y="280521"/>
                    </a:lnTo>
                    <a:cubicBezTo>
                      <a:pt x="6499" y="284845"/>
                      <a:pt x="8261" y="290894"/>
                      <a:pt x="25368" y="290894"/>
                    </a:cubicBezTo>
                    <a:close/>
                    <a:moveTo>
                      <a:pt x="113722" y="37700"/>
                    </a:moveTo>
                    <a:cubicBezTo>
                      <a:pt x="114941" y="33728"/>
                      <a:pt x="119151" y="31318"/>
                      <a:pt x="123104" y="32518"/>
                    </a:cubicBezTo>
                    <a:cubicBezTo>
                      <a:pt x="127181" y="33823"/>
                      <a:pt x="129400" y="37929"/>
                      <a:pt x="128286" y="41881"/>
                    </a:cubicBezTo>
                    <a:lnTo>
                      <a:pt x="81184" y="198453"/>
                    </a:lnTo>
                    <a:cubicBezTo>
                      <a:pt x="80060" y="202416"/>
                      <a:pt x="75669" y="204740"/>
                      <a:pt x="71669" y="203521"/>
                    </a:cubicBezTo>
                    <a:cubicBezTo>
                      <a:pt x="67707" y="202216"/>
                      <a:pt x="65478" y="198130"/>
                      <a:pt x="66611" y="194139"/>
                    </a:cubicBezTo>
                    <a:lnTo>
                      <a:pt x="113722" y="37700"/>
                    </a:lnTo>
                    <a:close/>
                    <a:moveTo>
                      <a:pt x="60239" y="215646"/>
                    </a:moveTo>
                    <a:cubicBezTo>
                      <a:pt x="61344" y="211579"/>
                      <a:pt x="65516" y="209464"/>
                      <a:pt x="69716" y="210569"/>
                    </a:cubicBezTo>
                    <a:cubicBezTo>
                      <a:pt x="73688" y="211788"/>
                      <a:pt x="75908" y="216075"/>
                      <a:pt x="74679" y="220075"/>
                    </a:cubicBezTo>
                    <a:lnTo>
                      <a:pt x="69497" y="237373"/>
                    </a:lnTo>
                    <a:cubicBezTo>
                      <a:pt x="68269" y="241364"/>
                      <a:pt x="64068" y="243669"/>
                      <a:pt x="60106" y="242459"/>
                    </a:cubicBezTo>
                    <a:cubicBezTo>
                      <a:pt x="55915" y="241230"/>
                      <a:pt x="53724" y="237030"/>
                      <a:pt x="54934" y="233086"/>
                    </a:cubicBezTo>
                    <a:lnTo>
                      <a:pt x="60239" y="215646"/>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6" name="Freeform: Shape 135">
                <a:extLst>
                  <a:ext uri="{FF2B5EF4-FFF2-40B4-BE49-F238E27FC236}">
                    <a16:creationId xmlns:a16="http://schemas.microsoft.com/office/drawing/2014/main" id="{F37AFEFB-BEC4-4282-BD3C-2CB9EE9F7A39}"/>
                  </a:ext>
                </a:extLst>
              </p:cNvPr>
              <p:cNvSpPr/>
              <p:nvPr/>
            </p:nvSpPr>
            <p:spPr>
              <a:xfrm>
                <a:off x="3282275" y="2019398"/>
                <a:ext cx="171450" cy="47625"/>
              </a:xfrm>
              <a:custGeom>
                <a:avLst/>
                <a:gdLst/>
                <a:ahLst/>
                <a:cxnLst/>
                <a:rect l="0" t="0" r="0" b="0"/>
                <a:pathLst>
                  <a:path w="171450" h="47625">
                    <a:moveTo>
                      <a:pt x="73885" y="45110"/>
                    </a:moveTo>
                    <a:cubicBezTo>
                      <a:pt x="103251" y="48168"/>
                      <a:pt x="133798" y="35281"/>
                      <a:pt x="165125" y="7144"/>
                    </a:cubicBezTo>
                    <a:lnTo>
                      <a:pt x="7144" y="7144"/>
                    </a:lnTo>
                    <a:cubicBezTo>
                      <a:pt x="19698" y="21374"/>
                      <a:pt x="42872" y="42015"/>
                      <a:pt x="73885"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7" name="Freeform: Shape 136">
                <a:extLst>
                  <a:ext uri="{FF2B5EF4-FFF2-40B4-BE49-F238E27FC236}">
                    <a16:creationId xmlns:a16="http://schemas.microsoft.com/office/drawing/2014/main" id="{E74BC8A8-41A1-446E-9F3A-3FF0D0E08F31}"/>
                  </a:ext>
                </a:extLst>
              </p:cNvPr>
              <p:cNvSpPr/>
              <p:nvPr/>
            </p:nvSpPr>
            <p:spPr>
              <a:xfrm>
                <a:off x="3684954" y="1717227"/>
                <a:ext cx="200025" cy="295275"/>
              </a:xfrm>
              <a:custGeom>
                <a:avLst/>
                <a:gdLst/>
                <a:ahLst/>
                <a:cxnLst/>
                <a:rect l="0" t="0" r="0" b="0"/>
                <a:pathLst>
                  <a:path w="200025" h="295275">
                    <a:moveTo>
                      <a:pt x="25356" y="290894"/>
                    </a:moveTo>
                    <a:cubicBezTo>
                      <a:pt x="45091" y="290894"/>
                      <a:pt x="186214" y="290894"/>
                      <a:pt x="186214" y="290894"/>
                    </a:cubicBezTo>
                    <a:cubicBezTo>
                      <a:pt x="186214" y="290894"/>
                      <a:pt x="199234" y="288588"/>
                      <a:pt x="197129" y="277206"/>
                    </a:cubicBezTo>
                    <a:lnTo>
                      <a:pt x="197129" y="277111"/>
                    </a:lnTo>
                    <a:lnTo>
                      <a:pt x="148809" y="24032"/>
                    </a:lnTo>
                    <a:cubicBezTo>
                      <a:pt x="146628" y="16516"/>
                      <a:pt x="141646" y="7144"/>
                      <a:pt x="130388" y="7144"/>
                    </a:cubicBezTo>
                    <a:lnTo>
                      <a:pt x="20717" y="7144"/>
                    </a:lnTo>
                    <a:cubicBezTo>
                      <a:pt x="16202" y="7582"/>
                      <a:pt x="7144" y="11449"/>
                      <a:pt x="7144" y="32966"/>
                    </a:cubicBezTo>
                    <a:lnTo>
                      <a:pt x="7144" y="276025"/>
                    </a:lnTo>
                    <a:cubicBezTo>
                      <a:pt x="7144" y="279635"/>
                      <a:pt x="8687" y="290894"/>
                      <a:pt x="25356" y="290894"/>
                    </a:cubicBezTo>
                    <a:close/>
                    <a:moveTo>
                      <a:pt x="28651" y="249755"/>
                    </a:moveTo>
                    <a:cubicBezTo>
                      <a:pt x="24574" y="249755"/>
                      <a:pt x="21174" y="246440"/>
                      <a:pt x="21174" y="242364"/>
                    </a:cubicBezTo>
                    <a:lnTo>
                      <a:pt x="21174" y="224066"/>
                    </a:lnTo>
                    <a:cubicBezTo>
                      <a:pt x="21174" y="219989"/>
                      <a:pt x="24441" y="216665"/>
                      <a:pt x="28651" y="216560"/>
                    </a:cubicBezTo>
                    <a:cubicBezTo>
                      <a:pt x="32833" y="216665"/>
                      <a:pt x="36376" y="219980"/>
                      <a:pt x="36281" y="224066"/>
                    </a:cubicBezTo>
                    <a:lnTo>
                      <a:pt x="36376" y="242154"/>
                    </a:lnTo>
                    <a:cubicBezTo>
                      <a:pt x="36376" y="246440"/>
                      <a:pt x="32966" y="249755"/>
                      <a:pt x="28651" y="249755"/>
                    </a:cubicBezTo>
                    <a:close/>
                    <a:moveTo>
                      <a:pt x="28442" y="30642"/>
                    </a:moveTo>
                    <a:cubicBezTo>
                      <a:pt x="32614" y="30642"/>
                      <a:pt x="35938" y="34052"/>
                      <a:pt x="35938" y="38252"/>
                    </a:cubicBezTo>
                    <a:lnTo>
                      <a:pt x="36281" y="201530"/>
                    </a:lnTo>
                    <a:cubicBezTo>
                      <a:pt x="36281" y="205730"/>
                      <a:pt x="32842" y="209140"/>
                      <a:pt x="28651" y="209140"/>
                    </a:cubicBezTo>
                    <a:cubicBezTo>
                      <a:pt x="24441" y="209140"/>
                      <a:pt x="21174" y="205730"/>
                      <a:pt x="21174" y="201530"/>
                    </a:cubicBezTo>
                    <a:lnTo>
                      <a:pt x="20907" y="38252"/>
                    </a:lnTo>
                    <a:cubicBezTo>
                      <a:pt x="20688" y="34052"/>
                      <a:pt x="24136" y="30642"/>
                      <a:pt x="28442" y="30642"/>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8" name="Freeform: Shape 137">
                <a:extLst>
                  <a:ext uri="{FF2B5EF4-FFF2-40B4-BE49-F238E27FC236}">
                    <a16:creationId xmlns:a16="http://schemas.microsoft.com/office/drawing/2014/main" id="{6449E8C1-044C-44D6-BDB1-72AA76AD0479}"/>
                  </a:ext>
                </a:extLst>
              </p:cNvPr>
              <p:cNvSpPr/>
              <p:nvPr/>
            </p:nvSpPr>
            <p:spPr>
              <a:xfrm>
                <a:off x="3696526" y="2019417"/>
                <a:ext cx="180975" cy="47625"/>
              </a:xfrm>
              <a:custGeom>
                <a:avLst/>
                <a:gdLst/>
                <a:ahLst/>
                <a:cxnLst/>
                <a:rect l="0" t="0" r="0" b="0"/>
                <a:pathLst>
                  <a:path w="180975" h="47625">
                    <a:moveTo>
                      <a:pt x="95183" y="48939"/>
                    </a:moveTo>
                    <a:cubicBezTo>
                      <a:pt x="132474" y="47520"/>
                      <a:pt x="162697" y="23460"/>
                      <a:pt x="178803" y="7144"/>
                    </a:cubicBezTo>
                    <a:lnTo>
                      <a:pt x="7144" y="7144"/>
                    </a:lnTo>
                    <a:cubicBezTo>
                      <a:pt x="35519" y="35928"/>
                      <a:pt x="64637" y="50063"/>
                      <a:pt x="95183"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9" name="Freeform: Shape 138">
                <a:extLst>
                  <a:ext uri="{FF2B5EF4-FFF2-40B4-BE49-F238E27FC236}">
                    <a16:creationId xmlns:a16="http://schemas.microsoft.com/office/drawing/2014/main" id="{41B6BB64-C8D8-422B-B7A5-3A6F90CA498F}"/>
                  </a:ext>
                </a:extLst>
              </p:cNvPr>
              <p:cNvSpPr/>
              <p:nvPr/>
            </p:nvSpPr>
            <p:spPr>
              <a:xfrm>
                <a:off x="3845757" y="1717237"/>
                <a:ext cx="228600" cy="295275"/>
              </a:xfrm>
              <a:custGeom>
                <a:avLst/>
                <a:gdLst/>
                <a:ahLst/>
                <a:cxnLst/>
                <a:rect l="0" t="0" r="0" b="0"/>
                <a:pathLst>
                  <a:path w="228600" h="295275">
                    <a:moveTo>
                      <a:pt x="54748" y="275444"/>
                    </a:moveTo>
                    <a:cubicBezTo>
                      <a:pt x="54748" y="275796"/>
                      <a:pt x="57729" y="290903"/>
                      <a:pt x="76589" y="290903"/>
                    </a:cubicBezTo>
                    <a:lnTo>
                      <a:pt x="218378" y="290903"/>
                    </a:lnTo>
                    <a:cubicBezTo>
                      <a:pt x="218378" y="290903"/>
                      <a:pt x="236380" y="291665"/>
                      <a:pt x="227407" y="266852"/>
                    </a:cubicBezTo>
                    <a:lnTo>
                      <a:pt x="138815" y="23365"/>
                    </a:lnTo>
                    <a:cubicBezTo>
                      <a:pt x="138815" y="23365"/>
                      <a:pt x="138815" y="23365"/>
                      <a:pt x="138692" y="23365"/>
                    </a:cubicBezTo>
                    <a:cubicBezTo>
                      <a:pt x="134167" y="10687"/>
                      <a:pt x="126452" y="7696"/>
                      <a:pt x="121728" y="7144"/>
                    </a:cubicBezTo>
                    <a:lnTo>
                      <a:pt x="16000" y="7144"/>
                    </a:lnTo>
                    <a:cubicBezTo>
                      <a:pt x="11733" y="7582"/>
                      <a:pt x="4303" y="11449"/>
                      <a:pt x="8275" y="32966"/>
                    </a:cubicBezTo>
                    <a:lnTo>
                      <a:pt x="54748" y="275444"/>
                    </a:lnTo>
                    <a:close/>
                    <a:moveTo>
                      <a:pt x="77265" y="221275"/>
                    </a:moveTo>
                    <a:lnTo>
                      <a:pt x="80665" y="239058"/>
                    </a:lnTo>
                    <a:cubicBezTo>
                      <a:pt x="81446" y="243145"/>
                      <a:pt x="78694" y="246993"/>
                      <a:pt x="74607" y="247783"/>
                    </a:cubicBezTo>
                    <a:cubicBezTo>
                      <a:pt x="70407" y="248669"/>
                      <a:pt x="66444" y="246012"/>
                      <a:pt x="65673" y="241935"/>
                    </a:cubicBezTo>
                    <a:lnTo>
                      <a:pt x="62349" y="224047"/>
                    </a:lnTo>
                    <a:cubicBezTo>
                      <a:pt x="61577" y="219980"/>
                      <a:pt x="64349" y="216094"/>
                      <a:pt x="68435" y="215227"/>
                    </a:cubicBezTo>
                    <a:cubicBezTo>
                      <a:pt x="72483" y="214436"/>
                      <a:pt x="76493" y="217170"/>
                      <a:pt x="77265" y="221275"/>
                    </a:cubicBezTo>
                    <a:close/>
                    <a:moveTo>
                      <a:pt x="33678" y="32509"/>
                    </a:moveTo>
                    <a:cubicBezTo>
                      <a:pt x="37755" y="31728"/>
                      <a:pt x="41727" y="34500"/>
                      <a:pt x="42613" y="38681"/>
                    </a:cubicBezTo>
                    <a:lnTo>
                      <a:pt x="73055" y="199082"/>
                    </a:lnTo>
                    <a:cubicBezTo>
                      <a:pt x="73693" y="203159"/>
                      <a:pt x="71074" y="207226"/>
                      <a:pt x="66978" y="207893"/>
                    </a:cubicBezTo>
                    <a:cubicBezTo>
                      <a:pt x="62901" y="208683"/>
                      <a:pt x="58939" y="205911"/>
                      <a:pt x="58148" y="201949"/>
                    </a:cubicBezTo>
                    <a:lnTo>
                      <a:pt x="27573" y="41415"/>
                    </a:lnTo>
                    <a:cubicBezTo>
                      <a:pt x="26925" y="37481"/>
                      <a:pt x="29583" y="33395"/>
                      <a:pt x="33678" y="3250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40" name="Freeform: Shape 139">
                <a:extLst>
                  <a:ext uri="{FF2B5EF4-FFF2-40B4-BE49-F238E27FC236}">
                    <a16:creationId xmlns:a16="http://schemas.microsoft.com/office/drawing/2014/main" id="{938D456F-BD9D-4969-977E-3084865B6013}"/>
                  </a:ext>
                </a:extLst>
              </p:cNvPr>
              <p:cNvSpPr/>
              <p:nvPr/>
            </p:nvSpPr>
            <p:spPr>
              <a:xfrm>
                <a:off x="3568493" y="2117706"/>
                <a:ext cx="27432" cy="154330"/>
              </a:xfrm>
              <a:custGeom>
                <a:avLst/>
                <a:gdLst/>
                <a:ahLst/>
                <a:cxnLst/>
                <a:rect l="0" t="0" r="0" b="0"/>
                <a:pathLst>
                  <a:path w="180975" h="123825">
                    <a:moveTo>
                      <a:pt x="7144" y="7144"/>
                    </a:moveTo>
                    <a:lnTo>
                      <a:pt x="179365" y="7144"/>
                    </a:lnTo>
                    <a:lnTo>
                      <a:pt x="179365" y="121891"/>
                    </a:lnTo>
                    <a:lnTo>
                      <a:pt x="7144" y="121891"/>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41" name="Freeform: Shape 140">
                <a:extLst>
                  <a:ext uri="{FF2B5EF4-FFF2-40B4-BE49-F238E27FC236}">
                    <a16:creationId xmlns:a16="http://schemas.microsoft.com/office/drawing/2014/main" id="{AAD4904F-3AC8-42CC-9C2C-8E323B028987}"/>
                  </a:ext>
                </a:extLst>
              </p:cNvPr>
              <p:cNvSpPr/>
              <p:nvPr/>
            </p:nvSpPr>
            <p:spPr>
              <a:xfrm>
                <a:off x="3911096" y="2019398"/>
                <a:ext cx="171450" cy="47625"/>
              </a:xfrm>
              <a:custGeom>
                <a:avLst/>
                <a:gdLst/>
                <a:ahLst/>
                <a:cxnLst/>
                <a:rect l="0" t="0" r="0" b="0"/>
                <a:pathLst>
                  <a:path w="171450" h="47625">
                    <a:moveTo>
                      <a:pt x="98412" y="45110"/>
                    </a:moveTo>
                    <a:cubicBezTo>
                      <a:pt x="129530" y="42015"/>
                      <a:pt x="152657" y="21374"/>
                      <a:pt x="165259" y="7144"/>
                    </a:cubicBezTo>
                    <a:lnTo>
                      <a:pt x="7144" y="7144"/>
                    </a:lnTo>
                    <a:cubicBezTo>
                      <a:pt x="38586" y="35281"/>
                      <a:pt x="69275" y="48168"/>
                      <a:pt x="98412"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grpSp>
      </p:grpSp>
      <p:sp>
        <p:nvSpPr>
          <p:cNvPr id="2" name="Title 1">
            <a:extLst>
              <a:ext uri="{FF2B5EF4-FFF2-40B4-BE49-F238E27FC236}">
                <a16:creationId xmlns:a16="http://schemas.microsoft.com/office/drawing/2014/main" id="{87AD9FCD-915E-4F4E-B9C4-876833923C61}"/>
              </a:ext>
            </a:extLst>
          </p:cNvPr>
          <p:cNvSpPr>
            <a:spLocks noGrp="1"/>
          </p:cNvSpPr>
          <p:nvPr>
            <p:ph type="title"/>
          </p:nvPr>
        </p:nvSpPr>
        <p:spPr>
          <a:xfrm>
            <a:off x="588263" y="457200"/>
            <a:ext cx="11021126" cy="553998"/>
          </a:xfrm>
        </p:spPr>
        <p:txBody>
          <a:bodyPr>
            <a:noAutofit/>
          </a:bodyPr>
          <a:lstStyle/>
          <a:p>
            <a:r>
              <a:rPr lang="en-US" sz="2600">
                <a:cs typeface="Segoe UI"/>
              </a:rPr>
              <a:t>How Dynamics 365 Fraud Protection with account </a:t>
            </a:r>
            <a:br>
              <a:rPr lang="en-US" sz="2600">
                <a:cs typeface="Segoe UI"/>
              </a:rPr>
            </a:br>
            <a:r>
              <a:rPr lang="en-US" sz="2600">
                <a:cs typeface="Segoe UI"/>
              </a:rPr>
              <a:t>protection capability works?</a:t>
            </a:r>
          </a:p>
        </p:txBody>
      </p:sp>
      <p:sp>
        <p:nvSpPr>
          <p:cNvPr id="62" name="Rectangle 61">
            <a:extLst>
              <a:ext uri="{FF2B5EF4-FFF2-40B4-BE49-F238E27FC236}">
                <a16:creationId xmlns:a16="http://schemas.microsoft.com/office/drawing/2014/main" id="{08D65DF6-6E21-4C59-9D8B-1103E22890E1}"/>
              </a:ext>
            </a:extLst>
          </p:cNvPr>
          <p:cNvSpPr/>
          <p:nvPr/>
        </p:nvSpPr>
        <p:spPr bwMode="auto">
          <a:xfrm>
            <a:off x="3005462" y="2047154"/>
            <a:ext cx="3142396" cy="3113314"/>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fontAlgn="base"/>
            <a:endParaRPr lang="en-US" sz="1100" b="1" kern="0">
              <a:latin typeface="+mj-lt"/>
            </a:endParaRPr>
          </a:p>
        </p:txBody>
      </p:sp>
      <p:sp>
        <p:nvSpPr>
          <p:cNvPr id="63" name="Rectangle 62">
            <a:extLst>
              <a:ext uri="{FF2B5EF4-FFF2-40B4-BE49-F238E27FC236}">
                <a16:creationId xmlns:a16="http://schemas.microsoft.com/office/drawing/2014/main" id="{6A97C628-A900-4E39-A95D-122F8C5672D6}"/>
              </a:ext>
            </a:extLst>
          </p:cNvPr>
          <p:cNvSpPr/>
          <p:nvPr/>
        </p:nvSpPr>
        <p:spPr bwMode="auto">
          <a:xfrm>
            <a:off x="8465404" y="2047154"/>
            <a:ext cx="3142396" cy="3113314"/>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fontAlgn="base"/>
            <a:endParaRPr lang="en-US" sz="1100" b="1" kern="0">
              <a:latin typeface="+mj-lt"/>
            </a:endParaRPr>
          </a:p>
        </p:txBody>
      </p:sp>
      <p:sp>
        <p:nvSpPr>
          <p:cNvPr id="64" name="TextBox 63">
            <a:extLst>
              <a:ext uri="{FF2B5EF4-FFF2-40B4-BE49-F238E27FC236}">
                <a16:creationId xmlns:a16="http://schemas.microsoft.com/office/drawing/2014/main" id="{90F6FEE3-9044-4E86-B0EC-B8BB1575405A}"/>
              </a:ext>
            </a:extLst>
          </p:cNvPr>
          <p:cNvSpPr txBox="1"/>
          <p:nvPr/>
        </p:nvSpPr>
        <p:spPr>
          <a:xfrm>
            <a:off x="584200" y="3706527"/>
            <a:ext cx="1604583" cy="724483"/>
          </a:xfrm>
          <a:prstGeom prst="rect">
            <a:avLst/>
          </a:prstGeom>
          <a:noFill/>
        </p:spPr>
        <p:txBody>
          <a:bodyPr wrap="square" lIns="0" tIns="0" rIns="0" bIns="0"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panose="020B0502040204020203" pitchFamily="34" charset="0"/>
                <a:cs typeface="Segoe UI" panose="020B0502040204020203" pitchFamily="34" charset="0"/>
              </a:rPr>
              <a:t>Account creation </a:t>
            </a:r>
          </a:p>
          <a:p>
            <a:pPr algn="ctr" defTabSz="896043">
              <a:defRPr/>
            </a:pPr>
            <a:r>
              <a:rPr lang="en-US" sz="1600">
                <a:latin typeface="Segoe UI" panose="020B0502040204020203" pitchFamily="34" charset="0"/>
                <a:cs typeface="Segoe UI" panose="020B0502040204020203" pitchFamily="34" charset="0"/>
              </a:rPr>
              <a:t>Account login</a:t>
            </a:r>
          </a:p>
          <a:p>
            <a:pPr algn="ctr" defTabSz="896043">
              <a:defRPr/>
            </a:pPr>
            <a:r>
              <a:rPr lang="en-US" sz="1600">
                <a:latin typeface="Segoe UI" panose="020B0502040204020203" pitchFamily="34" charset="0"/>
                <a:cs typeface="Segoe UI" panose="020B0502040204020203" pitchFamily="34" charset="0"/>
              </a:rPr>
              <a:t>Account activity</a:t>
            </a:r>
          </a:p>
        </p:txBody>
      </p:sp>
      <p:sp>
        <p:nvSpPr>
          <p:cNvPr id="65" name="TextBox 64">
            <a:extLst>
              <a:ext uri="{FF2B5EF4-FFF2-40B4-BE49-F238E27FC236}">
                <a16:creationId xmlns:a16="http://schemas.microsoft.com/office/drawing/2014/main" id="{517048DC-4905-47B0-AE8D-18446A208B6E}"/>
              </a:ext>
            </a:extLst>
          </p:cNvPr>
          <p:cNvSpPr txBox="1"/>
          <p:nvPr/>
        </p:nvSpPr>
        <p:spPr>
          <a:xfrm>
            <a:off x="584200" y="1592867"/>
            <a:ext cx="1638624" cy="492443"/>
          </a:xfrm>
          <a:prstGeom prst="rect">
            <a:avLst/>
          </a:prstGeom>
          <a:noFill/>
        </p:spPr>
        <p:txBody>
          <a:bodyPr wrap="square" lIns="0" tIns="0" rIns="0" bIns="0"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panose="020B0502040204020203" pitchFamily="34" charset="0"/>
                <a:cs typeface="Segoe UI" panose="020B0502040204020203" pitchFamily="34" charset="0"/>
              </a:rPr>
              <a:t>Merchant’s</a:t>
            </a:r>
            <a:br>
              <a:rPr lang="en-US" sz="1600">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customer</a:t>
            </a:r>
          </a:p>
        </p:txBody>
      </p:sp>
      <p:cxnSp>
        <p:nvCxnSpPr>
          <p:cNvPr id="68" name="Connector: Elbow 67">
            <a:extLst>
              <a:ext uri="{FF2B5EF4-FFF2-40B4-BE49-F238E27FC236}">
                <a16:creationId xmlns:a16="http://schemas.microsoft.com/office/drawing/2014/main" id="{BC1CB755-476C-4ED2-AC86-358DC5FDB713}"/>
              </a:ext>
            </a:extLst>
          </p:cNvPr>
          <p:cNvCxnSpPr>
            <a:cxnSpLocks/>
            <a:stCxn id="62" idx="1"/>
          </p:cNvCxnSpPr>
          <p:nvPr/>
        </p:nvCxnSpPr>
        <p:spPr>
          <a:xfrm rot="10800000">
            <a:off x="1403512" y="2998811"/>
            <a:ext cx="1601950" cy="605001"/>
          </a:xfrm>
          <a:prstGeom prst="bentConnector3">
            <a:avLst>
              <a:gd name="adj1" fmla="val 50000"/>
            </a:avLst>
          </a:prstGeom>
          <a:noFill/>
          <a:ln w="19050" cap="flat" cmpd="sng" algn="ctr">
            <a:solidFill>
              <a:srgbClr val="1A1A1A"/>
            </a:solidFill>
            <a:prstDash val="solid"/>
            <a:headEnd type="triangle" w="lg" len="med"/>
            <a:tailEnd type="triangle" w="lg" len="med"/>
          </a:ln>
          <a:effectLst/>
        </p:spPr>
      </p:cxnSp>
      <p:cxnSp>
        <p:nvCxnSpPr>
          <p:cNvPr id="69" name="Straight Arrow Connector 68">
            <a:extLst>
              <a:ext uri="{FF2B5EF4-FFF2-40B4-BE49-F238E27FC236}">
                <a16:creationId xmlns:a16="http://schemas.microsoft.com/office/drawing/2014/main" id="{D4352AAF-BCE1-4F20-8721-5185E40D4D45}"/>
              </a:ext>
            </a:extLst>
          </p:cNvPr>
          <p:cNvCxnSpPr>
            <a:cxnSpLocks/>
          </p:cNvCxnSpPr>
          <p:nvPr/>
        </p:nvCxnSpPr>
        <p:spPr>
          <a:xfrm>
            <a:off x="6147858" y="2841811"/>
            <a:ext cx="2317546" cy="0"/>
          </a:xfrm>
          <a:prstGeom prst="straightConnector1">
            <a:avLst/>
          </a:prstGeom>
          <a:noFill/>
          <a:ln w="19050" cap="flat" cmpd="sng" algn="ctr">
            <a:solidFill>
              <a:srgbClr val="1A1A1A"/>
            </a:solidFill>
            <a:prstDash val="solid"/>
            <a:headEnd type="none"/>
            <a:tailEnd type="triangle" w="lg" len="med"/>
          </a:ln>
          <a:effectLst/>
        </p:spPr>
      </p:cxnSp>
      <p:cxnSp>
        <p:nvCxnSpPr>
          <p:cNvPr id="70" name="Straight Arrow Connector 69">
            <a:extLst>
              <a:ext uri="{FF2B5EF4-FFF2-40B4-BE49-F238E27FC236}">
                <a16:creationId xmlns:a16="http://schemas.microsoft.com/office/drawing/2014/main" id="{DBE7B64D-032A-4ED7-9590-9F3BD25DEE9B}"/>
              </a:ext>
            </a:extLst>
          </p:cNvPr>
          <p:cNvCxnSpPr>
            <a:cxnSpLocks/>
          </p:cNvCxnSpPr>
          <p:nvPr/>
        </p:nvCxnSpPr>
        <p:spPr>
          <a:xfrm flipH="1">
            <a:off x="6147858" y="4365811"/>
            <a:ext cx="2317546" cy="0"/>
          </a:xfrm>
          <a:prstGeom prst="straightConnector1">
            <a:avLst/>
          </a:prstGeom>
          <a:noFill/>
          <a:ln w="19050" cap="flat" cmpd="sng" algn="ctr">
            <a:solidFill>
              <a:srgbClr val="1A1A1A"/>
            </a:solidFill>
            <a:prstDash val="solid"/>
            <a:headEnd type="none" w="lg" len="med"/>
            <a:tailEnd type="triangle" w="lg" len="med"/>
          </a:ln>
          <a:effectLst/>
        </p:spPr>
      </p:cxnSp>
      <p:sp>
        <p:nvSpPr>
          <p:cNvPr id="71" name="TextBox 70">
            <a:extLst>
              <a:ext uri="{FF2B5EF4-FFF2-40B4-BE49-F238E27FC236}">
                <a16:creationId xmlns:a16="http://schemas.microsoft.com/office/drawing/2014/main" id="{0A12D97A-5EC2-468C-8965-89642F151061}"/>
              </a:ext>
            </a:extLst>
          </p:cNvPr>
          <p:cNvSpPr txBox="1"/>
          <p:nvPr/>
        </p:nvSpPr>
        <p:spPr>
          <a:xfrm>
            <a:off x="6410196" y="4052964"/>
            <a:ext cx="1763231" cy="625694"/>
          </a:xfrm>
          <a:prstGeom prst="rect">
            <a:avLst/>
          </a:prstGeom>
          <a:solidFill>
            <a:srgbClr val="30E5D0">
              <a:lumMod val="75000"/>
            </a:srgbClr>
          </a:solidFill>
          <a:ln>
            <a:noFill/>
          </a:ln>
        </p:spPr>
        <p:txBody>
          <a:bodyPr wrap="none" lIns="89617" tIns="44808" rIns="89617" bIns="44808"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solidFill>
                  <a:schemeClr val="bg1"/>
                </a:solidFill>
                <a:latin typeface="Segoe UI" panose="020B0502040204020203" pitchFamily="34" charset="0"/>
                <a:cs typeface="Segoe UI" panose="020B0502040204020203" pitchFamily="34" charset="0"/>
              </a:rPr>
              <a:t>Fraud assessment</a:t>
            </a:r>
          </a:p>
        </p:txBody>
      </p:sp>
      <p:sp>
        <p:nvSpPr>
          <p:cNvPr id="72" name="TextBox 71">
            <a:extLst>
              <a:ext uri="{FF2B5EF4-FFF2-40B4-BE49-F238E27FC236}">
                <a16:creationId xmlns:a16="http://schemas.microsoft.com/office/drawing/2014/main" id="{819EE1B7-4B05-4B76-8249-6D0EC8CFFC78}"/>
              </a:ext>
            </a:extLst>
          </p:cNvPr>
          <p:cNvSpPr txBox="1"/>
          <p:nvPr/>
        </p:nvSpPr>
        <p:spPr>
          <a:xfrm>
            <a:off x="6410196" y="2395828"/>
            <a:ext cx="1763231" cy="862480"/>
          </a:xfrm>
          <a:prstGeom prst="rect">
            <a:avLst/>
          </a:prstGeom>
          <a:solidFill>
            <a:srgbClr val="30E5D0">
              <a:lumMod val="75000"/>
            </a:srgbClr>
          </a:solidFill>
          <a:ln>
            <a:noFill/>
          </a:ln>
        </p:spPr>
        <p:txBody>
          <a:bodyPr wrap="square" lIns="89617" tIns="44808" rIns="89617" bIns="44808"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solidFill>
                  <a:schemeClr val="bg1"/>
                </a:solidFill>
                <a:latin typeface="Segoe UI" panose="020B0502040204020203" pitchFamily="34" charset="0"/>
                <a:cs typeface="Segoe UI" panose="020B0502040204020203" pitchFamily="34" charset="0"/>
              </a:rPr>
              <a:t>Account activity &amp; device forensics data</a:t>
            </a:r>
          </a:p>
        </p:txBody>
      </p:sp>
      <p:sp>
        <p:nvSpPr>
          <p:cNvPr id="74" name="TextBox 73">
            <a:extLst>
              <a:ext uri="{FF2B5EF4-FFF2-40B4-BE49-F238E27FC236}">
                <a16:creationId xmlns:a16="http://schemas.microsoft.com/office/drawing/2014/main" id="{02167414-A857-4501-B077-ECEE4EC63057}"/>
              </a:ext>
            </a:extLst>
          </p:cNvPr>
          <p:cNvSpPr txBox="1"/>
          <p:nvPr/>
        </p:nvSpPr>
        <p:spPr>
          <a:xfrm>
            <a:off x="3126746" y="4626934"/>
            <a:ext cx="2956878" cy="430887"/>
          </a:xfrm>
          <a:prstGeom prst="rect">
            <a:avLst/>
          </a:prstGeom>
          <a:noFill/>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043">
              <a:defRPr/>
            </a:pPr>
            <a:r>
              <a:rPr lang="en-US" sz="1400">
                <a:latin typeface="Segoe UI"/>
                <a:cs typeface="Segoe UI Semibold" panose="020B0702040204020203" pitchFamily="34" charset="0"/>
              </a:rPr>
              <a:t>DFP Customer:</a:t>
            </a:r>
          </a:p>
          <a:p>
            <a:pPr defTabSz="896043">
              <a:defRPr/>
            </a:pPr>
            <a:r>
              <a:rPr lang="en-US" sz="1400">
                <a:latin typeface="Segoe UI"/>
                <a:cs typeface="Segoe UI Semibold" panose="020B0702040204020203" pitchFamily="34" charset="0"/>
              </a:rPr>
              <a:t>Merchant’s website</a:t>
            </a:r>
          </a:p>
        </p:txBody>
      </p:sp>
      <p:pic>
        <p:nvPicPr>
          <p:cNvPr id="78" name="Picture 2" descr="http://www.848.co/wp-content/uploads/2015/02/Azure-Icon.fw_.png">
            <a:extLst>
              <a:ext uri="{FF2B5EF4-FFF2-40B4-BE49-F238E27FC236}">
                <a16:creationId xmlns:a16="http://schemas.microsoft.com/office/drawing/2014/main" id="{37AE6466-F812-48C4-A082-5B0CA0BAF4D1}"/>
              </a:ext>
            </a:extLst>
          </p:cNvPr>
          <p:cNvPicPr>
            <a:picLocks noChangeAspect="1" noChangeArrowheads="1"/>
          </p:cNvPicPr>
          <p:nvPr/>
        </p:nvPicPr>
        <p:blipFill>
          <a:blip r:embed="rId3" cstate="print">
            <a:duotone>
              <a:prstClr val="black"/>
              <a:srgbClr val="30E5D0">
                <a:tint val="45000"/>
                <a:satMod val="400000"/>
              </a:srgbClr>
            </a:duotone>
            <a:extLst>
              <a:ext uri="{28A0092B-C50C-407E-A947-70E740481C1C}">
                <a14:useLocalDpi xmlns:a14="http://schemas.microsoft.com/office/drawing/2010/main" val="0"/>
              </a:ext>
            </a:extLst>
          </a:blip>
          <a:srcRect/>
          <a:stretch>
            <a:fillRect/>
          </a:stretch>
        </p:blipFill>
        <p:spPr bwMode="auto">
          <a:xfrm>
            <a:off x="9416249" y="2686804"/>
            <a:ext cx="1027806" cy="102780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85A7898F-A3DC-42C7-ABCA-16822025A588}"/>
              </a:ext>
            </a:extLst>
          </p:cNvPr>
          <p:cNvPicPr>
            <a:picLocks noChangeAspect="1"/>
          </p:cNvPicPr>
          <p:nvPr/>
        </p:nvPicPr>
        <p:blipFill>
          <a:blip r:embed="rId4">
            <a:duotone>
              <a:prstClr val="black"/>
              <a:srgbClr val="30E5D0">
                <a:tint val="45000"/>
                <a:satMod val="400000"/>
              </a:srgbClr>
            </a:duotone>
          </a:blip>
          <a:stretch>
            <a:fillRect/>
          </a:stretch>
        </p:blipFill>
        <p:spPr>
          <a:xfrm>
            <a:off x="8778919" y="3824329"/>
            <a:ext cx="771425" cy="769942"/>
          </a:xfrm>
          <a:prstGeom prst="rect">
            <a:avLst/>
          </a:prstGeom>
        </p:spPr>
      </p:pic>
      <p:pic>
        <p:nvPicPr>
          <p:cNvPr id="80" name="Picture 79">
            <a:extLst>
              <a:ext uri="{FF2B5EF4-FFF2-40B4-BE49-F238E27FC236}">
                <a16:creationId xmlns:a16="http://schemas.microsoft.com/office/drawing/2014/main" id="{D73FEFF0-5997-4FB5-AA49-668FAF544BAE}"/>
              </a:ext>
            </a:extLst>
          </p:cNvPr>
          <p:cNvPicPr>
            <a:picLocks noChangeAspect="1"/>
          </p:cNvPicPr>
          <p:nvPr/>
        </p:nvPicPr>
        <p:blipFill>
          <a:blip r:embed="rId4">
            <a:duotone>
              <a:prstClr val="black"/>
              <a:srgbClr val="30E5D0">
                <a:tint val="45000"/>
                <a:satMod val="400000"/>
              </a:srgbClr>
            </a:duotone>
          </a:blip>
          <a:stretch>
            <a:fillRect/>
          </a:stretch>
        </p:blipFill>
        <p:spPr>
          <a:xfrm>
            <a:off x="9983821" y="3588595"/>
            <a:ext cx="1243801" cy="1241410"/>
          </a:xfrm>
          <a:prstGeom prst="rect">
            <a:avLst/>
          </a:prstGeom>
        </p:spPr>
      </p:pic>
      <p:cxnSp>
        <p:nvCxnSpPr>
          <p:cNvPr id="81" name="Straight Connector 80">
            <a:extLst>
              <a:ext uri="{FF2B5EF4-FFF2-40B4-BE49-F238E27FC236}">
                <a16:creationId xmlns:a16="http://schemas.microsoft.com/office/drawing/2014/main" id="{7B3837A2-01EF-4ED1-B09D-2AD5B3E93E69}"/>
              </a:ext>
            </a:extLst>
          </p:cNvPr>
          <p:cNvCxnSpPr>
            <a:cxnSpLocks/>
          </p:cNvCxnSpPr>
          <p:nvPr/>
        </p:nvCxnSpPr>
        <p:spPr>
          <a:xfrm>
            <a:off x="9550344" y="4209299"/>
            <a:ext cx="447754" cy="2"/>
          </a:xfrm>
          <a:prstGeom prst="line">
            <a:avLst/>
          </a:prstGeom>
          <a:noFill/>
          <a:ln w="19050" cap="flat" cmpd="sng" algn="ctr">
            <a:solidFill>
              <a:schemeClr val="accent4"/>
            </a:solidFill>
            <a:prstDash val="sysDot"/>
            <a:headEnd type="none" w="lg" len="med"/>
            <a:tailEnd type="none" w="lg" len="med"/>
          </a:ln>
          <a:effectLst/>
        </p:spPr>
      </p:cxnSp>
      <p:cxnSp>
        <p:nvCxnSpPr>
          <p:cNvPr id="82" name="Straight Connector 81">
            <a:extLst>
              <a:ext uri="{FF2B5EF4-FFF2-40B4-BE49-F238E27FC236}">
                <a16:creationId xmlns:a16="http://schemas.microsoft.com/office/drawing/2014/main" id="{3CDFB771-1CA6-4DFC-ADD1-A70A957E84BA}"/>
              </a:ext>
            </a:extLst>
          </p:cNvPr>
          <p:cNvCxnSpPr>
            <a:cxnSpLocks/>
            <a:stCxn id="79" idx="0"/>
            <a:endCxn id="78" idx="1"/>
          </p:cNvCxnSpPr>
          <p:nvPr/>
        </p:nvCxnSpPr>
        <p:spPr>
          <a:xfrm flipV="1">
            <a:off x="9164632" y="3200707"/>
            <a:ext cx="251617" cy="623622"/>
          </a:xfrm>
          <a:prstGeom prst="line">
            <a:avLst/>
          </a:prstGeom>
          <a:noFill/>
          <a:ln w="19050" cap="flat" cmpd="sng" algn="ctr">
            <a:solidFill>
              <a:schemeClr val="accent4"/>
            </a:solidFill>
            <a:prstDash val="sysDot"/>
            <a:headEnd type="none" w="lg" len="med"/>
            <a:tailEnd type="none" w="lg" len="med"/>
          </a:ln>
          <a:effectLst/>
        </p:spPr>
      </p:cxnSp>
      <p:cxnSp>
        <p:nvCxnSpPr>
          <p:cNvPr id="83" name="Straight Connector 82">
            <a:extLst>
              <a:ext uri="{FF2B5EF4-FFF2-40B4-BE49-F238E27FC236}">
                <a16:creationId xmlns:a16="http://schemas.microsoft.com/office/drawing/2014/main" id="{0388B4C5-2DA8-4ACF-86EA-AABBD1B076DB}"/>
              </a:ext>
            </a:extLst>
          </p:cNvPr>
          <p:cNvCxnSpPr>
            <a:cxnSpLocks/>
            <a:stCxn id="80" idx="0"/>
          </p:cNvCxnSpPr>
          <p:nvPr/>
        </p:nvCxnSpPr>
        <p:spPr>
          <a:xfrm flipH="1" flipV="1">
            <a:off x="10434320" y="3382831"/>
            <a:ext cx="171402" cy="205764"/>
          </a:xfrm>
          <a:prstGeom prst="line">
            <a:avLst/>
          </a:prstGeom>
          <a:noFill/>
          <a:ln w="19050" cap="flat" cmpd="sng" algn="ctr">
            <a:solidFill>
              <a:schemeClr val="accent4"/>
            </a:solidFill>
            <a:prstDash val="sysDot"/>
            <a:headEnd type="none" w="lg" len="med"/>
            <a:tailEnd type="none" w="lg" len="med"/>
          </a:ln>
          <a:effectLst/>
        </p:spPr>
      </p:cxnSp>
      <p:sp>
        <p:nvSpPr>
          <p:cNvPr id="84" name="Rectangle 83">
            <a:extLst>
              <a:ext uri="{FF2B5EF4-FFF2-40B4-BE49-F238E27FC236}">
                <a16:creationId xmlns:a16="http://schemas.microsoft.com/office/drawing/2014/main" id="{A68D6BFA-979C-4C7E-92BC-721D97F34691}"/>
              </a:ext>
            </a:extLst>
          </p:cNvPr>
          <p:cNvSpPr/>
          <p:nvPr/>
        </p:nvSpPr>
        <p:spPr>
          <a:xfrm rot="604075">
            <a:off x="9857010" y="3524489"/>
            <a:ext cx="1437275" cy="1342634"/>
          </a:xfrm>
          <a:prstGeom prst="rect">
            <a:avLst/>
          </a:prstGeom>
          <a:noFill/>
        </p:spPr>
        <p:txBody>
          <a:bodyPr spcFirstLastPara="1" wrap="none" lIns="89630" tIns="44814" rIns="89630" bIns="44814" numCol="1" anchor="ctr">
            <a:prstTxWarp prst="textCircle">
              <a:avLst/>
            </a:prstTxWarp>
            <a:spAutoFit/>
          </a:bodyPr>
          <a:lstStyle/>
          <a:p>
            <a:pPr algn="ctr" defTabSz="896181">
              <a:defRPr/>
            </a:pPr>
            <a:r>
              <a:rPr lang="en-US" sz="1000" kern="0">
                <a:latin typeface="Segoe UI Semibold"/>
              </a:rPr>
              <a:t>        Account protection network</a:t>
            </a:r>
          </a:p>
        </p:txBody>
      </p:sp>
      <p:sp>
        <p:nvSpPr>
          <p:cNvPr id="85" name="TextBox 84">
            <a:extLst>
              <a:ext uri="{FF2B5EF4-FFF2-40B4-BE49-F238E27FC236}">
                <a16:creationId xmlns:a16="http://schemas.microsoft.com/office/drawing/2014/main" id="{AAC25C7A-9DFF-4E8D-955D-6C61F7C6E39E}"/>
              </a:ext>
            </a:extLst>
          </p:cNvPr>
          <p:cNvSpPr txBox="1"/>
          <p:nvPr/>
        </p:nvSpPr>
        <p:spPr>
          <a:xfrm>
            <a:off x="8465404" y="2165846"/>
            <a:ext cx="3142396" cy="492443"/>
          </a:xfrm>
          <a:prstGeom prst="rect">
            <a:avLst/>
          </a:prstGeom>
          <a:noFill/>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Semibold"/>
                <a:cs typeface="Segoe UI Semibold" panose="020B0702040204020203" pitchFamily="34" charset="0"/>
              </a:rPr>
              <a:t>Dynamics 365 Fraud Protection account protection</a:t>
            </a:r>
          </a:p>
        </p:txBody>
      </p:sp>
      <p:grpSp>
        <p:nvGrpSpPr>
          <p:cNvPr id="157" name="Group 156">
            <a:extLst>
              <a:ext uri="{FF2B5EF4-FFF2-40B4-BE49-F238E27FC236}">
                <a16:creationId xmlns:a16="http://schemas.microsoft.com/office/drawing/2014/main" id="{615A23C1-84BA-4E00-8E32-FD85563EBF18}"/>
              </a:ext>
            </a:extLst>
          </p:cNvPr>
          <p:cNvGrpSpPr>
            <a:grpSpLocks noChangeAspect="1"/>
          </p:cNvGrpSpPr>
          <p:nvPr/>
        </p:nvGrpSpPr>
        <p:grpSpPr>
          <a:xfrm>
            <a:off x="991898" y="2175582"/>
            <a:ext cx="823228" cy="823228"/>
            <a:chOff x="-611105" y="3071485"/>
            <a:chExt cx="832288" cy="832288"/>
          </a:xfrm>
        </p:grpSpPr>
        <p:sp>
          <p:nvSpPr>
            <p:cNvPr id="158" name="Oval 157">
              <a:extLst>
                <a:ext uri="{FF2B5EF4-FFF2-40B4-BE49-F238E27FC236}">
                  <a16:creationId xmlns:a16="http://schemas.microsoft.com/office/drawing/2014/main" id="{65C14A28-2BA1-4258-9B27-A566DBD6E34F}"/>
                </a:ext>
              </a:extLst>
            </p:cNvPr>
            <p:cNvSpPr/>
            <p:nvPr/>
          </p:nvSpPr>
          <p:spPr bwMode="auto">
            <a:xfrm>
              <a:off x="-611105" y="3071485"/>
              <a:ext cx="832288" cy="832288"/>
            </a:xfrm>
            <a:prstGeom prst="ellipse">
              <a:avLst/>
            </a:prstGeom>
            <a:noFill/>
            <a:ln w="28575" cap="flat" cmpd="sng" algn="ctr">
              <a:solidFill>
                <a:srgbClr val="EBEBEB">
                  <a:lumMod val="50000"/>
                </a:srgbClr>
              </a:solidFill>
              <a:prstDash val="solid"/>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175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6AD43C1E-607D-42C3-8438-E835995D05E8}"/>
                </a:ext>
              </a:extLst>
            </p:cNvPr>
            <p:cNvGrpSpPr/>
            <p:nvPr/>
          </p:nvGrpSpPr>
          <p:grpSpPr>
            <a:xfrm>
              <a:off x="-438446" y="3226715"/>
              <a:ext cx="496835" cy="528820"/>
              <a:chOff x="988993" y="2218276"/>
              <a:chExt cx="496906" cy="528896"/>
            </a:xfrm>
          </p:grpSpPr>
          <p:sp>
            <p:nvSpPr>
              <p:cNvPr id="160" name="Freeform: Shape 159">
                <a:extLst>
                  <a:ext uri="{FF2B5EF4-FFF2-40B4-BE49-F238E27FC236}">
                    <a16:creationId xmlns:a16="http://schemas.microsoft.com/office/drawing/2014/main" id="{3F3EFE6E-15E6-4304-A826-74942482AD20}"/>
                  </a:ext>
                </a:extLst>
              </p:cNvPr>
              <p:cNvSpPr/>
              <p:nvPr/>
            </p:nvSpPr>
            <p:spPr>
              <a:xfrm>
                <a:off x="991863" y="2510615"/>
                <a:ext cx="394312" cy="218388"/>
              </a:xfrm>
              <a:custGeom>
                <a:avLst/>
                <a:gdLst/>
                <a:ahLst/>
                <a:cxnLst/>
                <a:rect l="0" t="0" r="0" b="0"/>
                <a:pathLst>
                  <a:path w="619125" h="342900">
                    <a:moveTo>
                      <a:pt x="86477" y="338061"/>
                    </a:moveTo>
                    <a:lnTo>
                      <a:pt x="539791" y="338061"/>
                    </a:lnTo>
                    <a:cubicBezTo>
                      <a:pt x="558527" y="338061"/>
                      <a:pt x="573777" y="322783"/>
                      <a:pt x="573777" y="304048"/>
                    </a:cubicBezTo>
                    <a:lnTo>
                      <a:pt x="619144" y="40748"/>
                    </a:lnTo>
                    <a:cubicBezTo>
                      <a:pt x="619106" y="22393"/>
                      <a:pt x="603837" y="7144"/>
                      <a:pt x="585111" y="7144"/>
                    </a:cubicBezTo>
                    <a:lnTo>
                      <a:pt x="41148" y="7144"/>
                    </a:lnTo>
                    <a:cubicBezTo>
                      <a:pt x="22393" y="7144"/>
                      <a:pt x="7144" y="22403"/>
                      <a:pt x="7144" y="41138"/>
                    </a:cubicBezTo>
                    <a:lnTo>
                      <a:pt x="52435" y="303667"/>
                    </a:lnTo>
                    <a:cubicBezTo>
                      <a:pt x="52473" y="322774"/>
                      <a:pt x="67723" y="338061"/>
                      <a:pt x="86477" y="338061"/>
                    </a:cubicBezTo>
                    <a:close/>
                    <a:moveTo>
                      <a:pt x="313115" y="151762"/>
                    </a:moveTo>
                    <a:cubicBezTo>
                      <a:pt x="322116" y="151762"/>
                      <a:pt x="329413" y="159077"/>
                      <a:pt x="329413" y="168050"/>
                    </a:cubicBezTo>
                    <a:cubicBezTo>
                      <a:pt x="329413" y="177079"/>
                      <a:pt x="322107" y="184356"/>
                      <a:pt x="313115" y="184356"/>
                    </a:cubicBezTo>
                    <a:cubicBezTo>
                      <a:pt x="304124" y="184356"/>
                      <a:pt x="296818" y="177079"/>
                      <a:pt x="296818" y="168050"/>
                    </a:cubicBezTo>
                    <a:cubicBezTo>
                      <a:pt x="296818" y="159077"/>
                      <a:pt x="304124" y="151762"/>
                      <a:pt x="313115" y="151762"/>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1" name="Freeform: Shape 160">
                <a:extLst>
                  <a:ext uri="{FF2B5EF4-FFF2-40B4-BE49-F238E27FC236}">
                    <a16:creationId xmlns:a16="http://schemas.microsoft.com/office/drawing/2014/main" id="{0AC81FD3-FD1D-4F02-9D5A-45DB44F80EDA}"/>
                  </a:ext>
                </a:extLst>
              </p:cNvPr>
              <p:cNvSpPr/>
              <p:nvPr/>
            </p:nvSpPr>
            <p:spPr>
              <a:xfrm>
                <a:off x="1037791" y="2223468"/>
                <a:ext cx="306993" cy="288815"/>
              </a:xfrm>
              <a:custGeom>
                <a:avLst/>
                <a:gdLst>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31901 w 482022"/>
                  <a:gd name="connsiteY14" fmla="*/ 203616 h 491728"/>
                  <a:gd name="connsiteX15" fmla="*/ 411870 w 482022"/>
                  <a:gd name="connsiteY15" fmla="*/ 139903 h 491728"/>
                  <a:gd name="connsiteX16" fmla="*/ 242897 w 482022"/>
                  <a:gd name="connsiteY16" fmla="*/ 0 h 491728"/>
                  <a:gd name="connsiteX17" fmla="*/ 73895 w 482022"/>
                  <a:gd name="connsiteY17" fmla="*/ 139903 h 491728"/>
                  <a:gd name="connsiteX18" fmla="*/ 53854 w 482022"/>
                  <a:gd name="connsiteY18" fmla="*/ 203625 h 491728"/>
                  <a:gd name="connsiteX19" fmla="*/ 80191 w 482022"/>
                  <a:gd name="connsiteY19" fmla="*/ 269300 h 491728"/>
                  <a:gd name="connsiteX20" fmla="*/ 91697 w 482022"/>
                  <a:gd name="connsiteY20" fmla="*/ 262633 h 491728"/>
                  <a:gd name="connsiteX21" fmla="*/ 108432 w 482022"/>
                  <a:gd name="connsiteY21" fmla="*/ 277749 h 491728"/>
                  <a:gd name="connsiteX22" fmla="*/ 57588 w 482022"/>
                  <a:gd name="connsiteY22" fmla="*/ 377542 h 491728"/>
                  <a:gd name="connsiteX23" fmla="*/ 92316 w 482022"/>
                  <a:gd name="connsiteY23" fmla="*/ 376152 h 491728"/>
                  <a:gd name="connsiteX24" fmla="*/ 0 w 482022"/>
                  <a:gd name="connsiteY24" fmla="*/ 491728 h 491728"/>
                  <a:gd name="connsiteX25" fmla="*/ 482022 w 482022"/>
                  <a:gd name="connsiteY25" fmla="*/ 491728 h 491728"/>
                  <a:gd name="connsiteX26" fmla="*/ 372542 w 482022"/>
                  <a:gd name="connsiteY26" fmla="*/ 369646 h 491728"/>
                  <a:gd name="connsiteX27" fmla="*/ 278320 w 482022"/>
                  <a:gd name="connsiteY27" fmla="*/ 411946 h 491728"/>
                  <a:gd name="connsiteX28" fmla="*/ 241011 w 482022"/>
                  <a:gd name="connsiteY28" fmla="*/ 472545 h 491728"/>
                  <a:gd name="connsiteX29" fmla="*/ 203720 w 482022"/>
                  <a:gd name="connsiteY29" fmla="*/ 411946 h 491728"/>
                  <a:gd name="connsiteX30" fmla="*/ 147237 w 482022"/>
                  <a:gd name="connsiteY30" fmla="*/ 377542 h 491728"/>
                  <a:gd name="connsiteX31" fmla="*/ 192424 w 482022"/>
                  <a:gd name="connsiteY31" fmla="*/ 391315 h 491728"/>
                  <a:gd name="connsiteX32" fmla="*/ 171878 w 482022"/>
                  <a:gd name="connsiteY32" fmla="*/ 345500 h 491728"/>
                  <a:gd name="connsiteX33" fmla="*/ 241001 w 482022"/>
                  <a:gd name="connsiteY33" fmla="*/ 376656 h 491728"/>
                  <a:gd name="connsiteX34" fmla="*/ 308781 w 482022"/>
                  <a:gd name="connsiteY34" fmla="*/ 346853 h 491728"/>
                  <a:gd name="connsiteX35" fmla="*/ 294465 w 482022"/>
                  <a:gd name="connsiteY35" fmla="*/ 376656 h 491728"/>
                  <a:gd name="connsiteX36" fmla="*/ 338471 w 482022"/>
                  <a:gd name="connsiteY36" fmla="*/ 367150 h 491728"/>
                  <a:gd name="connsiteX37" fmla="*/ 278320 w 482022"/>
                  <a:gd name="connsiteY37" fmla="*/ 411946 h 491728"/>
                  <a:gd name="connsiteX38" fmla="*/ 348091 w 482022"/>
                  <a:gd name="connsiteY38" fmla="*/ 217798 h 491728"/>
                  <a:gd name="connsiteX39" fmla="*/ 328126 w 482022"/>
                  <a:gd name="connsiteY39" fmla="*/ 293008 h 491728"/>
                  <a:gd name="connsiteX40" fmla="*/ 241011 w 482022"/>
                  <a:gd name="connsiteY40" fmla="*/ 357797 h 491728"/>
                  <a:gd name="connsiteX41" fmla="*/ 156610 w 482022"/>
                  <a:gd name="connsiteY41" fmla="*/ 298189 h 491728"/>
                  <a:gd name="connsiteX42" fmla="*/ 187414 w 482022"/>
                  <a:gd name="connsiteY42" fmla="*/ 301399 h 491728"/>
                  <a:gd name="connsiteX43" fmla="*/ 197824 w 482022"/>
                  <a:gd name="connsiteY43" fmla="*/ 300942 h 491728"/>
                  <a:gd name="connsiteX44" fmla="*/ 217713 w 482022"/>
                  <a:gd name="connsiteY44" fmla="*/ 309000 h 491728"/>
                  <a:gd name="connsiteX45" fmla="*/ 234400 w 482022"/>
                  <a:gd name="connsiteY45" fmla="*/ 285340 h 491728"/>
                  <a:gd name="connsiteX46" fmla="*/ 210731 w 482022"/>
                  <a:gd name="connsiteY46" fmla="*/ 268671 h 491728"/>
                  <a:gd name="connsiteX47" fmla="*/ 195491 w 482022"/>
                  <a:gd name="connsiteY47" fmla="*/ 280606 h 491728"/>
                  <a:gd name="connsiteX48" fmla="*/ 145847 w 482022"/>
                  <a:gd name="connsiteY48" fmla="*/ 274120 h 491728"/>
                  <a:gd name="connsiteX49" fmla="*/ 134264 w 482022"/>
                  <a:gd name="connsiteY49" fmla="*/ 221627 h 491728"/>
                  <a:gd name="connsiteX50" fmla="*/ 203073 w 482022"/>
                  <a:gd name="connsiteY50" fmla="*/ 204321 h 491728"/>
                  <a:gd name="connsiteX51" fmla="*/ 306648 w 482022"/>
                  <a:gd name="connsiteY51" fmla="*/ 147733 h 491728"/>
                  <a:gd name="connsiteX52" fmla="*/ 307495 w 482022"/>
                  <a:gd name="connsiteY52" fmla="*/ 147142 h 491728"/>
                  <a:gd name="connsiteX53" fmla="*/ 309981 w 482022"/>
                  <a:gd name="connsiteY53" fmla="*/ 151104 h 491728"/>
                  <a:gd name="connsiteX54" fmla="*/ 305495 w 482022"/>
                  <a:gd name="connsiteY54" fmla="*/ 196358 h 491728"/>
                  <a:gd name="connsiteX55" fmla="*/ 341947 w 482022"/>
                  <a:gd name="connsiteY55" fmla="*/ 200996 h 491728"/>
                  <a:gd name="connsiteX56" fmla="*/ 342614 w 482022"/>
                  <a:gd name="connsiteY56" fmla="*/ 200996 h 491728"/>
                  <a:gd name="connsiteX57" fmla="*/ 349282 w 482022"/>
                  <a:gd name="connsiteY57" fmla="*/ 202225 h 491728"/>
                  <a:gd name="connsiteX58" fmla="*/ 348091 w 482022"/>
                  <a:gd name="connsiteY58" fmla="*/ 217798 h 491728"/>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11870 w 482022"/>
                  <a:gd name="connsiteY14" fmla="*/ 139903 h 491728"/>
                  <a:gd name="connsiteX15" fmla="*/ 242897 w 482022"/>
                  <a:gd name="connsiteY15" fmla="*/ 0 h 491728"/>
                  <a:gd name="connsiteX16" fmla="*/ 73895 w 482022"/>
                  <a:gd name="connsiteY16" fmla="*/ 139903 h 491728"/>
                  <a:gd name="connsiteX17" fmla="*/ 53854 w 482022"/>
                  <a:gd name="connsiteY17" fmla="*/ 203625 h 491728"/>
                  <a:gd name="connsiteX18" fmla="*/ 80191 w 482022"/>
                  <a:gd name="connsiteY18" fmla="*/ 269300 h 491728"/>
                  <a:gd name="connsiteX19" fmla="*/ 91697 w 482022"/>
                  <a:gd name="connsiteY19" fmla="*/ 262633 h 491728"/>
                  <a:gd name="connsiteX20" fmla="*/ 108432 w 482022"/>
                  <a:gd name="connsiteY20" fmla="*/ 277749 h 491728"/>
                  <a:gd name="connsiteX21" fmla="*/ 57588 w 482022"/>
                  <a:gd name="connsiteY21" fmla="*/ 377542 h 491728"/>
                  <a:gd name="connsiteX22" fmla="*/ 92316 w 482022"/>
                  <a:gd name="connsiteY22" fmla="*/ 376152 h 491728"/>
                  <a:gd name="connsiteX23" fmla="*/ 0 w 482022"/>
                  <a:gd name="connsiteY23" fmla="*/ 491728 h 491728"/>
                  <a:gd name="connsiteX24" fmla="*/ 482022 w 482022"/>
                  <a:gd name="connsiteY24" fmla="*/ 491728 h 491728"/>
                  <a:gd name="connsiteX25" fmla="*/ 372542 w 482022"/>
                  <a:gd name="connsiteY25" fmla="*/ 369646 h 491728"/>
                  <a:gd name="connsiteX26" fmla="*/ 278320 w 482022"/>
                  <a:gd name="connsiteY26" fmla="*/ 411946 h 491728"/>
                  <a:gd name="connsiteX27" fmla="*/ 241011 w 482022"/>
                  <a:gd name="connsiteY27" fmla="*/ 472545 h 491728"/>
                  <a:gd name="connsiteX28" fmla="*/ 203720 w 482022"/>
                  <a:gd name="connsiteY28" fmla="*/ 411946 h 491728"/>
                  <a:gd name="connsiteX29" fmla="*/ 147237 w 482022"/>
                  <a:gd name="connsiteY29" fmla="*/ 377542 h 491728"/>
                  <a:gd name="connsiteX30" fmla="*/ 192424 w 482022"/>
                  <a:gd name="connsiteY30" fmla="*/ 391315 h 491728"/>
                  <a:gd name="connsiteX31" fmla="*/ 171878 w 482022"/>
                  <a:gd name="connsiteY31" fmla="*/ 345500 h 491728"/>
                  <a:gd name="connsiteX32" fmla="*/ 241001 w 482022"/>
                  <a:gd name="connsiteY32" fmla="*/ 376656 h 491728"/>
                  <a:gd name="connsiteX33" fmla="*/ 308781 w 482022"/>
                  <a:gd name="connsiteY33" fmla="*/ 346853 h 491728"/>
                  <a:gd name="connsiteX34" fmla="*/ 294465 w 482022"/>
                  <a:gd name="connsiteY34" fmla="*/ 376656 h 491728"/>
                  <a:gd name="connsiteX35" fmla="*/ 338471 w 482022"/>
                  <a:gd name="connsiteY35" fmla="*/ 367150 h 491728"/>
                  <a:gd name="connsiteX36" fmla="*/ 278320 w 482022"/>
                  <a:gd name="connsiteY36" fmla="*/ 411946 h 491728"/>
                  <a:gd name="connsiteX37" fmla="*/ 348091 w 482022"/>
                  <a:gd name="connsiteY37" fmla="*/ 217798 h 491728"/>
                  <a:gd name="connsiteX38" fmla="*/ 328126 w 482022"/>
                  <a:gd name="connsiteY38" fmla="*/ 293008 h 491728"/>
                  <a:gd name="connsiteX39" fmla="*/ 241011 w 482022"/>
                  <a:gd name="connsiteY39" fmla="*/ 357797 h 491728"/>
                  <a:gd name="connsiteX40" fmla="*/ 156610 w 482022"/>
                  <a:gd name="connsiteY40" fmla="*/ 298189 h 491728"/>
                  <a:gd name="connsiteX41" fmla="*/ 187414 w 482022"/>
                  <a:gd name="connsiteY41" fmla="*/ 301399 h 491728"/>
                  <a:gd name="connsiteX42" fmla="*/ 197824 w 482022"/>
                  <a:gd name="connsiteY42" fmla="*/ 300942 h 491728"/>
                  <a:gd name="connsiteX43" fmla="*/ 217713 w 482022"/>
                  <a:gd name="connsiteY43" fmla="*/ 309000 h 491728"/>
                  <a:gd name="connsiteX44" fmla="*/ 234400 w 482022"/>
                  <a:gd name="connsiteY44" fmla="*/ 285340 h 491728"/>
                  <a:gd name="connsiteX45" fmla="*/ 210731 w 482022"/>
                  <a:gd name="connsiteY45" fmla="*/ 268671 h 491728"/>
                  <a:gd name="connsiteX46" fmla="*/ 195491 w 482022"/>
                  <a:gd name="connsiteY46" fmla="*/ 280606 h 491728"/>
                  <a:gd name="connsiteX47" fmla="*/ 145847 w 482022"/>
                  <a:gd name="connsiteY47" fmla="*/ 274120 h 491728"/>
                  <a:gd name="connsiteX48" fmla="*/ 134264 w 482022"/>
                  <a:gd name="connsiteY48" fmla="*/ 221627 h 491728"/>
                  <a:gd name="connsiteX49" fmla="*/ 203073 w 482022"/>
                  <a:gd name="connsiteY49" fmla="*/ 204321 h 491728"/>
                  <a:gd name="connsiteX50" fmla="*/ 306648 w 482022"/>
                  <a:gd name="connsiteY50" fmla="*/ 147733 h 491728"/>
                  <a:gd name="connsiteX51" fmla="*/ 307495 w 482022"/>
                  <a:gd name="connsiteY51" fmla="*/ 147142 h 491728"/>
                  <a:gd name="connsiteX52" fmla="*/ 309981 w 482022"/>
                  <a:gd name="connsiteY52" fmla="*/ 151104 h 491728"/>
                  <a:gd name="connsiteX53" fmla="*/ 305495 w 482022"/>
                  <a:gd name="connsiteY53" fmla="*/ 196358 h 491728"/>
                  <a:gd name="connsiteX54" fmla="*/ 341947 w 482022"/>
                  <a:gd name="connsiteY54" fmla="*/ 200996 h 491728"/>
                  <a:gd name="connsiteX55" fmla="*/ 342614 w 482022"/>
                  <a:gd name="connsiteY55" fmla="*/ 200996 h 491728"/>
                  <a:gd name="connsiteX56" fmla="*/ 349282 w 482022"/>
                  <a:gd name="connsiteY56" fmla="*/ 202225 h 491728"/>
                  <a:gd name="connsiteX57" fmla="*/ 348091 w 482022"/>
                  <a:gd name="connsiteY57" fmla="*/ 217798 h 491728"/>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85515 w 482022"/>
                  <a:gd name="connsiteY12" fmla="*/ 162164 h 492805"/>
                  <a:gd name="connsiteX13" fmla="*/ 379228 w 482022"/>
                  <a:gd name="connsiteY13" fmla="*/ 204693 h 492805"/>
                  <a:gd name="connsiteX14" fmla="*/ 242897 w 482022"/>
                  <a:gd name="connsiteY14" fmla="*/ 1077 h 492805"/>
                  <a:gd name="connsiteX15" fmla="*/ 73895 w 482022"/>
                  <a:gd name="connsiteY15" fmla="*/ 140980 h 492805"/>
                  <a:gd name="connsiteX16" fmla="*/ 53854 w 482022"/>
                  <a:gd name="connsiteY16" fmla="*/ 204702 h 492805"/>
                  <a:gd name="connsiteX17" fmla="*/ 80191 w 482022"/>
                  <a:gd name="connsiteY17" fmla="*/ 270377 h 492805"/>
                  <a:gd name="connsiteX18" fmla="*/ 91697 w 482022"/>
                  <a:gd name="connsiteY18" fmla="*/ 263710 h 492805"/>
                  <a:gd name="connsiteX19" fmla="*/ 108432 w 482022"/>
                  <a:gd name="connsiteY19" fmla="*/ 278826 h 492805"/>
                  <a:gd name="connsiteX20" fmla="*/ 57588 w 482022"/>
                  <a:gd name="connsiteY20" fmla="*/ 378619 h 492805"/>
                  <a:gd name="connsiteX21" fmla="*/ 92316 w 482022"/>
                  <a:gd name="connsiteY21" fmla="*/ 377229 h 492805"/>
                  <a:gd name="connsiteX22" fmla="*/ 0 w 482022"/>
                  <a:gd name="connsiteY22" fmla="*/ 492805 h 492805"/>
                  <a:gd name="connsiteX23" fmla="*/ 482022 w 482022"/>
                  <a:gd name="connsiteY23" fmla="*/ 492805 h 492805"/>
                  <a:gd name="connsiteX24" fmla="*/ 372542 w 482022"/>
                  <a:gd name="connsiteY24" fmla="*/ 370723 h 492805"/>
                  <a:gd name="connsiteX25" fmla="*/ 278320 w 482022"/>
                  <a:gd name="connsiteY25" fmla="*/ 413023 h 492805"/>
                  <a:gd name="connsiteX26" fmla="*/ 241011 w 482022"/>
                  <a:gd name="connsiteY26" fmla="*/ 473622 h 492805"/>
                  <a:gd name="connsiteX27" fmla="*/ 203720 w 482022"/>
                  <a:gd name="connsiteY27" fmla="*/ 413023 h 492805"/>
                  <a:gd name="connsiteX28" fmla="*/ 147237 w 482022"/>
                  <a:gd name="connsiteY28" fmla="*/ 378619 h 492805"/>
                  <a:gd name="connsiteX29" fmla="*/ 192424 w 482022"/>
                  <a:gd name="connsiteY29" fmla="*/ 392392 h 492805"/>
                  <a:gd name="connsiteX30" fmla="*/ 171878 w 482022"/>
                  <a:gd name="connsiteY30" fmla="*/ 346577 h 492805"/>
                  <a:gd name="connsiteX31" fmla="*/ 241001 w 482022"/>
                  <a:gd name="connsiteY31" fmla="*/ 377733 h 492805"/>
                  <a:gd name="connsiteX32" fmla="*/ 308781 w 482022"/>
                  <a:gd name="connsiteY32" fmla="*/ 347930 h 492805"/>
                  <a:gd name="connsiteX33" fmla="*/ 294465 w 482022"/>
                  <a:gd name="connsiteY33" fmla="*/ 377733 h 492805"/>
                  <a:gd name="connsiteX34" fmla="*/ 338471 w 482022"/>
                  <a:gd name="connsiteY34" fmla="*/ 368227 h 492805"/>
                  <a:gd name="connsiteX35" fmla="*/ 278320 w 482022"/>
                  <a:gd name="connsiteY35" fmla="*/ 413023 h 492805"/>
                  <a:gd name="connsiteX36" fmla="*/ 348091 w 482022"/>
                  <a:gd name="connsiteY36" fmla="*/ 218875 h 492805"/>
                  <a:gd name="connsiteX37" fmla="*/ 328126 w 482022"/>
                  <a:gd name="connsiteY37" fmla="*/ 294085 h 492805"/>
                  <a:gd name="connsiteX38" fmla="*/ 241011 w 482022"/>
                  <a:gd name="connsiteY38" fmla="*/ 358874 h 492805"/>
                  <a:gd name="connsiteX39" fmla="*/ 156610 w 482022"/>
                  <a:gd name="connsiteY39" fmla="*/ 299266 h 492805"/>
                  <a:gd name="connsiteX40" fmla="*/ 187414 w 482022"/>
                  <a:gd name="connsiteY40" fmla="*/ 302476 h 492805"/>
                  <a:gd name="connsiteX41" fmla="*/ 197824 w 482022"/>
                  <a:gd name="connsiteY41" fmla="*/ 302019 h 492805"/>
                  <a:gd name="connsiteX42" fmla="*/ 217713 w 482022"/>
                  <a:gd name="connsiteY42" fmla="*/ 310077 h 492805"/>
                  <a:gd name="connsiteX43" fmla="*/ 234400 w 482022"/>
                  <a:gd name="connsiteY43" fmla="*/ 286417 h 492805"/>
                  <a:gd name="connsiteX44" fmla="*/ 210731 w 482022"/>
                  <a:gd name="connsiteY44" fmla="*/ 269748 h 492805"/>
                  <a:gd name="connsiteX45" fmla="*/ 195491 w 482022"/>
                  <a:gd name="connsiteY45" fmla="*/ 281683 h 492805"/>
                  <a:gd name="connsiteX46" fmla="*/ 145847 w 482022"/>
                  <a:gd name="connsiteY46" fmla="*/ 275197 h 492805"/>
                  <a:gd name="connsiteX47" fmla="*/ 134264 w 482022"/>
                  <a:gd name="connsiteY47" fmla="*/ 222704 h 492805"/>
                  <a:gd name="connsiteX48" fmla="*/ 203073 w 482022"/>
                  <a:gd name="connsiteY48" fmla="*/ 205398 h 492805"/>
                  <a:gd name="connsiteX49" fmla="*/ 306648 w 482022"/>
                  <a:gd name="connsiteY49" fmla="*/ 148810 h 492805"/>
                  <a:gd name="connsiteX50" fmla="*/ 307495 w 482022"/>
                  <a:gd name="connsiteY50" fmla="*/ 148219 h 492805"/>
                  <a:gd name="connsiteX51" fmla="*/ 309981 w 482022"/>
                  <a:gd name="connsiteY51" fmla="*/ 152181 h 492805"/>
                  <a:gd name="connsiteX52" fmla="*/ 305495 w 482022"/>
                  <a:gd name="connsiteY52" fmla="*/ 197435 h 492805"/>
                  <a:gd name="connsiteX53" fmla="*/ 341947 w 482022"/>
                  <a:gd name="connsiteY53" fmla="*/ 202073 h 492805"/>
                  <a:gd name="connsiteX54" fmla="*/ 342614 w 482022"/>
                  <a:gd name="connsiteY54" fmla="*/ 202073 h 492805"/>
                  <a:gd name="connsiteX55" fmla="*/ 349282 w 482022"/>
                  <a:gd name="connsiteY55" fmla="*/ 203302 h 492805"/>
                  <a:gd name="connsiteX56" fmla="*/ 348091 w 482022"/>
                  <a:gd name="connsiteY56" fmla="*/ 218875 h 492805"/>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79228 w 482022"/>
                  <a:gd name="connsiteY12" fmla="*/ 204693 h 492805"/>
                  <a:gd name="connsiteX13" fmla="*/ 242897 w 482022"/>
                  <a:gd name="connsiteY13" fmla="*/ 1077 h 492805"/>
                  <a:gd name="connsiteX14" fmla="*/ 73895 w 482022"/>
                  <a:gd name="connsiteY14" fmla="*/ 140980 h 492805"/>
                  <a:gd name="connsiteX15" fmla="*/ 53854 w 482022"/>
                  <a:gd name="connsiteY15" fmla="*/ 204702 h 492805"/>
                  <a:gd name="connsiteX16" fmla="*/ 80191 w 482022"/>
                  <a:gd name="connsiteY16" fmla="*/ 270377 h 492805"/>
                  <a:gd name="connsiteX17" fmla="*/ 91697 w 482022"/>
                  <a:gd name="connsiteY17" fmla="*/ 263710 h 492805"/>
                  <a:gd name="connsiteX18" fmla="*/ 108432 w 482022"/>
                  <a:gd name="connsiteY18" fmla="*/ 278826 h 492805"/>
                  <a:gd name="connsiteX19" fmla="*/ 57588 w 482022"/>
                  <a:gd name="connsiteY19" fmla="*/ 378619 h 492805"/>
                  <a:gd name="connsiteX20" fmla="*/ 92316 w 482022"/>
                  <a:gd name="connsiteY20" fmla="*/ 377229 h 492805"/>
                  <a:gd name="connsiteX21" fmla="*/ 0 w 482022"/>
                  <a:gd name="connsiteY21" fmla="*/ 492805 h 492805"/>
                  <a:gd name="connsiteX22" fmla="*/ 482022 w 482022"/>
                  <a:gd name="connsiteY22" fmla="*/ 492805 h 492805"/>
                  <a:gd name="connsiteX23" fmla="*/ 372542 w 482022"/>
                  <a:gd name="connsiteY23" fmla="*/ 370723 h 492805"/>
                  <a:gd name="connsiteX24" fmla="*/ 278320 w 482022"/>
                  <a:gd name="connsiteY24" fmla="*/ 413023 h 492805"/>
                  <a:gd name="connsiteX25" fmla="*/ 241011 w 482022"/>
                  <a:gd name="connsiteY25" fmla="*/ 473622 h 492805"/>
                  <a:gd name="connsiteX26" fmla="*/ 203720 w 482022"/>
                  <a:gd name="connsiteY26" fmla="*/ 413023 h 492805"/>
                  <a:gd name="connsiteX27" fmla="*/ 147237 w 482022"/>
                  <a:gd name="connsiteY27" fmla="*/ 378619 h 492805"/>
                  <a:gd name="connsiteX28" fmla="*/ 192424 w 482022"/>
                  <a:gd name="connsiteY28" fmla="*/ 392392 h 492805"/>
                  <a:gd name="connsiteX29" fmla="*/ 171878 w 482022"/>
                  <a:gd name="connsiteY29" fmla="*/ 346577 h 492805"/>
                  <a:gd name="connsiteX30" fmla="*/ 241001 w 482022"/>
                  <a:gd name="connsiteY30" fmla="*/ 377733 h 492805"/>
                  <a:gd name="connsiteX31" fmla="*/ 308781 w 482022"/>
                  <a:gd name="connsiteY31" fmla="*/ 347930 h 492805"/>
                  <a:gd name="connsiteX32" fmla="*/ 294465 w 482022"/>
                  <a:gd name="connsiteY32" fmla="*/ 377733 h 492805"/>
                  <a:gd name="connsiteX33" fmla="*/ 338471 w 482022"/>
                  <a:gd name="connsiteY33" fmla="*/ 368227 h 492805"/>
                  <a:gd name="connsiteX34" fmla="*/ 278320 w 482022"/>
                  <a:gd name="connsiteY34" fmla="*/ 413023 h 492805"/>
                  <a:gd name="connsiteX35" fmla="*/ 348091 w 482022"/>
                  <a:gd name="connsiteY35" fmla="*/ 218875 h 492805"/>
                  <a:gd name="connsiteX36" fmla="*/ 328126 w 482022"/>
                  <a:gd name="connsiteY36" fmla="*/ 294085 h 492805"/>
                  <a:gd name="connsiteX37" fmla="*/ 241011 w 482022"/>
                  <a:gd name="connsiteY37" fmla="*/ 358874 h 492805"/>
                  <a:gd name="connsiteX38" fmla="*/ 156610 w 482022"/>
                  <a:gd name="connsiteY38" fmla="*/ 299266 h 492805"/>
                  <a:gd name="connsiteX39" fmla="*/ 187414 w 482022"/>
                  <a:gd name="connsiteY39" fmla="*/ 302476 h 492805"/>
                  <a:gd name="connsiteX40" fmla="*/ 197824 w 482022"/>
                  <a:gd name="connsiteY40" fmla="*/ 302019 h 492805"/>
                  <a:gd name="connsiteX41" fmla="*/ 217713 w 482022"/>
                  <a:gd name="connsiteY41" fmla="*/ 310077 h 492805"/>
                  <a:gd name="connsiteX42" fmla="*/ 234400 w 482022"/>
                  <a:gd name="connsiteY42" fmla="*/ 286417 h 492805"/>
                  <a:gd name="connsiteX43" fmla="*/ 210731 w 482022"/>
                  <a:gd name="connsiteY43" fmla="*/ 269748 h 492805"/>
                  <a:gd name="connsiteX44" fmla="*/ 195491 w 482022"/>
                  <a:gd name="connsiteY44" fmla="*/ 281683 h 492805"/>
                  <a:gd name="connsiteX45" fmla="*/ 145847 w 482022"/>
                  <a:gd name="connsiteY45" fmla="*/ 275197 h 492805"/>
                  <a:gd name="connsiteX46" fmla="*/ 134264 w 482022"/>
                  <a:gd name="connsiteY46" fmla="*/ 222704 h 492805"/>
                  <a:gd name="connsiteX47" fmla="*/ 203073 w 482022"/>
                  <a:gd name="connsiteY47" fmla="*/ 205398 h 492805"/>
                  <a:gd name="connsiteX48" fmla="*/ 306648 w 482022"/>
                  <a:gd name="connsiteY48" fmla="*/ 148810 h 492805"/>
                  <a:gd name="connsiteX49" fmla="*/ 307495 w 482022"/>
                  <a:gd name="connsiteY49" fmla="*/ 148219 h 492805"/>
                  <a:gd name="connsiteX50" fmla="*/ 309981 w 482022"/>
                  <a:gd name="connsiteY50" fmla="*/ 152181 h 492805"/>
                  <a:gd name="connsiteX51" fmla="*/ 305495 w 482022"/>
                  <a:gd name="connsiteY51" fmla="*/ 197435 h 492805"/>
                  <a:gd name="connsiteX52" fmla="*/ 341947 w 482022"/>
                  <a:gd name="connsiteY52" fmla="*/ 202073 h 492805"/>
                  <a:gd name="connsiteX53" fmla="*/ 342614 w 482022"/>
                  <a:gd name="connsiteY53" fmla="*/ 202073 h 492805"/>
                  <a:gd name="connsiteX54" fmla="*/ 349282 w 482022"/>
                  <a:gd name="connsiteY54" fmla="*/ 203302 h 492805"/>
                  <a:gd name="connsiteX55" fmla="*/ 348091 w 482022"/>
                  <a:gd name="connsiteY55" fmla="*/ 218875 h 492805"/>
                  <a:gd name="connsiteX0" fmla="*/ 372542 w 482022"/>
                  <a:gd name="connsiteY0" fmla="*/ 339486 h 461568"/>
                  <a:gd name="connsiteX1" fmla="*/ 424453 w 482022"/>
                  <a:gd name="connsiteY1" fmla="*/ 347373 h 461568"/>
                  <a:gd name="connsiteX2" fmla="*/ 370684 w 482022"/>
                  <a:gd name="connsiteY2" fmla="*/ 208108 h 461568"/>
                  <a:gd name="connsiteX3" fmla="*/ 241135 w 482022"/>
                  <a:gd name="connsiteY3" fmla="*/ 8187 h 461568"/>
                  <a:gd name="connsiteX4" fmla="*/ 241011 w 482022"/>
                  <a:gd name="connsiteY4" fmla="*/ 8521 h 461568"/>
                  <a:gd name="connsiteX5" fmla="*/ 240906 w 482022"/>
                  <a:gd name="connsiteY5" fmla="*/ 8187 h 461568"/>
                  <a:gd name="connsiteX6" fmla="*/ 111337 w 482022"/>
                  <a:gd name="connsiteY6" fmla="*/ 208108 h 461568"/>
                  <a:gd name="connsiteX7" fmla="*/ 110852 w 482022"/>
                  <a:gd name="connsiteY7" fmla="*/ 223129 h 461568"/>
                  <a:gd name="connsiteX8" fmla="*/ 101546 w 482022"/>
                  <a:gd name="connsiteY8" fmla="*/ 211718 h 461568"/>
                  <a:gd name="connsiteX9" fmla="*/ 106508 w 482022"/>
                  <a:gd name="connsiteY9" fmla="*/ 173456 h 461568"/>
                  <a:gd name="connsiteX10" fmla="*/ 100231 w 482022"/>
                  <a:gd name="connsiteY10" fmla="*/ 130936 h 461568"/>
                  <a:gd name="connsiteX11" fmla="*/ 242887 w 482022"/>
                  <a:gd name="connsiteY11" fmla="*/ 548 h 461568"/>
                  <a:gd name="connsiteX12" fmla="*/ 379228 w 482022"/>
                  <a:gd name="connsiteY12" fmla="*/ 173456 h 461568"/>
                  <a:gd name="connsiteX13" fmla="*/ 73895 w 482022"/>
                  <a:gd name="connsiteY13" fmla="*/ 109743 h 461568"/>
                  <a:gd name="connsiteX14" fmla="*/ 53854 w 482022"/>
                  <a:gd name="connsiteY14" fmla="*/ 173465 h 461568"/>
                  <a:gd name="connsiteX15" fmla="*/ 80191 w 482022"/>
                  <a:gd name="connsiteY15" fmla="*/ 239140 h 461568"/>
                  <a:gd name="connsiteX16" fmla="*/ 91697 w 482022"/>
                  <a:gd name="connsiteY16" fmla="*/ 232473 h 461568"/>
                  <a:gd name="connsiteX17" fmla="*/ 108432 w 482022"/>
                  <a:gd name="connsiteY17" fmla="*/ 247589 h 461568"/>
                  <a:gd name="connsiteX18" fmla="*/ 57588 w 482022"/>
                  <a:gd name="connsiteY18" fmla="*/ 347382 h 461568"/>
                  <a:gd name="connsiteX19" fmla="*/ 92316 w 482022"/>
                  <a:gd name="connsiteY19" fmla="*/ 345992 h 461568"/>
                  <a:gd name="connsiteX20" fmla="*/ 0 w 482022"/>
                  <a:gd name="connsiteY20" fmla="*/ 461568 h 461568"/>
                  <a:gd name="connsiteX21" fmla="*/ 482022 w 482022"/>
                  <a:gd name="connsiteY21" fmla="*/ 461568 h 461568"/>
                  <a:gd name="connsiteX22" fmla="*/ 372542 w 482022"/>
                  <a:gd name="connsiteY22" fmla="*/ 339486 h 461568"/>
                  <a:gd name="connsiteX23" fmla="*/ 278320 w 482022"/>
                  <a:gd name="connsiteY23" fmla="*/ 381786 h 461568"/>
                  <a:gd name="connsiteX24" fmla="*/ 241011 w 482022"/>
                  <a:gd name="connsiteY24" fmla="*/ 442385 h 461568"/>
                  <a:gd name="connsiteX25" fmla="*/ 203720 w 482022"/>
                  <a:gd name="connsiteY25" fmla="*/ 381786 h 461568"/>
                  <a:gd name="connsiteX26" fmla="*/ 147237 w 482022"/>
                  <a:gd name="connsiteY26" fmla="*/ 347382 h 461568"/>
                  <a:gd name="connsiteX27" fmla="*/ 192424 w 482022"/>
                  <a:gd name="connsiteY27" fmla="*/ 361155 h 461568"/>
                  <a:gd name="connsiteX28" fmla="*/ 171878 w 482022"/>
                  <a:gd name="connsiteY28" fmla="*/ 315340 h 461568"/>
                  <a:gd name="connsiteX29" fmla="*/ 241001 w 482022"/>
                  <a:gd name="connsiteY29" fmla="*/ 346496 h 461568"/>
                  <a:gd name="connsiteX30" fmla="*/ 308781 w 482022"/>
                  <a:gd name="connsiteY30" fmla="*/ 316693 h 461568"/>
                  <a:gd name="connsiteX31" fmla="*/ 294465 w 482022"/>
                  <a:gd name="connsiteY31" fmla="*/ 346496 h 461568"/>
                  <a:gd name="connsiteX32" fmla="*/ 338471 w 482022"/>
                  <a:gd name="connsiteY32" fmla="*/ 336990 h 461568"/>
                  <a:gd name="connsiteX33" fmla="*/ 278320 w 482022"/>
                  <a:gd name="connsiteY33" fmla="*/ 381786 h 461568"/>
                  <a:gd name="connsiteX34" fmla="*/ 348091 w 482022"/>
                  <a:gd name="connsiteY34" fmla="*/ 187638 h 461568"/>
                  <a:gd name="connsiteX35" fmla="*/ 328126 w 482022"/>
                  <a:gd name="connsiteY35" fmla="*/ 262848 h 461568"/>
                  <a:gd name="connsiteX36" fmla="*/ 241011 w 482022"/>
                  <a:gd name="connsiteY36" fmla="*/ 327637 h 461568"/>
                  <a:gd name="connsiteX37" fmla="*/ 156610 w 482022"/>
                  <a:gd name="connsiteY37" fmla="*/ 268029 h 461568"/>
                  <a:gd name="connsiteX38" fmla="*/ 187414 w 482022"/>
                  <a:gd name="connsiteY38" fmla="*/ 271239 h 461568"/>
                  <a:gd name="connsiteX39" fmla="*/ 197824 w 482022"/>
                  <a:gd name="connsiteY39" fmla="*/ 270782 h 461568"/>
                  <a:gd name="connsiteX40" fmla="*/ 217713 w 482022"/>
                  <a:gd name="connsiteY40" fmla="*/ 278840 h 461568"/>
                  <a:gd name="connsiteX41" fmla="*/ 234400 w 482022"/>
                  <a:gd name="connsiteY41" fmla="*/ 255180 h 461568"/>
                  <a:gd name="connsiteX42" fmla="*/ 210731 w 482022"/>
                  <a:gd name="connsiteY42" fmla="*/ 238511 h 461568"/>
                  <a:gd name="connsiteX43" fmla="*/ 195491 w 482022"/>
                  <a:gd name="connsiteY43" fmla="*/ 250446 h 461568"/>
                  <a:gd name="connsiteX44" fmla="*/ 145847 w 482022"/>
                  <a:gd name="connsiteY44" fmla="*/ 243960 h 461568"/>
                  <a:gd name="connsiteX45" fmla="*/ 134264 w 482022"/>
                  <a:gd name="connsiteY45" fmla="*/ 191467 h 461568"/>
                  <a:gd name="connsiteX46" fmla="*/ 203073 w 482022"/>
                  <a:gd name="connsiteY46" fmla="*/ 174161 h 461568"/>
                  <a:gd name="connsiteX47" fmla="*/ 306648 w 482022"/>
                  <a:gd name="connsiteY47" fmla="*/ 117573 h 461568"/>
                  <a:gd name="connsiteX48" fmla="*/ 307495 w 482022"/>
                  <a:gd name="connsiteY48" fmla="*/ 116982 h 461568"/>
                  <a:gd name="connsiteX49" fmla="*/ 309981 w 482022"/>
                  <a:gd name="connsiteY49" fmla="*/ 120944 h 461568"/>
                  <a:gd name="connsiteX50" fmla="*/ 305495 w 482022"/>
                  <a:gd name="connsiteY50" fmla="*/ 166198 h 461568"/>
                  <a:gd name="connsiteX51" fmla="*/ 341947 w 482022"/>
                  <a:gd name="connsiteY51" fmla="*/ 170836 h 461568"/>
                  <a:gd name="connsiteX52" fmla="*/ 342614 w 482022"/>
                  <a:gd name="connsiteY52" fmla="*/ 170836 h 461568"/>
                  <a:gd name="connsiteX53" fmla="*/ 349282 w 482022"/>
                  <a:gd name="connsiteY53" fmla="*/ 172065 h 461568"/>
                  <a:gd name="connsiteX54" fmla="*/ 348091 w 482022"/>
                  <a:gd name="connsiteY54" fmla="*/ 187638 h 461568"/>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73895 w 482022"/>
                  <a:gd name="connsiteY12" fmla="*/ 101655 h 453480"/>
                  <a:gd name="connsiteX13" fmla="*/ 53854 w 482022"/>
                  <a:gd name="connsiteY13" fmla="*/ 165377 h 453480"/>
                  <a:gd name="connsiteX14" fmla="*/ 80191 w 482022"/>
                  <a:gd name="connsiteY14" fmla="*/ 231052 h 453480"/>
                  <a:gd name="connsiteX15" fmla="*/ 91697 w 482022"/>
                  <a:gd name="connsiteY15" fmla="*/ 224385 h 453480"/>
                  <a:gd name="connsiteX16" fmla="*/ 108432 w 482022"/>
                  <a:gd name="connsiteY16" fmla="*/ 239501 h 453480"/>
                  <a:gd name="connsiteX17" fmla="*/ 57588 w 482022"/>
                  <a:gd name="connsiteY17" fmla="*/ 339294 h 453480"/>
                  <a:gd name="connsiteX18" fmla="*/ 92316 w 482022"/>
                  <a:gd name="connsiteY18" fmla="*/ 337904 h 453480"/>
                  <a:gd name="connsiteX19" fmla="*/ 0 w 482022"/>
                  <a:gd name="connsiteY19" fmla="*/ 453480 h 453480"/>
                  <a:gd name="connsiteX20" fmla="*/ 482022 w 482022"/>
                  <a:gd name="connsiteY20" fmla="*/ 453480 h 453480"/>
                  <a:gd name="connsiteX21" fmla="*/ 372542 w 482022"/>
                  <a:gd name="connsiteY21" fmla="*/ 331398 h 453480"/>
                  <a:gd name="connsiteX22" fmla="*/ 278320 w 482022"/>
                  <a:gd name="connsiteY22" fmla="*/ 373698 h 453480"/>
                  <a:gd name="connsiteX23" fmla="*/ 241011 w 482022"/>
                  <a:gd name="connsiteY23" fmla="*/ 434297 h 453480"/>
                  <a:gd name="connsiteX24" fmla="*/ 203720 w 482022"/>
                  <a:gd name="connsiteY24" fmla="*/ 373698 h 453480"/>
                  <a:gd name="connsiteX25" fmla="*/ 147237 w 482022"/>
                  <a:gd name="connsiteY25" fmla="*/ 339294 h 453480"/>
                  <a:gd name="connsiteX26" fmla="*/ 192424 w 482022"/>
                  <a:gd name="connsiteY26" fmla="*/ 353067 h 453480"/>
                  <a:gd name="connsiteX27" fmla="*/ 171878 w 482022"/>
                  <a:gd name="connsiteY27" fmla="*/ 307252 h 453480"/>
                  <a:gd name="connsiteX28" fmla="*/ 241001 w 482022"/>
                  <a:gd name="connsiteY28" fmla="*/ 338408 h 453480"/>
                  <a:gd name="connsiteX29" fmla="*/ 308781 w 482022"/>
                  <a:gd name="connsiteY29" fmla="*/ 308605 h 453480"/>
                  <a:gd name="connsiteX30" fmla="*/ 294465 w 482022"/>
                  <a:gd name="connsiteY30" fmla="*/ 338408 h 453480"/>
                  <a:gd name="connsiteX31" fmla="*/ 338471 w 482022"/>
                  <a:gd name="connsiteY31" fmla="*/ 328902 h 453480"/>
                  <a:gd name="connsiteX32" fmla="*/ 278320 w 482022"/>
                  <a:gd name="connsiteY32" fmla="*/ 373698 h 453480"/>
                  <a:gd name="connsiteX33" fmla="*/ 348091 w 482022"/>
                  <a:gd name="connsiteY33" fmla="*/ 179550 h 453480"/>
                  <a:gd name="connsiteX34" fmla="*/ 328126 w 482022"/>
                  <a:gd name="connsiteY34" fmla="*/ 254760 h 453480"/>
                  <a:gd name="connsiteX35" fmla="*/ 241011 w 482022"/>
                  <a:gd name="connsiteY35" fmla="*/ 319549 h 453480"/>
                  <a:gd name="connsiteX36" fmla="*/ 156610 w 482022"/>
                  <a:gd name="connsiteY36" fmla="*/ 259941 h 453480"/>
                  <a:gd name="connsiteX37" fmla="*/ 187414 w 482022"/>
                  <a:gd name="connsiteY37" fmla="*/ 263151 h 453480"/>
                  <a:gd name="connsiteX38" fmla="*/ 197824 w 482022"/>
                  <a:gd name="connsiteY38" fmla="*/ 262694 h 453480"/>
                  <a:gd name="connsiteX39" fmla="*/ 217713 w 482022"/>
                  <a:gd name="connsiteY39" fmla="*/ 270752 h 453480"/>
                  <a:gd name="connsiteX40" fmla="*/ 234400 w 482022"/>
                  <a:gd name="connsiteY40" fmla="*/ 247092 h 453480"/>
                  <a:gd name="connsiteX41" fmla="*/ 210731 w 482022"/>
                  <a:gd name="connsiteY41" fmla="*/ 230423 h 453480"/>
                  <a:gd name="connsiteX42" fmla="*/ 195491 w 482022"/>
                  <a:gd name="connsiteY42" fmla="*/ 242358 h 453480"/>
                  <a:gd name="connsiteX43" fmla="*/ 145847 w 482022"/>
                  <a:gd name="connsiteY43" fmla="*/ 235872 h 453480"/>
                  <a:gd name="connsiteX44" fmla="*/ 134264 w 482022"/>
                  <a:gd name="connsiteY44" fmla="*/ 183379 h 453480"/>
                  <a:gd name="connsiteX45" fmla="*/ 203073 w 482022"/>
                  <a:gd name="connsiteY45" fmla="*/ 166073 h 453480"/>
                  <a:gd name="connsiteX46" fmla="*/ 306648 w 482022"/>
                  <a:gd name="connsiteY46" fmla="*/ 109485 h 453480"/>
                  <a:gd name="connsiteX47" fmla="*/ 307495 w 482022"/>
                  <a:gd name="connsiteY47" fmla="*/ 108894 h 453480"/>
                  <a:gd name="connsiteX48" fmla="*/ 309981 w 482022"/>
                  <a:gd name="connsiteY48" fmla="*/ 112856 h 453480"/>
                  <a:gd name="connsiteX49" fmla="*/ 305495 w 482022"/>
                  <a:gd name="connsiteY49" fmla="*/ 158110 h 453480"/>
                  <a:gd name="connsiteX50" fmla="*/ 341947 w 482022"/>
                  <a:gd name="connsiteY50" fmla="*/ 162748 h 453480"/>
                  <a:gd name="connsiteX51" fmla="*/ 342614 w 482022"/>
                  <a:gd name="connsiteY51" fmla="*/ 162748 h 453480"/>
                  <a:gd name="connsiteX52" fmla="*/ 349282 w 482022"/>
                  <a:gd name="connsiteY52" fmla="*/ 163977 h 453480"/>
                  <a:gd name="connsiteX53" fmla="*/ 348091 w 482022"/>
                  <a:gd name="connsiteY5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53854 w 482022"/>
                  <a:gd name="connsiteY12" fmla="*/ 165377 h 453480"/>
                  <a:gd name="connsiteX13" fmla="*/ 80191 w 482022"/>
                  <a:gd name="connsiteY13" fmla="*/ 231052 h 453480"/>
                  <a:gd name="connsiteX14" fmla="*/ 91697 w 482022"/>
                  <a:gd name="connsiteY14" fmla="*/ 224385 h 453480"/>
                  <a:gd name="connsiteX15" fmla="*/ 108432 w 482022"/>
                  <a:gd name="connsiteY15" fmla="*/ 239501 h 453480"/>
                  <a:gd name="connsiteX16" fmla="*/ 57588 w 482022"/>
                  <a:gd name="connsiteY16" fmla="*/ 339294 h 453480"/>
                  <a:gd name="connsiteX17" fmla="*/ 92316 w 482022"/>
                  <a:gd name="connsiteY17" fmla="*/ 337904 h 453480"/>
                  <a:gd name="connsiteX18" fmla="*/ 0 w 482022"/>
                  <a:gd name="connsiteY18" fmla="*/ 453480 h 453480"/>
                  <a:gd name="connsiteX19" fmla="*/ 482022 w 482022"/>
                  <a:gd name="connsiteY19" fmla="*/ 453480 h 453480"/>
                  <a:gd name="connsiteX20" fmla="*/ 372542 w 482022"/>
                  <a:gd name="connsiteY20" fmla="*/ 331398 h 453480"/>
                  <a:gd name="connsiteX21" fmla="*/ 278320 w 482022"/>
                  <a:gd name="connsiteY21" fmla="*/ 373698 h 453480"/>
                  <a:gd name="connsiteX22" fmla="*/ 241011 w 482022"/>
                  <a:gd name="connsiteY22" fmla="*/ 434297 h 453480"/>
                  <a:gd name="connsiteX23" fmla="*/ 203720 w 482022"/>
                  <a:gd name="connsiteY23" fmla="*/ 373698 h 453480"/>
                  <a:gd name="connsiteX24" fmla="*/ 147237 w 482022"/>
                  <a:gd name="connsiteY24" fmla="*/ 339294 h 453480"/>
                  <a:gd name="connsiteX25" fmla="*/ 192424 w 482022"/>
                  <a:gd name="connsiteY25" fmla="*/ 353067 h 453480"/>
                  <a:gd name="connsiteX26" fmla="*/ 171878 w 482022"/>
                  <a:gd name="connsiteY26" fmla="*/ 307252 h 453480"/>
                  <a:gd name="connsiteX27" fmla="*/ 241001 w 482022"/>
                  <a:gd name="connsiteY27" fmla="*/ 338408 h 453480"/>
                  <a:gd name="connsiteX28" fmla="*/ 308781 w 482022"/>
                  <a:gd name="connsiteY28" fmla="*/ 308605 h 453480"/>
                  <a:gd name="connsiteX29" fmla="*/ 294465 w 482022"/>
                  <a:gd name="connsiteY29" fmla="*/ 338408 h 453480"/>
                  <a:gd name="connsiteX30" fmla="*/ 338471 w 482022"/>
                  <a:gd name="connsiteY30" fmla="*/ 328902 h 453480"/>
                  <a:gd name="connsiteX31" fmla="*/ 278320 w 482022"/>
                  <a:gd name="connsiteY31" fmla="*/ 373698 h 453480"/>
                  <a:gd name="connsiteX32" fmla="*/ 348091 w 482022"/>
                  <a:gd name="connsiteY32" fmla="*/ 179550 h 453480"/>
                  <a:gd name="connsiteX33" fmla="*/ 328126 w 482022"/>
                  <a:gd name="connsiteY33" fmla="*/ 254760 h 453480"/>
                  <a:gd name="connsiteX34" fmla="*/ 241011 w 482022"/>
                  <a:gd name="connsiteY34" fmla="*/ 319549 h 453480"/>
                  <a:gd name="connsiteX35" fmla="*/ 156610 w 482022"/>
                  <a:gd name="connsiteY35" fmla="*/ 259941 h 453480"/>
                  <a:gd name="connsiteX36" fmla="*/ 187414 w 482022"/>
                  <a:gd name="connsiteY36" fmla="*/ 263151 h 453480"/>
                  <a:gd name="connsiteX37" fmla="*/ 197824 w 482022"/>
                  <a:gd name="connsiteY37" fmla="*/ 262694 h 453480"/>
                  <a:gd name="connsiteX38" fmla="*/ 217713 w 482022"/>
                  <a:gd name="connsiteY38" fmla="*/ 270752 h 453480"/>
                  <a:gd name="connsiteX39" fmla="*/ 234400 w 482022"/>
                  <a:gd name="connsiteY39" fmla="*/ 247092 h 453480"/>
                  <a:gd name="connsiteX40" fmla="*/ 210731 w 482022"/>
                  <a:gd name="connsiteY40" fmla="*/ 230423 h 453480"/>
                  <a:gd name="connsiteX41" fmla="*/ 195491 w 482022"/>
                  <a:gd name="connsiteY41" fmla="*/ 242358 h 453480"/>
                  <a:gd name="connsiteX42" fmla="*/ 145847 w 482022"/>
                  <a:gd name="connsiteY42" fmla="*/ 235872 h 453480"/>
                  <a:gd name="connsiteX43" fmla="*/ 134264 w 482022"/>
                  <a:gd name="connsiteY43" fmla="*/ 183379 h 453480"/>
                  <a:gd name="connsiteX44" fmla="*/ 203073 w 482022"/>
                  <a:gd name="connsiteY44" fmla="*/ 166073 h 453480"/>
                  <a:gd name="connsiteX45" fmla="*/ 306648 w 482022"/>
                  <a:gd name="connsiteY45" fmla="*/ 109485 h 453480"/>
                  <a:gd name="connsiteX46" fmla="*/ 307495 w 482022"/>
                  <a:gd name="connsiteY46" fmla="*/ 108894 h 453480"/>
                  <a:gd name="connsiteX47" fmla="*/ 309981 w 482022"/>
                  <a:gd name="connsiteY47" fmla="*/ 112856 h 453480"/>
                  <a:gd name="connsiteX48" fmla="*/ 305495 w 482022"/>
                  <a:gd name="connsiteY48" fmla="*/ 158110 h 453480"/>
                  <a:gd name="connsiteX49" fmla="*/ 341947 w 482022"/>
                  <a:gd name="connsiteY49" fmla="*/ 162748 h 453480"/>
                  <a:gd name="connsiteX50" fmla="*/ 342614 w 482022"/>
                  <a:gd name="connsiteY50" fmla="*/ 162748 h 453480"/>
                  <a:gd name="connsiteX51" fmla="*/ 349282 w 482022"/>
                  <a:gd name="connsiteY51" fmla="*/ 163977 h 453480"/>
                  <a:gd name="connsiteX52" fmla="*/ 348091 w 482022"/>
                  <a:gd name="connsiteY5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53854 w 482022"/>
                  <a:gd name="connsiteY11" fmla="*/ 165377 h 453480"/>
                  <a:gd name="connsiteX12" fmla="*/ 80191 w 482022"/>
                  <a:gd name="connsiteY12" fmla="*/ 231052 h 453480"/>
                  <a:gd name="connsiteX13" fmla="*/ 91697 w 482022"/>
                  <a:gd name="connsiteY13" fmla="*/ 224385 h 453480"/>
                  <a:gd name="connsiteX14" fmla="*/ 108432 w 482022"/>
                  <a:gd name="connsiteY14" fmla="*/ 239501 h 453480"/>
                  <a:gd name="connsiteX15" fmla="*/ 57588 w 482022"/>
                  <a:gd name="connsiteY15" fmla="*/ 339294 h 453480"/>
                  <a:gd name="connsiteX16" fmla="*/ 92316 w 482022"/>
                  <a:gd name="connsiteY16" fmla="*/ 337904 h 453480"/>
                  <a:gd name="connsiteX17" fmla="*/ 0 w 482022"/>
                  <a:gd name="connsiteY17" fmla="*/ 453480 h 453480"/>
                  <a:gd name="connsiteX18" fmla="*/ 482022 w 482022"/>
                  <a:gd name="connsiteY18" fmla="*/ 453480 h 453480"/>
                  <a:gd name="connsiteX19" fmla="*/ 372542 w 482022"/>
                  <a:gd name="connsiteY19" fmla="*/ 331398 h 453480"/>
                  <a:gd name="connsiteX20" fmla="*/ 278320 w 482022"/>
                  <a:gd name="connsiteY20" fmla="*/ 373698 h 453480"/>
                  <a:gd name="connsiteX21" fmla="*/ 241011 w 482022"/>
                  <a:gd name="connsiteY21" fmla="*/ 434297 h 453480"/>
                  <a:gd name="connsiteX22" fmla="*/ 203720 w 482022"/>
                  <a:gd name="connsiteY22" fmla="*/ 373698 h 453480"/>
                  <a:gd name="connsiteX23" fmla="*/ 147237 w 482022"/>
                  <a:gd name="connsiteY23" fmla="*/ 339294 h 453480"/>
                  <a:gd name="connsiteX24" fmla="*/ 192424 w 482022"/>
                  <a:gd name="connsiteY24" fmla="*/ 353067 h 453480"/>
                  <a:gd name="connsiteX25" fmla="*/ 171878 w 482022"/>
                  <a:gd name="connsiteY25" fmla="*/ 307252 h 453480"/>
                  <a:gd name="connsiteX26" fmla="*/ 241001 w 482022"/>
                  <a:gd name="connsiteY26" fmla="*/ 338408 h 453480"/>
                  <a:gd name="connsiteX27" fmla="*/ 308781 w 482022"/>
                  <a:gd name="connsiteY27" fmla="*/ 308605 h 453480"/>
                  <a:gd name="connsiteX28" fmla="*/ 294465 w 482022"/>
                  <a:gd name="connsiteY28" fmla="*/ 338408 h 453480"/>
                  <a:gd name="connsiteX29" fmla="*/ 338471 w 482022"/>
                  <a:gd name="connsiteY29" fmla="*/ 328902 h 453480"/>
                  <a:gd name="connsiteX30" fmla="*/ 278320 w 482022"/>
                  <a:gd name="connsiteY30" fmla="*/ 373698 h 453480"/>
                  <a:gd name="connsiteX31" fmla="*/ 348091 w 482022"/>
                  <a:gd name="connsiteY31" fmla="*/ 179550 h 453480"/>
                  <a:gd name="connsiteX32" fmla="*/ 328126 w 482022"/>
                  <a:gd name="connsiteY32" fmla="*/ 254760 h 453480"/>
                  <a:gd name="connsiteX33" fmla="*/ 241011 w 482022"/>
                  <a:gd name="connsiteY33" fmla="*/ 319549 h 453480"/>
                  <a:gd name="connsiteX34" fmla="*/ 156610 w 482022"/>
                  <a:gd name="connsiteY34" fmla="*/ 259941 h 453480"/>
                  <a:gd name="connsiteX35" fmla="*/ 187414 w 482022"/>
                  <a:gd name="connsiteY35" fmla="*/ 263151 h 453480"/>
                  <a:gd name="connsiteX36" fmla="*/ 197824 w 482022"/>
                  <a:gd name="connsiteY36" fmla="*/ 262694 h 453480"/>
                  <a:gd name="connsiteX37" fmla="*/ 217713 w 482022"/>
                  <a:gd name="connsiteY37" fmla="*/ 270752 h 453480"/>
                  <a:gd name="connsiteX38" fmla="*/ 234400 w 482022"/>
                  <a:gd name="connsiteY38" fmla="*/ 247092 h 453480"/>
                  <a:gd name="connsiteX39" fmla="*/ 210731 w 482022"/>
                  <a:gd name="connsiteY39" fmla="*/ 230423 h 453480"/>
                  <a:gd name="connsiteX40" fmla="*/ 195491 w 482022"/>
                  <a:gd name="connsiteY40" fmla="*/ 242358 h 453480"/>
                  <a:gd name="connsiteX41" fmla="*/ 145847 w 482022"/>
                  <a:gd name="connsiteY41" fmla="*/ 235872 h 453480"/>
                  <a:gd name="connsiteX42" fmla="*/ 134264 w 482022"/>
                  <a:gd name="connsiteY42" fmla="*/ 183379 h 453480"/>
                  <a:gd name="connsiteX43" fmla="*/ 203073 w 482022"/>
                  <a:gd name="connsiteY43" fmla="*/ 166073 h 453480"/>
                  <a:gd name="connsiteX44" fmla="*/ 306648 w 482022"/>
                  <a:gd name="connsiteY44" fmla="*/ 109485 h 453480"/>
                  <a:gd name="connsiteX45" fmla="*/ 307495 w 482022"/>
                  <a:gd name="connsiteY45" fmla="*/ 108894 h 453480"/>
                  <a:gd name="connsiteX46" fmla="*/ 309981 w 482022"/>
                  <a:gd name="connsiteY46" fmla="*/ 112856 h 453480"/>
                  <a:gd name="connsiteX47" fmla="*/ 305495 w 482022"/>
                  <a:gd name="connsiteY47" fmla="*/ 158110 h 453480"/>
                  <a:gd name="connsiteX48" fmla="*/ 341947 w 482022"/>
                  <a:gd name="connsiteY48" fmla="*/ 162748 h 453480"/>
                  <a:gd name="connsiteX49" fmla="*/ 342614 w 482022"/>
                  <a:gd name="connsiteY49" fmla="*/ 162748 h 453480"/>
                  <a:gd name="connsiteX50" fmla="*/ 349282 w 482022"/>
                  <a:gd name="connsiteY50" fmla="*/ 163977 h 453480"/>
                  <a:gd name="connsiteX51" fmla="*/ 348091 w 482022"/>
                  <a:gd name="connsiteY5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80191 w 482022"/>
                  <a:gd name="connsiteY11" fmla="*/ 231052 h 453480"/>
                  <a:gd name="connsiteX12" fmla="*/ 91697 w 482022"/>
                  <a:gd name="connsiteY12" fmla="*/ 224385 h 453480"/>
                  <a:gd name="connsiteX13" fmla="*/ 108432 w 482022"/>
                  <a:gd name="connsiteY13" fmla="*/ 239501 h 453480"/>
                  <a:gd name="connsiteX14" fmla="*/ 57588 w 482022"/>
                  <a:gd name="connsiteY14" fmla="*/ 339294 h 453480"/>
                  <a:gd name="connsiteX15" fmla="*/ 92316 w 482022"/>
                  <a:gd name="connsiteY15" fmla="*/ 337904 h 453480"/>
                  <a:gd name="connsiteX16" fmla="*/ 0 w 482022"/>
                  <a:gd name="connsiteY16" fmla="*/ 453480 h 453480"/>
                  <a:gd name="connsiteX17" fmla="*/ 482022 w 482022"/>
                  <a:gd name="connsiteY17" fmla="*/ 453480 h 453480"/>
                  <a:gd name="connsiteX18" fmla="*/ 372542 w 482022"/>
                  <a:gd name="connsiteY18" fmla="*/ 331398 h 453480"/>
                  <a:gd name="connsiteX19" fmla="*/ 278320 w 482022"/>
                  <a:gd name="connsiteY19" fmla="*/ 373698 h 453480"/>
                  <a:gd name="connsiteX20" fmla="*/ 241011 w 482022"/>
                  <a:gd name="connsiteY20" fmla="*/ 434297 h 453480"/>
                  <a:gd name="connsiteX21" fmla="*/ 203720 w 482022"/>
                  <a:gd name="connsiteY21" fmla="*/ 373698 h 453480"/>
                  <a:gd name="connsiteX22" fmla="*/ 147237 w 482022"/>
                  <a:gd name="connsiteY22" fmla="*/ 339294 h 453480"/>
                  <a:gd name="connsiteX23" fmla="*/ 192424 w 482022"/>
                  <a:gd name="connsiteY23" fmla="*/ 353067 h 453480"/>
                  <a:gd name="connsiteX24" fmla="*/ 171878 w 482022"/>
                  <a:gd name="connsiteY24" fmla="*/ 307252 h 453480"/>
                  <a:gd name="connsiteX25" fmla="*/ 241001 w 482022"/>
                  <a:gd name="connsiteY25" fmla="*/ 338408 h 453480"/>
                  <a:gd name="connsiteX26" fmla="*/ 308781 w 482022"/>
                  <a:gd name="connsiteY26" fmla="*/ 308605 h 453480"/>
                  <a:gd name="connsiteX27" fmla="*/ 294465 w 482022"/>
                  <a:gd name="connsiteY27" fmla="*/ 338408 h 453480"/>
                  <a:gd name="connsiteX28" fmla="*/ 338471 w 482022"/>
                  <a:gd name="connsiteY28" fmla="*/ 328902 h 453480"/>
                  <a:gd name="connsiteX29" fmla="*/ 278320 w 482022"/>
                  <a:gd name="connsiteY29" fmla="*/ 373698 h 453480"/>
                  <a:gd name="connsiteX30" fmla="*/ 348091 w 482022"/>
                  <a:gd name="connsiteY30" fmla="*/ 179550 h 453480"/>
                  <a:gd name="connsiteX31" fmla="*/ 328126 w 482022"/>
                  <a:gd name="connsiteY31" fmla="*/ 254760 h 453480"/>
                  <a:gd name="connsiteX32" fmla="*/ 241011 w 482022"/>
                  <a:gd name="connsiteY32" fmla="*/ 319549 h 453480"/>
                  <a:gd name="connsiteX33" fmla="*/ 156610 w 482022"/>
                  <a:gd name="connsiteY33" fmla="*/ 259941 h 453480"/>
                  <a:gd name="connsiteX34" fmla="*/ 187414 w 482022"/>
                  <a:gd name="connsiteY34" fmla="*/ 263151 h 453480"/>
                  <a:gd name="connsiteX35" fmla="*/ 197824 w 482022"/>
                  <a:gd name="connsiteY35" fmla="*/ 262694 h 453480"/>
                  <a:gd name="connsiteX36" fmla="*/ 217713 w 482022"/>
                  <a:gd name="connsiteY36" fmla="*/ 270752 h 453480"/>
                  <a:gd name="connsiteX37" fmla="*/ 234400 w 482022"/>
                  <a:gd name="connsiteY37" fmla="*/ 247092 h 453480"/>
                  <a:gd name="connsiteX38" fmla="*/ 210731 w 482022"/>
                  <a:gd name="connsiteY38" fmla="*/ 230423 h 453480"/>
                  <a:gd name="connsiteX39" fmla="*/ 195491 w 482022"/>
                  <a:gd name="connsiteY39" fmla="*/ 242358 h 453480"/>
                  <a:gd name="connsiteX40" fmla="*/ 145847 w 482022"/>
                  <a:gd name="connsiteY40" fmla="*/ 235872 h 453480"/>
                  <a:gd name="connsiteX41" fmla="*/ 134264 w 482022"/>
                  <a:gd name="connsiteY41" fmla="*/ 183379 h 453480"/>
                  <a:gd name="connsiteX42" fmla="*/ 203073 w 482022"/>
                  <a:gd name="connsiteY42" fmla="*/ 166073 h 453480"/>
                  <a:gd name="connsiteX43" fmla="*/ 306648 w 482022"/>
                  <a:gd name="connsiteY43" fmla="*/ 109485 h 453480"/>
                  <a:gd name="connsiteX44" fmla="*/ 307495 w 482022"/>
                  <a:gd name="connsiteY44" fmla="*/ 108894 h 453480"/>
                  <a:gd name="connsiteX45" fmla="*/ 309981 w 482022"/>
                  <a:gd name="connsiteY45" fmla="*/ 112856 h 453480"/>
                  <a:gd name="connsiteX46" fmla="*/ 305495 w 482022"/>
                  <a:gd name="connsiteY46" fmla="*/ 158110 h 453480"/>
                  <a:gd name="connsiteX47" fmla="*/ 341947 w 482022"/>
                  <a:gd name="connsiteY47" fmla="*/ 162748 h 453480"/>
                  <a:gd name="connsiteX48" fmla="*/ 342614 w 482022"/>
                  <a:gd name="connsiteY48" fmla="*/ 162748 h 453480"/>
                  <a:gd name="connsiteX49" fmla="*/ 349282 w 482022"/>
                  <a:gd name="connsiteY49" fmla="*/ 163977 h 453480"/>
                  <a:gd name="connsiteX50" fmla="*/ 348091 w 482022"/>
                  <a:gd name="connsiteY5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379228 w 482022"/>
                  <a:gd name="connsiteY9" fmla="*/ 165368 h 453480"/>
                  <a:gd name="connsiteX10" fmla="*/ 80191 w 482022"/>
                  <a:gd name="connsiteY10" fmla="*/ 231052 h 453480"/>
                  <a:gd name="connsiteX11" fmla="*/ 91697 w 482022"/>
                  <a:gd name="connsiteY11" fmla="*/ 224385 h 453480"/>
                  <a:gd name="connsiteX12" fmla="*/ 108432 w 482022"/>
                  <a:gd name="connsiteY12" fmla="*/ 239501 h 453480"/>
                  <a:gd name="connsiteX13" fmla="*/ 57588 w 482022"/>
                  <a:gd name="connsiteY13" fmla="*/ 339294 h 453480"/>
                  <a:gd name="connsiteX14" fmla="*/ 92316 w 482022"/>
                  <a:gd name="connsiteY14" fmla="*/ 337904 h 453480"/>
                  <a:gd name="connsiteX15" fmla="*/ 0 w 482022"/>
                  <a:gd name="connsiteY15" fmla="*/ 453480 h 453480"/>
                  <a:gd name="connsiteX16" fmla="*/ 482022 w 482022"/>
                  <a:gd name="connsiteY16" fmla="*/ 453480 h 453480"/>
                  <a:gd name="connsiteX17" fmla="*/ 372542 w 482022"/>
                  <a:gd name="connsiteY17" fmla="*/ 331398 h 453480"/>
                  <a:gd name="connsiteX18" fmla="*/ 278320 w 482022"/>
                  <a:gd name="connsiteY18" fmla="*/ 373698 h 453480"/>
                  <a:gd name="connsiteX19" fmla="*/ 241011 w 482022"/>
                  <a:gd name="connsiteY19" fmla="*/ 434297 h 453480"/>
                  <a:gd name="connsiteX20" fmla="*/ 203720 w 482022"/>
                  <a:gd name="connsiteY20" fmla="*/ 373698 h 453480"/>
                  <a:gd name="connsiteX21" fmla="*/ 147237 w 482022"/>
                  <a:gd name="connsiteY21" fmla="*/ 339294 h 453480"/>
                  <a:gd name="connsiteX22" fmla="*/ 192424 w 482022"/>
                  <a:gd name="connsiteY22" fmla="*/ 353067 h 453480"/>
                  <a:gd name="connsiteX23" fmla="*/ 171878 w 482022"/>
                  <a:gd name="connsiteY23" fmla="*/ 307252 h 453480"/>
                  <a:gd name="connsiteX24" fmla="*/ 241001 w 482022"/>
                  <a:gd name="connsiteY24" fmla="*/ 338408 h 453480"/>
                  <a:gd name="connsiteX25" fmla="*/ 308781 w 482022"/>
                  <a:gd name="connsiteY25" fmla="*/ 308605 h 453480"/>
                  <a:gd name="connsiteX26" fmla="*/ 294465 w 482022"/>
                  <a:gd name="connsiteY26" fmla="*/ 338408 h 453480"/>
                  <a:gd name="connsiteX27" fmla="*/ 338471 w 482022"/>
                  <a:gd name="connsiteY27" fmla="*/ 328902 h 453480"/>
                  <a:gd name="connsiteX28" fmla="*/ 278320 w 482022"/>
                  <a:gd name="connsiteY28" fmla="*/ 373698 h 453480"/>
                  <a:gd name="connsiteX29" fmla="*/ 348091 w 482022"/>
                  <a:gd name="connsiteY29" fmla="*/ 179550 h 453480"/>
                  <a:gd name="connsiteX30" fmla="*/ 328126 w 482022"/>
                  <a:gd name="connsiteY30" fmla="*/ 254760 h 453480"/>
                  <a:gd name="connsiteX31" fmla="*/ 241011 w 482022"/>
                  <a:gd name="connsiteY31" fmla="*/ 319549 h 453480"/>
                  <a:gd name="connsiteX32" fmla="*/ 156610 w 482022"/>
                  <a:gd name="connsiteY32" fmla="*/ 259941 h 453480"/>
                  <a:gd name="connsiteX33" fmla="*/ 187414 w 482022"/>
                  <a:gd name="connsiteY33" fmla="*/ 263151 h 453480"/>
                  <a:gd name="connsiteX34" fmla="*/ 197824 w 482022"/>
                  <a:gd name="connsiteY34" fmla="*/ 262694 h 453480"/>
                  <a:gd name="connsiteX35" fmla="*/ 217713 w 482022"/>
                  <a:gd name="connsiteY35" fmla="*/ 270752 h 453480"/>
                  <a:gd name="connsiteX36" fmla="*/ 234400 w 482022"/>
                  <a:gd name="connsiteY36" fmla="*/ 247092 h 453480"/>
                  <a:gd name="connsiteX37" fmla="*/ 210731 w 482022"/>
                  <a:gd name="connsiteY37" fmla="*/ 230423 h 453480"/>
                  <a:gd name="connsiteX38" fmla="*/ 195491 w 482022"/>
                  <a:gd name="connsiteY38" fmla="*/ 242358 h 453480"/>
                  <a:gd name="connsiteX39" fmla="*/ 145847 w 482022"/>
                  <a:gd name="connsiteY39" fmla="*/ 235872 h 453480"/>
                  <a:gd name="connsiteX40" fmla="*/ 134264 w 482022"/>
                  <a:gd name="connsiteY40" fmla="*/ 183379 h 453480"/>
                  <a:gd name="connsiteX41" fmla="*/ 203073 w 482022"/>
                  <a:gd name="connsiteY41" fmla="*/ 166073 h 453480"/>
                  <a:gd name="connsiteX42" fmla="*/ 306648 w 482022"/>
                  <a:gd name="connsiteY42" fmla="*/ 109485 h 453480"/>
                  <a:gd name="connsiteX43" fmla="*/ 307495 w 482022"/>
                  <a:gd name="connsiteY43" fmla="*/ 108894 h 453480"/>
                  <a:gd name="connsiteX44" fmla="*/ 309981 w 482022"/>
                  <a:gd name="connsiteY44" fmla="*/ 112856 h 453480"/>
                  <a:gd name="connsiteX45" fmla="*/ 305495 w 482022"/>
                  <a:gd name="connsiteY45" fmla="*/ 158110 h 453480"/>
                  <a:gd name="connsiteX46" fmla="*/ 341947 w 482022"/>
                  <a:gd name="connsiteY46" fmla="*/ 162748 h 453480"/>
                  <a:gd name="connsiteX47" fmla="*/ 342614 w 482022"/>
                  <a:gd name="connsiteY47" fmla="*/ 162748 h 453480"/>
                  <a:gd name="connsiteX48" fmla="*/ 349282 w 482022"/>
                  <a:gd name="connsiteY48" fmla="*/ 163977 h 453480"/>
                  <a:gd name="connsiteX49" fmla="*/ 348091 w 482022"/>
                  <a:gd name="connsiteY49"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34400 w 482022"/>
                  <a:gd name="connsiteY35" fmla="*/ 247092 h 453480"/>
                  <a:gd name="connsiteX36" fmla="*/ 210731 w 482022"/>
                  <a:gd name="connsiteY36" fmla="*/ 230423 h 453480"/>
                  <a:gd name="connsiteX37" fmla="*/ 195491 w 482022"/>
                  <a:gd name="connsiteY37" fmla="*/ 242358 h 453480"/>
                  <a:gd name="connsiteX38" fmla="*/ 145847 w 482022"/>
                  <a:gd name="connsiteY38" fmla="*/ 235872 h 453480"/>
                  <a:gd name="connsiteX39" fmla="*/ 134264 w 482022"/>
                  <a:gd name="connsiteY39" fmla="*/ 183379 h 453480"/>
                  <a:gd name="connsiteX40" fmla="*/ 203073 w 482022"/>
                  <a:gd name="connsiteY40" fmla="*/ 166073 h 453480"/>
                  <a:gd name="connsiteX41" fmla="*/ 306648 w 482022"/>
                  <a:gd name="connsiteY41" fmla="*/ 109485 h 453480"/>
                  <a:gd name="connsiteX42" fmla="*/ 307495 w 482022"/>
                  <a:gd name="connsiteY42" fmla="*/ 108894 h 453480"/>
                  <a:gd name="connsiteX43" fmla="*/ 309981 w 482022"/>
                  <a:gd name="connsiteY43" fmla="*/ 112856 h 453480"/>
                  <a:gd name="connsiteX44" fmla="*/ 305495 w 482022"/>
                  <a:gd name="connsiteY44" fmla="*/ 158110 h 453480"/>
                  <a:gd name="connsiteX45" fmla="*/ 341947 w 482022"/>
                  <a:gd name="connsiteY45" fmla="*/ 162748 h 453480"/>
                  <a:gd name="connsiteX46" fmla="*/ 342614 w 482022"/>
                  <a:gd name="connsiteY46" fmla="*/ 162748 h 453480"/>
                  <a:gd name="connsiteX47" fmla="*/ 349282 w 482022"/>
                  <a:gd name="connsiteY47" fmla="*/ 163977 h 453480"/>
                  <a:gd name="connsiteX48" fmla="*/ 348091 w 482022"/>
                  <a:gd name="connsiteY48"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10731 w 482022"/>
                  <a:gd name="connsiteY35" fmla="*/ 230423 h 453480"/>
                  <a:gd name="connsiteX36" fmla="*/ 195491 w 482022"/>
                  <a:gd name="connsiteY36" fmla="*/ 242358 h 453480"/>
                  <a:gd name="connsiteX37" fmla="*/ 145847 w 482022"/>
                  <a:gd name="connsiteY37" fmla="*/ 235872 h 453480"/>
                  <a:gd name="connsiteX38" fmla="*/ 134264 w 482022"/>
                  <a:gd name="connsiteY38" fmla="*/ 183379 h 453480"/>
                  <a:gd name="connsiteX39" fmla="*/ 203073 w 482022"/>
                  <a:gd name="connsiteY39" fmla="*/ 166073 h 453480"/>
                  <a:gd name="connsiteX40" fmla="*/ 306648 w 482022"/>
                  <a:gd name="connsiteY40" fmla="*/ 109485 h 453480"/>
                  <a:gd name="connsiteX41" fmla="*/ 307495 w 482022"/>
                  <a:gd name="connsiteY41" fmla="*/ 108894 h 453480"/>
                  <a:gd name="connsiteX42" fmla="*/ 309981 w 482022"/>
                  <a:gd name="connsiteY42" fmla="*/ 112856 h 453480"/>
                  <a:gd name="connsiteX43" fmla="*/ 305495 w 482022"/>
                  <a:gd name="connsiteY43" fmla="*/ 158110 h 453480"/>
                  <a:gd name="connsiteX44" fmla="*/ 341947 w 482022"/>
                  <a:gd name="connsiteY44" fmla="*/ 162748 h 453480"/>
                  <a:gd name="connsiteX45" fmla="*/ 342614 w 482022"/>
                  <a:gd name="connsiteY45" fmla="*/ 162748 h 453480"/>
                  <a:gd name="connsiteX46" fmla="*/ 349282 w 482022"/>
                  <a:gd name="connsiteY46" fmla="*/ 163977 h 453480"/>
                  <a:gd name="connsiteX47" fmla="*/ 348091 w 482022"/>
                  <a:gd name="connsiteY47"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195491 w 482022"/>
                  <a:gd name="connsiteY35" fmla="*/ 242358 h 453480"/>
                  <a:gd name="connsiteX36" fmla="*/ 145847 w 482022"/>
                  <a:gd name="connsiteY36" fmla="*/ 235872 h 453480"/>
                  <a:gd name="connsiteX37" fmla="*/ 134264 w 482022"/>
                  <a:gd name="connsiteY37" fmla="*/ 183379 h 453480"/>
                  <a:gd name="connsiteX38" fmla="*/ 203073 w 482022"/>
                  <a:gd name="connsiteY38" fmla="*/ 166073 h 453480"/>
                  <a:gd name="connsiteX39" fmla="*/ 306648 w 482022"/>
                  <a:gd name="connsiteY39" fmla="*/ 109485 h 453480"/>
                  <a:gd name="connsiteX40" fmla="*/ 307495 w 482022"/>
                  <a:gd name="connsiteY40" fmla="*/ 108894 h 453480"/>
                  <a:gd name="connsiteX41" fmla="*/ 309981 w 482022"/>
                  <a:gd name="connsiteY41" fmla="*/ 112856 h 453480"/>
                  <a:gd name="connsiteX42" fmla="*/ 305495 w 482022"/>
                  <a:gd name="connsiteY42" fmla="*/ 158110 h 453480"/>
                  <a:gd name="connsiteX43" fmla="*/ 341947 w 482022"/>
                  <a:gd name="connsiteY43" fmla="*/ 162748 h 453480"/>
                  <a:gd name="connsiteX44" fmla="*/ 342614 w 482022"/>
                  <a:gd name="connsiteY44" fmla="*/ 162748 h 453480"/>
                  <a:gd name="connsiteX45" fmla="*/ 349282 w 482022"/>
                  <a:gd name="connsiteY45" fmla="*/ 163977 h 453480"/>
                  <a:gd name="connsiteX46" fmla="*/ 348091 w 482022"/>
                  <a:gd name="connsiteY46"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195491 w 482022"/>
                  <a:gd name="connsiteY34" fmla="*/ 242358 h 453480"/>
                  <a:gd name="connsiteX35" fmla="*/ 145847 w 482022"/>
                  <a:gd name="connsiteY35" fmla="*/ 235872 h 453480"/>
                  <a:gd name="connsiteX36" fmla="*/ 134264 w 482022"/>
                  <a:gd name="connsiteY36" fmla="*/ 183379 h 453480"/>
                  <a:gd name="connsiteX37" fmla="*/ 203073 w 482022"/>
                  <a:gd name="connsiteY37" fmla="*/ 166073 h 453480"/>
                  <a:gd name="connsiteX38" fmla="*/ 306648 w 482022"/>
                  <a:gd name="connsiteY38" fmla="*/ 109485 h 453480"/>
                  <a:gd name="connsiteX39" fmla="*/ 307495 w 482022"/>
                  <a:gd name="connsiteY39" fmla="*/ 108894 h 453480"/>
                  <a:gd name="connsiteX40" fmla="*/ 309981 w 482022"/>
                  <a:gd name="connsiteY40" fmla="*/ 112856 h 453480"/>
                  <a:gd name="connsiteX41" fmla="*/ 305495 w 482022"/>
                  <a:gd name="connsiteY41" fmla="*/ 158110 h 453480"/>
                  <a:gd name="connsiteX42" fmla="*/ 341947 w 482022"/>
                  <a:gd name="connsiteY42" fmla="*/ 162748 h 453480"/>
                  <a:gd name="connsiteX43" fmla="*/ 342614 w 482022"/>
                  <a:gd name="connsiteY43" fmla="*/ 162748 h 453480"/>
                  <a:gd name="connsiteX44" fmla="*/ 349282 w 482022"/>
                  <a:gd name="connsiteY44" fmla="*/ 163977 h 453480"/>
                  <a:gd name="connsiteX45" fmla="*/ 348091 w 482022"/>
                  <a:gd name="connsiteY45"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5491 w 482022"/>
                  <a:gd name="connsiteY33" fmla="*/ 242358 h 453480"/>
                  <a:gd name="connsiteX34" fmla="*/ 145847 w 482022"/>
                  <a:gd name="connsiteY34" fmla="*/ 235872 h 453480"/>
                  <a:gd name="connsiteX35" fmla="*/ 134264 w 482022"/>
                  <a:gd name="connsiteY35" fmla="*/ 183379 h 453480"/>
                  <a:gd name="connsiteX36" fmla="*/ 203073 w 482022"/>
                  <a:gd name="connsiteY36" fmla="*/ 166073 h 453480"/>
                  <a:gd name="connsiteX37" fmla="*/ 306648 w 482022"/>
                  <a:gd name="connsiteY37" fmla="*/ 109485 h 453480"/>
                  <a:gd name="connsiteX38" fmla="*/ 307495 w 482022"/>
                  <a:gd name="connsiteY38" fmla="*/ 108894 h 453480"/>
                  <a:gd name="connsiteX39" fmla="*/ 309981 w 482022"/>
                  <a:gd name="connsiteY39" fmla="*/ 112856 h 453480"/>
                  <a:gd name="connsiteX40" fmla="*/ 305495 w 482022"/>
                  <a:gd name="connsiteY40" fmla="*/ 158110 h 453480"/>
                  <a:gd name="connsiteX41" fmla="*/ 341947 w 482022"/>
                  <a:gd name="connsiteY41" fmla="*/ 162748 h 453480"/>
                  <a:gd name="connsiteX42" fmla="*/ 342614 w 482022"/>
                  <a:gd name="connsiteY42" fmla="*/ 162748 h 453480"/>
                  <a:gd name="connsiteX43" fmla="*/ 349282 w 482022"/>
                  <a:gd name="connsiteY43" fmla="*/ 163977 h 453480"/>
                  <a:gd name="connsiteX44" fmla="*/ 348091 w 482022"/>
                  <a:gd name="connsiteY44"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45847 w 482022"/>
                  <a:gd name="connsiteY33" fmla="*/ 235872 h 453480"/>
                  <a:gd name="connsiteX34" fmla="*/ 134264 w 482022"/>
                  <a:gd name="connsiteY34" fmla="*/ 183379 h 453480"/>
                  <a:gd name="connsiteX35" fmla="*/ 203073 w 482022"/>
                  <a:gd name="connsiteY35" fmla="*/ 166073 h 453480"/>
                  <a:gd name="connsiteX36" fmla="*/ 306648 w 482022"/>
                  <a:gd name="connsiteY36" fmla="*/ 109485 h 453480"/>
                  <a:gd name="connsiteX37" fmla="*/ 307495 w 482022"/>
                  <a:gd name="connsiteY37" fmla="*/ 108894 h 453480"/>
                  <a:gd name="connsiteX38" fmla="*/ 309981 w 482022"/>
                  <a:gd name="connsiteY38" fmla="*/ 112856 h 453480"/>
                  <a:gd name="connsiteX39" fmla="*/ 305495 w 482022"/>
                  <a:gd name="connsiteY39" fmla="*/ 158110 h 453480"/>
                  <a:gd name="connsiteX40" fmla="*/ 341947 w 482022"/>
                  <a:gd name="connsiteY40" fmla="*/ 162748 h 453480"/>
                  <a:gd name="connsiteX41" fmla="*/ 342614 w 482022"/>
                  <a:gd name="connsiteY41" fmla="*/ 162748 h 453480"/>
                  <a:gd name="connsiteX42" fmla="*/ 349282 w 482022"/>
                  <a:gd name="connsiteY42" fmla="*/ 163977 h 453480"/>
                  <a:gd name="connsiteX43" fmla="*/ 348091 w 482022"/>
                  <a:gd name="connsiteY4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45847 w 482022"/>
                  <a:gd name="connsiteY32" fmla="*/ 235872 h 453480"/>
                  <a:gd name="connsiteX33" fmla="*/ 134264 w 482022"/>
                  <a:gd name="connsiteY33" fmla="*/ 183379 h 453480"/>
                  <a:gd name="connsiteX34" fmla="*/ 203073 w 482022"/>
                  <a:gd name="connsiteY34" fmla="*/ 166073 h 453480"/>
                  <a:gd name="connsiteX35" fmla="*/ 306648 w 482022"/>
                  <a:gd name="connsiteY35" fmla="*/ 109485 h 453480"/>
                  <a:gd name="connsiteX36" fmla="*/ 307495 w 482022"/>
                  <a:gd name="connsiteY36" fmla="*/ 108894 h 453480"/>
                  <a:gd name="connsiteX37" fmla="*/ 309981 w 482022"/>
                  <a:gd name="connsiteY37" fmla="*/ 112856 h 453480"/>
                  <a:gd name="connsiteX38" fmla="*/ 305495 w 482022"/>
                  <a:gd name="connsiteY38" fmla="*/ 158110 h 453480"/>
                  <a:gd name="connsiteX39" fmla="*/ 341947 w 482022"/>
                  <a:gd name="connsiteY39" fmla="*/ 162748 h 453480"/>
                  <a:gd name="connsiteX40" fmla="*/ 342614 w 482022"/>
                  <a:gd name="connsiteY40" fmla="*/ 162748 h 453480"/>
                  <a:gd name="connsiteX41" fmla="*/ 349282 w 482022"/>
                  <a:gd name="connsiteY41" fmla="*/ 163977 h 453480"/>
                  <a:gd name="connsiteX42" fmla="*/ 348091 w 482022"/>
                  <a:gd name="connsiteY4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91697 w 482022"/>
                  <a:gd name="connsiteY9" fmla="*/ 224385 h 453480"/>
                  <a:gd name="connsiteX10" fmla="*/ 108432 w 482022"/>
                  <a:gd name="connsiteY10" fmla="*/ 239501 h 453480"/>
                  <a:gd name="connsiteX11" fmla="*/ 57588 w 482022"/>
                  <a:gd name="connsiteY11" fmla="*/ 339294 h 453480"/>
                  <a:gd name="connsiteX12" fmla="*/ 92316 w 482022"/>
                  <a:gd name="connsiteY12" fmla="*/ 337904 h 453480"/>
                  <a:gd name="connsiteX13" fmla="*/ 0 w 482022"/>
                  <a:gd name="connsiteY13" fmla="*/ 453480 h 453480"/>
                  <a:gd name="connsiteX14" fmla="*/ 482022 w 482022"/>
                  <a:gd name="connsiteY14" fmla="*/ 453480 h 453480"/>
                  <a:gd name="connsiteX15" fmla="*/ 372542 w 482022"/>
                  <a:gd name="connsiteY15" fmla="*/ 331398 h 453480"/>
                  <a:gd name="connsiteX16" fmla="*/ 278320 w 482022"/>
                  <a:gd name="connsiteY16" fmla="*/ 373698 h 453480"/>
                  <a:gd name="connsiteX17" fmla="*/ 241011 w 482022"/>
                  <a:gd name="connsiteY17" fmla="*/ 434297 h 453480"/>
                  <a:gd name="connsiteX18" fmla="*/ 203720 w 482022"/>
                  <a:gd name="connsiteY18" fmla="*/ 373698 h 453480"/>
                  <a:gd name="connsiteX19" fmla="*/ 147237 w 482022"/>
                  <a:gd name="connsiteY19" fmla="*/ 339294 h 453480"/>
                  <a:gd name="connsiteX20" fmla="*/ 192424 w 482022"/>
                  <a:gd name="connsiteY20" fmla="*/ 353067 h 453480"/>
                  <a:gd name="connsiteX21" fmla="*/ 171878 w 482022"/>
                  <a:gd name="connsiteY21" fmla="*/ 307252 h 453480"/>
                  <a:gd name="connsiteX22" fmla="*/ 241001 w 482022"/>
                  <a:gd name="connsiteY22" fmla="*/ 338408 h 453480"/>
                  <a:gd name="connsiteX23" fmla="*/ 308781 w 482022"/>
                  <a:gd name="connsiteY23" fmla="*/ 308605 h 453480"/>
                  <a:gd name="connsiteX24" fmla="*/ 294465 w 482022"/>
                  <a:gd name="connsiteY24" fmla="*/ 338408 h 453480"/>
                  <a:gd name="connsiteX25" fmla="*/ 338471 w 482022"/>
                  <a:gd name="connsiteY25" fmla="*/ 328902 h 453480"/>
                  <a:gd name="connsiteX26" fmla="*/ 278320 w 482022"/>
                  <a:gd name="connsiteY26" fmla="*/ 373698 h 453480"/>
                  <a:gd name="connsiteX27" fmla="*/ 348091 w 482022"/>
                  <a:gd name="connsiteY27" fmla="*/ 179550 h 453480"/>
                  <a:gd name="connsiteX28" fmla="*/ 328126 w 482022"/>
                  <a:gd name="connsiteY28" fmla="*/ 254760 h 453480"/>
                  <a:gd name="connsiteX29" fmla="*/ 241011 w 482022"/>
                  <a:gd name="connsiteY29" fmla="*/ 319549 h 453480"/>
                  <a:gd name="connsiteX30" fmla="*/ 156610 w 482022"/>
                  <a:gd name="connsiteY30" fmla="*/ 259941 h 453480"/>
                  <a:gd name="connsiteX31" fmla="*/ 145847 w 482022"/>
                  <a:gd name="connsiteY31" fmla="*/ 235872 h 453480"/>
                  <a:gd name="connsiteX32" fmla="*/ 134264 w 482022"/>
                  <a:gd name="connsiteY32" fmla="*/ 183379 h 453480"/>
                  <a:gd name="connsiteX33" fmla="*/ 203073 w 482022"/>
                  <a:gd name="connsiteY33" fmla="*/ 166073 h 453480"/>
                  <a:gd name="connsiteX34" fmla="*/ 306648 w 482022"/>
                  <a:gd name="connsiteY34" fmla="*/ 109485 h 453480"/>
                  <a:gd name="connsiteX35" fmla="*/ 307495 w 482022"/>
                  <a:gd name="connsiteY35" fmla="*/ 108894 h 453480"/>
                  <a:gd name="connsiteX36" fmla="*/ 309981 w 482022"/>
                  <a:gd name="connsiteY36" fmla="*/ 112856 h 453480"/>
                  <a:gd name="connsiteX37" fmla="*/ 305495 w 482022"/>
                  <a:gd name="connsiteY37" fmla="*/ 158110 h 453480"/>
                  <a:gd name="connsiteX38" fmla="*/ 341947 w 482022"/>
                  <a:gd name="connsiteY38" fmla="*/ 162748 h 453480"/>
                  <a:gd name="connsiteX39" fmla="*/ 342614 w 482022"/>
                  <a:gd name="connsiteY39" fmla="*/ 162748 h 453480"/>
                  <a:gd name="connsiteX40" fmla="*/ 349282 w 482022"/>
                  <a:gd name="connsiteY40" fmla="*/ 163977 h 453480"/>
                  <a:gd name="connsiteX41" fmla="*/ 348091 w 482022"/>
                  <a:gd name="connsiteY4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8432 w 482022"/>
                  <a:gd name="connsiteY9" fmla="*/ 239501 h 453480"/>
                  <a:gd name="connsiteX10" fmla="*/ 57588 w 482022"/>
                  <a:gd name="connsiteY10" fmla="*/ 339294 h 453480"/>
                  <a:gd name="connsiteX11" fmla="*/ 92316 w 482022"/>
                  <a:gd name="connsiteY11" fmla="*/ 337904 h 453480"/>
                  <a:gd name="connsiteX12" fmla="*/ 0 w 482022"/>
                  <a:gd name="connsiteY12" fmla="*/ 453480 h 453480"/>
                  <a:gd name="connsiteX13" fmla="*/ 482022 w 482022"/>
                  <a:gd name="connsiteY13" fmla="*/ 453480 h 453480"/>
                  <a:gd name="connsiteX14" fmla="*/ 372542 w 482022"/>
                  <a:gd name="connsiteY14" fmla="*/ 331398 h 453480"/>
                  <a:gd name="connsiteX15" fmla="*/ 278320 w 482022"/>
                  <a:gd name="connsiteY15" fmla="*/ 373698 h 453480"/>
                  <a:gd name="connsiteX16" fmla="*/ 241011 w 482022"/>
                  <a:gd name="connsiteY16" fmla="*/ 434297 h 453480"/>
                  <a:gd name="connsiteX17" fmla="*/ 203720 w 482022"/>
                  <a:gd name="connsiteY17" fmla="*/ 373698 h 453480"/>
                  <a:gd name="connsiteX18" fmla="*/ 147237 w 482022"/>
                  <a:gd name="connsiteY18" fmla="*/ 339294 h 453480"/>
                  <a:gd name="connsiteX19" fmla="*/ 192424 w 482022"/>
                  <a:gd name="connsiteY19" fmla="*/ 353067 h 453480"/>
                  <a:gd name="connsiteX20" fmla="*/ 171878 w 482022"/>
                  <a:gd name="connsiteY20" fmla="*/ 307252 h 453480"/>
                  <a:gd name="connsiteX21" fmla="*/ 241001 w 482022"/>
                  <a:gd name="connsiteY21" fmla="*/ 338408 h 453480"/>
                  <a:gd name="connsiteX22" fmla="*/ 308781 w 482022"/>
                  <a:gd name="connsiteY22" fmla="*/ 308605 h 453480"/>
                  <a:gd name="connsiteX23" fmla="*/ 294465 w 482022"/>
                  <a:gd name="connsiteY23" fmla="*/ 338408 h 453480"/>
                  <a:gd name="connsiteX24" fmla="*/ 338471 w 482022"/>
                  <a:gd name="connsiteY24" fmla="*/ 328902 h 453480"/>
                  <a:gd name="connsiteX25" fmla="*/ 278320 w 482022"/>
                  <a:gd name="connsiteY25" fmla="*/ 373698 h 453480"/>
                  <a:gd name="connsiteX26" fmla="*/ 348091 w 482022"/>
                  <a:gd name="connsiteY26" fmla="*/ 179550 h 453480"/>
                  <a:gd name="connsiteX27" fmla="*/ 328126 w 482022"/>
                  <a:gd name="connsiteY27" fmla="*/ 254760 h 453480"/>
                  <a:gd name="connsiteX28" fmla="*/ 241011 w 482022"/>
                  <a:gd name="connsiteY28" fmla="*/ 319549 h 453480"/>
                  <a:gd name="connsiteX29" fmla="*/ 156610 w 482022"/>
                  <a:gd name="connsiteY29" fmla="*/ 259941 h 453480"/>
                  <a:gd name="connsiteX30" fmla="*/ 145847 w 482022"/>
                  <a:gd name="connsiteY30" fmla="*/ 235872 h 453480"/>
                  <a:gd name="connsiteX31" fmla="*/ 134264 w 482022"/>
                  <a:gd name="connsiteY31" fmla="*/ 183379 h 453480"/>
                  <a:gd name="connsiteX32" fmla="*/ 203073 w 482022"/>
                  <a:gd name="connsiteY32" fmla="*/ 166073 h 453480"/>
                  <a:gd name="connsiteX33" fmla="*/ 306648 w 482022"/>
                  <a:gd name="connsiteY33" fmla="*/ 109485 h 453480"/>
                  <a:gd name="connsiteX34" fmla="*/ 307495 w 482022"/>
                  <a:gd name="connsiteY34" fmla="*/ 108894 h 453480"/>
                  <a:gd name="connsiteX35" fmla="*/ 309981 w 482022"/>
                  <a:gd name="connsiteY35" fmla="*/ 112856 h 453480"/>
                  <a:gd name="connsiteX36" fmla="*/ 305495 w 482022"/>
                  <a:gd name="connsiteY36" fmla="*/ 158110 h 453480"/>
                  <a:gd name="connsiteX37" fmla="*/ 341947 w 482022"/>
                  <a:gd name="connsiteY37" fmla="*/ 162748 h 453480"/>
                  <a:gd name="connsiteX38" fmla="*/ 342614 w 482022"/>
                  <a:gd name="connsiteY38" fmla="*/ 162748 h 453480"/>
                  <a:gd name="connsiteX39" fmla="*/ 349282 w 482022"/>
                  <a:gd name="connsiteY39" fmla="*/ 163977 h 453480"/>
                  <a:gd name="connsiteX40" fmla="*/ 348091 w 482022"/>
                  <a:gd name="connsiteY4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8432 w 482022"/>
                  <a:gd name="connsiteY8" fmla="*/ 239501 h 453480"/>
                  <a:gd name="connsiteX9" fmla="*/ 57588 w 482022"/>
                  <a:gd name="connsiteY9" fmla="*/ 339294 h 453480"/>
                  <a:gd name="connsiteX10" fmla="*/ 92316 w 482022"/>
                  <a:gd name="connsiteY10" fmla="*/ 337904 h 453480"/>
                  <a:gd name="connsiteX11" fmla="*/ 0 w 482022"/>
                  <a:gd name="connsiteY11" fmla="*/ 453480 h 453480"/>
                  <a:gd name="connsiteX12" fmla="*/ 482022 w 482022"/>
                  <a:gd name="connsiteY12" fmla="*/ 453480 h 453480"/>
                  <a:gd name="connsiteX13" fmla="*/ 372542 w 482022"/>
                  <a:gd name="connsiteY13" fmla="*/ 331398 h 453480"/>
                  <a:gd name="connsiteX14" fmla="*/ 278320 w 482022"/>
                  <a:gd name="connsiteY14" fmla="*/ 373698 h 453480"/>
                  <a:gd name="connsiteX15" fmla="*/ 241011 w 482022"/>
                  <a:gd name="connsiteY15" fmla="*/ 434297 h 453480"/>
                  <a:gd name="connsiteX16" fmla="*/ 203720 w 482022"/>
                  <a:gd name="connsiteY16" fmla="*/ 373698 h 453480"/>
                  <a:gd name="connsiteX17" fmla="*/ 147237 w 482022"/>
                  <a:gd name="connsiteY17" fmla="*/ 339294 h 453480"/>
                  <a:gd name="connsiteX18" fmla="*/ 192424 w 482022"/>
                  <a:gd name="connsiteY18" fmla="*/ 353067 h 453480"/>
                  <a:gd name="connsiteX19" fmla="*/ 171878 w 482022"/>
                  <a:gd name="connsiteY19" fmla="*/ 307252 h 453480"/>
                  <a:gd name="connsiteX20" fmla="*/ 241001 w 482022"/>
                  <a:gd name="connsiteY20" fmla="*/ 338408 h 453480"/>
                  <a:gd name="connsiteX21" fmla="*/ 308781 w 482022"/>
                  <a:gd name="connsiteY21" fmla="*/ 308605 h 453480"/>
                  <a:gd name="connsiteX22" fmla="*/ 294465 w 482022"/>
                  <a:gd name="connsiteY22" fmla="*/ 338408 h 453480"/>
                  <a:gd name="connsiteX23" fmla="*/ 338471 w 482022"/>
                  <a:gd name="connsiteY23" fmla="*/ 328902 h 453480"/>
                  <a:gd name="connsiteX24" fmla="*/ 278320 w 482022"/>
                  <a:gd name="connsiteY24" fmla="*/ 373698 h 453480"/>
                  <a:gd name="connsiteX25" fmla="*/ 348091 w 482022"/>
                  <a:gd name="connsiteY25" fmla="*/ 179550 h 453480"/>
                  <a:gd name="connsiteX26" fmla="*/ 328126 w 482022"/>
                  <a:gd name="connsiteY26" fmla="*/ 254760 h 453480"/>
                  <a:gd name="connsiteX27" fmla="*/ 241011 w 482022"/>
                  <a:gd name="connsiteY27" fmla="*/ 319549 h 453480"/>
                  <a:gd name="connsiteX28" fmla="*/ 156610 w 482022"/>
                  <a:gd name="connsiteY28" fmla="*/ 259941 h 453480"/>
                  <a:gd name="connsiteX29" fmla="*/ 145847 w 482022"/>
                  <a:gd name="connsiteY29" fmla="*/ 235872 h 453480"/>
                  <a:gd name="connsiteX30" fmla="*/ 134264 w 482022"/>
                  <a:gd name="connsiteY30" fmla="*/ 183379 h 453480"/>
                  <a:gd name="connsiteX31" fmla="*/ 203073 w 482022"/>
                  <a:gd name="connsiteY31" fmla="*/ 166073 h 453480"/>
                  <a:gd name="connsiteX32" fmla="*/ 306648 w 482022"/>
                  <a:gd name="connsiteY32" fmla="*/ 109485 h 453480"/>
                  <a:gd name="connsiteX33" fmla="*/ 307495 w 482022"/>
                  <a:gd name="connsiteY33" fmla="*/ 108894 h 453480"/>
                  <a:gd name="connsiteX34" fmla="*/ 309981 w 482022"/>
                  <a:gd name="connsiteY34" fmla="*/ 112856 h 453480"/>
                  <a:gd name="connsiteX35" fmla="*/ 305495 w 482022"/>
                  <a:gd name="connsiteY35" fmla="*/ 158110 h 453480"/>
                  <a:gd name="connsiteX36" fmla="*/ 341947 w 482022"/>
                  <a:gd name="connsiteY36" fmla="*/ 162748 h 453480"/>
                  <a:gd name="connsiteX37" fmla="*/ 342614 w 482022"/>
                  <a:gd name="connsiteY37" fmla="*/ 162748 h 453480"/>
                  <a:gd name="connsiteX38" fmla="*/ 349282 w 482022"/>
                  <a:gd name="connsiteY38" fmla="*/ 163977 h 453480"/>
                  <a:gd name="connsiteX39" fmla="*/ 348091 w 482022"/>
                  <a:gd name="connsiteY39" fmla="*/ 179550 h 45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2022" h="453480">
                    <a:moveTo>
                      <a:pt x="372542" y="331398"/>
                    </a:moveTo>
                    <a:cubicBezTo>
                      <a:pt x="400202" y="334503"/>
                      <a:pt x="424453" y="339285"/>
                      <a:pt x="424453" y="339285"/>
                    </a:cubicBezTo>
                    <a:cubicBezTo>
                      <a:pt x="369265" y="308938"/>
                      <a:pt x="370684" y="200020"/>
                      <a:pt x="370684" y="200020"/>
                    </a:cubicBezTo>
                    <a:cubicBezTo>
                      <a:pt x="380352" y="-10931"/>
                      <a:pt x="241135" y="99"/>
                      <a:pt x="241135" y="99"/>
                    </a:cubicBezTo>
                    <a:cubicBezTo>
                      <a:pt x="241094" y="210"/>
                      <a:pt x="241052" y="322"/>
                      <a:pt x="241011" y="433"/>
                    </a:cubicBezTo>
                    <a:lnTo>
                      <a:pt x="240906" y="99"/>
                    </a:lnTo>
                    <a:cubicBezTo>
                      <a:pt x="240906" y="99"/>
                      <a:pt x="101689" y="-10931"/>
                      <a:pt x="111337" y="200020"/>
                    </a:cubicBezTo>
                    <a:cubicBezTo>
                      <a:pt x="111337" y="200020"/>
                      <a:pt x="111404" y="205811"/>
                      <a:pt x="110852" y="215041"/>
                    </a:cubicBezTo>
                    <a:cubicBezTo>
                      <a:pt x="110368" y="221621"/>
                      <a:pt x="117309" y="218792"/>
                      <a:pt x="108432" y="239501"/>
                    </a:cubicBezTo>
                    <a:cubicBezTo>
                      <a:pt x="103632" y="273857"/>
                      <a:pt x="90973" y="320930"/>
                      <a:pt x="57588" y="339294"/>
                    </a:cubicBezTo>
                    <a:cubicBezTo>
                      <a:pt x="57588" y="339294"/>
                      <a:pt x="72437" y="338265"/>
                      <a:pt x="92316" y="337904"/>
                    </a:cubicBezTo>
                    <a:cubicBezTo>
                      <a:pt x="45320" y="358897"/>
                      <a:pt x="10315" y="401721"/>
                      <a:pt x="0" y="453480"/>
                    </a:cubicBezTo>
                    <a:lnTo>
                      <a:pt x="482022" y="453480"/>
                    </a:lnTo>
                    <a:cubicBezTo>
                      <a:pt x="470459" y="395596"/>
                      <a:pt x="428025" y="348876"/>
                      <a:pt x="372542" y="331398"/>
                    </a:cubicBezTo>
                    <a:close/>
                    <a:moveTo>
                      <a:pt x="278320" y="373698"/>
                    </a:moveTo>
                    <a:lnTo>
                      <a:pt x="241011" y="434297"/>
                    </a:lnTo>
                    <a:lnTo>
                      <a:pt x="203720" y="373698"/>
                    </a:lnTo>
                    <a:cubicBezTo>
                      <a:pt x="176612" y="367536"/>
                      <a:pt x="155676" y="354887"/>
                      <a:pt x="147237" y="339294"/>
                    </a:cubicBezTo>
                    <a:cubicBezTo>
                      <a:pt x="169107" y="341190"/>
                      <a:pt x="187633" y="345190"/>
                      <a:pt x="192424" y="353067"/>
                    </a:cubicBezTo>
                    <a:lnTo>
                      <a:pt x="171878" y="307252"/>
                    </a:lnTo>
                    <a:cubicBezTo>
                      <a:pt x="191557" y="326902"/>
                      <a:pt x="215360" y="338408"/>
                      <a:pt x="241001" y="338408"/>
                    </a:cubicBezTo>
                    <a:cubicBezTo>
                      <a:pt x="266043" y="338408"/>
                      <a:pt x="289360" y="327407"/>
                      <a:pt x="308781" y="308605"/>
                    </a:cubicBezTo>
                    <a:lnTo>
                      <a:pt x="294465" y="338408"/>
                    </a:lnTo>
                    <a:cubicBezTo>
                      <a:pt x="299266" y="330503"/>
                      <a:pt x="317297" y="328360"/>
                      <a:pt x="338471" y="328902"/>
                    </a:cubicBezTo>
                    <a:cubicBezTo>
                      <a:pt x="335118" y="349181"/>
                      <a:pt x="311229" y="366212"/>
                      <a:pt x="278320" y="373698"/>
                    </a:cubicBezTo>
                    <a:close/>
                    <a:moveTo>
                      <a:pt x="348091" y="179550"/>
                    </a:moveTo>
                    <a:cubicBezTo>
                      <a:pt x="345986" y="207478"/>
                      <a:pt x="338880" y="233186"/>
                      <a:pt x="328126" y="254760"/>
                    </a:cubicBezTo>
                    <a:cubicBezTo>
                      <a:pt x="308543" y="294031"/>
                      <a:pt x="276825" y="319549"/>
                      <a:pt x="241011" y="319549"/>
                    </a:cubicBezTo>
                    <a:cubicBezTo>
                      <a:pt x="206807" y="319549"/>
                      <a:pt x="176336" y="296251"/>
                      <a:pt x="156610" y="259941"/>
                    </a:cubicBezTo>
                    <a:cubicBezTo>
                      <a:pt x="140749" y="245995"/>
                      <a:pt x="149571" y="248632"/>
                      <a:pt x="145847" y="235872"/>
                    </a:cubicBezTo>
                    <a:cubicBezTo>
                      <a:pt x="140008" y="219813"/>
                      <a:pt x="135988" y="202134"/>
                      <a:pt x="134264" y="183379"/>
                    </a:cubicBezTo>
                    <a:cubicBezTo>
                      <a:pt x="134264" y="183379"/>
                      <a:pt x="177346" y="176226"/>
                      <a:pt x="203073" y="166073"/>
                    </a:cubicBezTo>
                    <a:cubicBezTo>
                      <a:pt x="203073" y="166073"/>
                      <a:pt x="249698" y="150499"/>
                      <a:pt x="306648" y="109485"/>
                    </a:cubicBezTo>
                    <a:cubicBezTo>
                      <a:pt x="306933" y="109284"/>
                      <a:pt x="307210" y="109084"/>
                      <a:pt x="307495" y="108894"/>
                    </a:cubicBezTo>
                    <a:cubicBezTo>
                      <a:pt x="307495" y="108894"/>
                      <a:pt x="308514" y="110342"/>
                      <a:pt x="309981" y="112856"/>
                    </a:cubicBezTo>
                    <a:cubicBezTo>
                      <a:pt x="314925" y="121315"/>
                      <a:pt x="325498" y="146575"/>
                      <a:pt x="305495" y="158110"/>
                    </a:cubicBezTo>
                    <a:lnTo>
                      <a:pt x="341947" y="162748"/>
                    </a:lnTo>
                    <a:lnTo>
                      <a:pt x="342614" y="162748"/>
                    </a:lnTo>
                    <a:lnTo>
                      <a:pt x="349282" y="163977"/>
                    </a:lnTo>
                    <a:cubicBezTo>
                      <a:pt x="349215" y="169254"/>
                      <a:pt x="348843" y="174464"/>
                      <a:pt x="348091" y="179550"/>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2" name="Freeform: Shape 161">
                <a:extLst>
                  <a:ext uri="{FF2B5EF4-FFF2-40B4-BE49-F238E27FC236}">
                    <a16:creationId xmlns:a16="http://schemas.microsoft.com/office/drawing/2014/main" id="{6DA13AF4-2C2E-4749-A88D-7833F5C96FA1}"/>
                  </a:ext>
                </a:extLst>
              </p:cNvPr>
              <p:cNvSpPr/>
              <p:nvPr/>
            </p:nvSpPr>
            <p:spPr>
              <a:xfrm>
                <a:off x="1017123" y="2728973"/>
                <a:ext cx="345781" cy="18199"/>
              </a:xfrm>
              <a:custGeom>
                <a:avLst/>
                <a:gdLst/>
                <a:ahLst/>
                <a:cxnLst/>
                <a:rect l="0" t="0" r="0" b="0"/>
                <a:pathLst>
                  <a:path w="542925" h="28575">
                    <a:moveTo>
                      <a:pt x="530704" y="7144"/>
                    </a:moveTo>
                    <a:lnTo>
                      <a:pt x="16221" y="7144"/>
                    </a:lnTo>
                    <a:cubicBezTo>
                      <a:pt x="11220" y="7144"/>
                      <a:pt x="7144" y="11201"/>
                      <a:pt x="7144" y="16221"/>
                    </a:cubicBezTo>
                    <a:cubicBezTo>
                      <a:pt x="7144" y="21222"/>
                      <a:pt x="11211" y="25270"/>
                      <a:pt x="16221" y="25270"/>
                    </a:cubicBezTo>
                    <a:lnTo>
                      <a:pt x="530704" y="25270"/>
                    </a:lnTo>
                    <a:cubicBezTo>
                      <a:pt x="535715" y="25270"/>
                      <a:pt x="539772" y="21222"/>
                      <a:pt x="539772" y="16221"/>
                    </a:cubicBezTo>
                    <a:cubicBezTo>
                      <a:pt x="539772" y="11201"/>
                      <a:pt x="535715" y="7144"/>
                      <a:pt x="530704" y="7144"/>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3" name="Freeform: Shape 162">
                <a:extLst>
                  <a:ext uri="{FF2B5EF4-FFF2-40B4-BE49-F238E27FC236}">
                    <a16:creationId xmlns:a16="http://schemas.microsoft.com/office/drawing/2014/main" id="{CB514F95-D2D2-4FC9-B0D5-33F66F5808C2}"/>
                  </a:ext>
                </a:extLst>
              </p:cNvPr>
              <p:cNvSpPr/>
              <p:nvPr/>
            </p:nvSpPr>
            <p:spPr>
              <a:xfrm>
                <a:off x="988993" y="2507722"/>
                <a:ext cx="400378" cy="224455"/>
              </a:xfrm>
              <a:custGeom>
                <a:avLst/>
                <a:gdLst/>
                <a:ahLst/>
                <a:cxnLst/>
                <a:rect l="0" t="0" r="0" b="0"/>
                <a:pathLst>
                  <a:path w="628650" h="352425">
                    <a:moveTo>
                      <a:pt x="90983" y="347120"/>
                    </a:moveTo>
                    <a:lnTo>
                      <a:pt x="544297" y="347120"/>
                    </a:lnTo>
                    <a:cubicBezTo>
                      <a:pt x="565528" y="347120"/>
                      <a:pt x="582825" y="329851"/>
                      <a:pt x="582759" y="308962"/>
                    </a:cubicBezTo>
                    <a:lnTo>
                      <a:pt x="628145" y="45682"/>
                    </a:lnTo>
                    <a:cubicBezTo>
                      <a:pt x="628145" y="24422"/>
                      <a:pt x="610857" y="7144"/>
                      <a:pt x="589617" y="7144"/>
                    </a:cubicBezTo>
                    <a:lnTo>
                      <a:pt x="558641" y="7144"/>
                    </a:lnTo>
                    <a:lnTo>
                      <a:pt x="76610" y="7144"/>
                    </a:lnTo>
                    <a:lnTo>
                      <a:pt x="45653" y="7144"/>
                    </a:lnTo>
                    <a:cubicBezTo>
                      <a:pt x="24403" y="7144"/>
                      <a:pt x="7115" y="24413"/>
                      <a:pt x="7144" y="46063"/>
                    </a:cubicBezTo>
                    <a:lnTo>
                      <a:pt x="52445" y="308591"/>
                    </a:lnTo>
                    <a:cubicBezTo>
                      <a:pt x="52454" y="329841"/>
                      <a:pt x="69733" y="347120"/>
                      <a:pt x="90983" y="347120"/>
                    </a:cubicBezTo>
                    <a:close/>
                    <a:moveTo>
                      <a:pt x="45653" y="11687"/>
                    </a:moveTo>
                    <a:lnTo>
                      <a:pt x="589617" y="11687"/>
                    </a:lnTo>
                    <a:cubicBezTo>
                      <a:pt x="608343" y="11687"/>
                      <a:pt x="623611" y="26946"/>
                      <a:pt x="623649" y="45291"/>
                    </a:cubicBezTo>
                    <a:lnTo>
                      <a:pt x="578282" y="308591"/>
                    </a:lnTo>
                    <a:cubicBezTo>
                      <a:pt x="578282" y="327327"/>
                      <a:pt x="563023" y="342605"/>
                      <a:pt x="544297" y="342605"/>
                    </a:cubicBezTo>
                    <a:lnTo>
                      <a:pt x="90983" y="342605"/>
                    </a:lnTo>
                    <a:cubicBezTo>
                      <a:pt x="72228" y="342605"/>
                      <a:pt x="56979" y="327327"/>
                      <a:pt x="56940" y="308210"/>
                    </a:cubicBezTo>
                    <a:lnTo>
                      <a:pt x="11649" y="45682"/>
                    </a:lnTo>
                    <a:cubicBezTo>
                      <a:pt x="11649" y="26937"/>
                      <a:pt x="26899" y="11687"/>
                      <a:pt x="45653" y="11687"/>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4" name="Freeform: Shape 163">
                <a:extLst>
                  <a:ext uri="{FF2B5EF4-FFF2-40B4-BE49-F238E27FC236}">
                    <a16:creationId xmlns:a16="http://schemas.microsoft.com/office/drawing/2014/main" id="{2B64AA62-9992-446C-82C6-B4C79287E10B}"/>
                  </a:ext>
                </a:extLst>
              </p:cNvPr>
              <p:cNvSpPr/>
              <p:nvPr/>
            </p:nvSpPr>
            <p:spPr>
              <a:xfrm>
                <a:off x="1176352" y="2602720"/>
                <a:ext cx="24265" cy="24265"/>
              </a:xfrm>
              <a:custGeom>
                <a:avLst/>
                <a:gdLst/>
                <a:ahLst/>
                <a:cxnLst/>
                <a:rect l="0" t="0" r="0" b="0"/>
                <a:pathLst>
                  <a:path w="38100" h="38100">
                    <a:moveTo>
                      <a:pt x="23441" y="39738"/>
                    </a:moveTo>
                    <a:cubicBezTo>
                      <a:pt x="32442" y="39738"/>
                      <a:pt x="39738" y="32461"/>
                      <a:pt x="39738" y="23431"/>
                    </a:cubicBezTo>
                    <a:cubicBezTo>
                      <a:pt x="39738" y="14459"/>
                      <a:pt x="32433" y="7144"/>
                      <a:pt x="23441" y="7144"/>
                    </a:cubicBezTo>
                    <a:cubicBezTo>
                      <a:pt x="14449" y="7144"/>
                      <a:pt x="7144" y="14459"/>
                      <a:pt x="7144" y="23431"/>
                    </a:cubicBezTo>
                    <a:cubicBezTo>
                      <a:pt x="7144" y="32471"/>
                      <a:pt x="14449" y="39738"/>
                      <a:pt x="23441" y="39738"/>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pic>
            <p:nvPicPr>
              <p:cNvPr id="165" name="Graphic 164">
                <a:extLst>
                  <a:ext uri="{FF2B5EF4-FFF2-40B4-BE49-F238E27FC236}">
                    <a16:creationId xmlns:a16="http://schemas.microsoft.com/office/drawing/2014/main" id="{823A6CB5-63C8-4DA8-B86F-70C6B34AF7D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28819" y="2218276"/>
                <a:ext cx="157080" cy="157080"/>
              </a:xfrm>
              <a:prstGeom prst="rect">
                <a:avLst/>
              </a:prstGeom>
            </p:spPr>
          </p:pic>
        </p:grpSp>
      </p:grpSp>
    </p:spTree>
    <p:extLst>
      <p:ext uri="{BB962C8B-B14F-4D97-AF65-F5344CB8AC3E}">
        <p14:creationId xmlns:p14="http://schemas.microsoft.com/office/powerpoint/2010/main" val="25077165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F4EAB50C-AB7D-4E52-9491-5F0F7730CE77}"/>
              </a:ext>
            </a:extLst>
          </p:cNvPr>
          <p:cNvPicPr>
            <a:picLocks noRot="1" noChangeAspect="1"/>
          </p:cNvPicPr>
          <p:nvPr>
            <a:videoFile r:link="rId1"/>
          </p:nvPr>
        </p:nvPicPr>
        <p:blipFill>
          <a:blip r:embed="rId4"/>
          <a:stretch>
            <a:fillRect/>
          </a:stretch>
        </p:blipFill>
        <p:spPr>
          <a:xfrm>
            <a:off x="846667" y="0"/>
            <a:ext cx="10498665" cy="5905500"/>
          </a:xfrm>
          <a:prstGeom prst="rect">
            <a:avLst/>
          </a:prstGeom>
        </p:spPr>
      </p:pic>
    </p:spTree>
    <p:extLst>
      <p:ext uri="{BB962C8B-B14F-4D97-AF65-F5344CB8AC3E}">
        <p14:creationId xmlns:p14="http://schemas.microsoft.com/office/powerpoint/2010/main" val="2302806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FE22556-F53D-4304-A2AB-5536EB57BB51}"/>
              </a:ext>
            </a:extLst>
          </p:cNvPr>
          <p:cNvSpPr>
            <a:spLocks noGrp="1"/>
          </p:cNvSpPr>
          <p:nvPr>
            <p:ph type="title"/>
          </p:nvPr>
        </p:nvSpPr>
        <p:spPr>
          <a:xfrm>
            <a:off x="574884" y="490625"/>
            <a:ext cx="11034503" cy="477054"/>
          </a:xfrm>
        </p:spPr>
        <p:txBody>
          <a:bodyPr/>
          <a:lstStyle/>
          <a:p>
            <a:r>
              <a:rPr lang="en-US" sz="3100"/>
              <a:t>Dynamics 365 Fraud Protection</a:t>
            </a:r>
            <a:r>
              <a:rPr lang="en-IN"/>
              <a:t> with loss prevention capability</a:t>
            </a:r>
            <a:endParaRPr lang="en-US" sz="3100"/>
          </a:p>
        </p:txBody>
      </p:sp>
      <p:sp>
        <p:nvSpPr>
          <p:cNvPr id="10" name="Rectangle 9">
            <a:extLst>
              <a:ext uri="{FF2B5EF4-FFF2-40B4-BE49-F238E27FC236}">
                <a16:creationId xmlns:a16="http://schemas.microsoft.com/office/drawing/2014/main" id="{1E7BD5B4-D311-474A-B2F2-100B341D09C6}"/>
              </a:ext>
            </a:extLst>
          </p:cNvPr>
          <p:cNvSpPr/>
          <p:nvPr/>
        </p:nvSpPr>
        <p:spPr bwMode="auto">
          <a:xfrm>
            <a:off x="4900269" y="1085285"/>
            <a:ext cx="2094715" cy="61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Help protect</a:t>
            </a:r>
            <a:b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your </a:t>
            </a:r>
            <a:r>
              <a:rPr kumimoji="0" lang="en-US" sz="18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revenue</a:t>
            </a:r>
            <a:endParaRPr kumimoji="0" lang="en-US" sz="16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1AF74469-4CC8-4812-A962-D9C909F8AAD1}"/>
              </a:ext>
            </a:extLst>
          </p:cNvPr>
          <p:cNvSpPr/>
          <p:nvPr/>
        </p:nvSpPr>
        <p:spPr bwMode="auto">
          <a:xfrm>
            <a:off x="2379674" y="1111239"/>
            <a:ext cx="2881736" cy="683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E2E2E3"/>
                </a:solidFill>
                <a:effectLst/>
                <a:uLnTx/>
                <a:uFillTx/>
                <a:latin typeface="Segoe UI Semibold"/>
                <a:ea typeface="+mn-ea"/>
                <a:cs typeface="Segoe UI" pitchFamily="34" charset="0"/>
              </a:rPr>
              <a:t>Help enhance</a:t>
            </a:r>
            <a:br>
              <a:rPr kumimoji="0" lang="en-US" sz="1600" b="0" i="0" u="none" strike="noStrike" kern="1200" cap="none" spc="0" normalizeH="0" baseline="0" noProof="0">
                <a:ln>
                  <a:noFill/>
                </a:ln>
                <a:solidFill>
                  <a:srgbClr val="E2E2E3"/>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E2E2E3"/>
                </a:solidFill>
                <a:effectLst/>
                <a:uLnTx/>
                <a:uFillTx/>
                <a:latin typeface="Segoe UI"/>
                <a:ea typeface="+mn-ea"/>
                <a:cs typeface="Segoe UI" pitchFamily="34" charset="0"/>
              </a:rPr>
              <a:t> shopping experience</a:t>
            </a:r>
          </a:p>
        </p:txBody>
      </p:sp>
      <p:grpSp>
        <p:nvGrpSpPr>
          <p:cNvPr id="23" name="Group 22">
            <a:extLst>
              <a:ext uri="{FF2B5EF4-FFF2-40B4-BE49-F238E27FC236}">
                <a16:creationId xmlns:a16="http://schemas.microsoft.com/office/drawing/2014/main" id="{21C839C7-A0A6-4244-870E-94DEFCBD8DFE}"/>
              </a:ext>
            </a:extLst>
          </p:cNvPr>
          <p:cNvGrpSpPr/>
          <p:nvPr/>
        </p:nvGrpSpPr>
        <p:grpSpPr>
          <a:xfrm>
            <a:off x="3009686" y="2175867"/>
            <a:ext cx="1399958" cy="1420631"/>
            <a:chOff x="3765181" y="2418076"/>
            <a:chExt cx="1399958" cy="1420631"/>
          </a:xfrm>
        </p:grpSpPr>
        <p:sp>
          <p:nvSpPr>
            <p:cNvPr id="153" name="Arc 152">
              <a:extLst>
                <a:ext uri="{FF2B5EF4-FFF2-40B4-BE49-F238E27FC236}">
                  <a16:creationId xmlns:a16="http://schemas.microsoft.com/office/drawing/2014/main" id="{3350270C-7BA6-49E7-9DC4-CD7561983736}"/>
                </a:ext>
              </a:extLst>
            </p:cNvPr>
            <p:cNvSpPr/>
            <p:nvPr/>
          </p:nvSpPr>
          <p:spPr>
            <a:xfrm rot="20645021" flipH="1">
              <a:off x="3765181" y="243874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40" name="Arc 139">
              <a:extLst>
                <a:ext uri="{FF2B5EF4-FFF2-40B4-BE49-F238E27FC236}">
                  <a16:creationId xmlns:a16="http://schemas.microsoft.com/office/drawing/2014/main" id="{57128133-DB48-437F-9EF6-742B31070F63}"/>
                </a:ext>
              </a:extLst>
            </p:cNvPr>
            <p:cNvSpPr/>
            <p:nvPr/>
          </p:nvSpPr>
          <p:spPr>
            <a:xfrm rot="900000">
              <a:off x="3765181" y="2438749"/>
              <a:ext cx="1399958" cy="1399958"/>
            </a:xfrm>
            <a:prstGeom prst="arc">
              <a:avLst>
                <a:gd name="adj1" fmla="val 9691202"/>
                <a:gd name="adj2" fmla="val 19386433"/>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9B1000B4-E646-4DF6-9B74-DCE82D341CCF}"/>
                </a:ext>
              </a:extLst>
            </p:cNvPr>
            <p:cNvGrpSpPr/>
            <p:nvPr/>
          </p:nvGrpSpPr>
          <p:grpSpPr>
            <a:xfrm>
              <a:off x="3878947" y="2592489"/>
              <a:ext cx="1172426" cy="1104661"/>
              <a:chOff x="9343890" y="2258163"/>
              <a:chExt cx="1172426" cy="1104661"/>
            </a:xfrm>
          </p:grpSpPr>
          <p:sp>
            <p:nvSpPr>
              <p:cNvPr id="91" name="Flowchart: Connector 90">
                <a:extLst>
                  <a:ext uri="{FF2B5EF4-FFF2-40B4-BE49-F238E27FC236}">
                    <a16:creationId xmlns:a16="http://schemas.microsoft.com/office/drawing/2014/main" id="{848785EE-4604-4D4B-811D-88719EB944DF}"/>
                  </a:ext>
                </a:extLst>
              </p:cNvPr>
              <p:cNvSpPr/>
              <p:nvPr/>
            </p:nvSpPr>
            <p:spPr bwMode="auto">
              <a:xfrm>
                <a:off x="9343890" y="2258163"/>
                <a:ext cx="1172426" cy="1104661"/>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92" name="Group 91">
                <a:extLst>
                  <a:ext uri="{FF2B5EF4-FFF2-40B4-BE49-F238E27FC236}">
                    <a16:creationId xmlns:a16="http://schemas.microsoft.com/office/drawing/2014/main" id="{7A9DE021-21D8-4652-89B0-828107A006AD}"/>
                  </a:ext>
                </a:extLst>
              </p:cNvPr>
              <p:cNvGrpSpPr/>
              <p:nvPr/>
            </p:nvGrpSpPr>
            <p:grpSpPr>
              <a:xfrm>
                <a:off x="9647179" y="2635376"/>
                <a:ext cx="565830" cy="338081"/>
                <a:chOff x="2891208" y="5379095"/>
                <a:chExt cx="643647" cy="384574"/>
              </a:xfrm>
              <a:solidFill>
                <a:sysClr val="window" lastClr="FFFFFF"/>
              </a:solidFill>
            </p:grpSpPr>
            <p:sp>
              <p:nvSpPr>
                <p:cNvPr id="93" name="Freeform: Shape 92">
                  <a:extLst>
                    <a:ext uri="{FF2B5EF4-FFF2-40B4-BE49-F238E27FC236}">
                      <a16:creationId xmlns:a16="http://schemas.microsoft.com/office/drawing/2014/main" id="{88C727A4-DAED-4755-9DDC-A3874A670DE1}"/>
                    </a:ext>
                  </a:extLst>
                </p:cNvPr>
                <p:cNvSpPr/>
                <p:nvPr/>
              </p:nvSpPr>
              <p:spPr>
                <a:xfrm>
                  <a:off x="3365912" y="5379095"/>
                  <a:ext cx="168943" cy="197019"/>
                </a:xfrm>
                <a:custGeom>
                  <a:avLst/>
                  <a:gdLst>
                    <a:gd name="connsiteX0" fmla="*/ 398078 w 428918"/>
                    <a:gd name="connsiteY0" fmla="*/ 371969 h 503512"/>
                    <a:gd name="connsiteX1" fmla="*/ 191078 w 428918"/>
                    <a:gd name="connsiteY1" fmla="*/ 45618 h 503512"/>
                    <a:gd name="connsiteX2" fmla="*/ 136997 w 428918"/>
                    <a:gd name="connsiteY2" fmla="*/ 34429 h 503512"/>
                    <a:gd name="connsiteX3" fmla="*/ 45618 w 428918"/>
                    <a:gd name="connsiteY3" fmla="*/ 92240 h 503512"/>
                    <a:gd name="connsiteX4" fmla="*/ 34429 w 428918"/>
                    <a:gd name="connsiteY4" fmla="*/ 146321 h 503512"/>
                    <a:gd name="connsiteX5" fmla="*/ 241429 w 428918"/>
                    <a:gd name="connsiteY5" fmla="*/ 472672 h 503512"/>
                    <a:gd name="connsiteX6" fmla="*/ 295510 w 428918"/>
                    <a:gd name="connsiteY6" fmla="*/ 483861 h 503512"/>
                    <a:gd name="connsiteX7" fmla="*/ 386888 w 428918"/>
                    <a:gd name="connsiteY7" fmla="*/ 426050 h 503512"/>
                    <a:gd name="connsiteX8" fmla="*/ 398078 w 428918"/>
                    <a:gd name="connsiteY8" fmla="*/ 371969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918" h="503512">
                      <a:moveTo>
                        <a:pt x="398078" y="371969"/>
                      </a:moveTo>
                      <a:lnTo>
                        <a:pt x="191078" y="45618"/>
                      </a:lnTo>
                      <a:cubicBezTo>
                        <a:pt x="179889" y="26970"/>
                        <a:pt x="155645" y="21375"/>
                        <a:pt x="136997" y="34429"/>
                      </a:cubicBezTo>
                      <a:lnTo>
                        <a:pt x="45618" y="92240"/>
                      </a:lnTo>
                      <a:cubicBezTo>
                        <a:pt x="26970" y="103429"/>
                        <a:pt x="21375" y="127672"/>
                        <a:pt x="34429" y="146321"/>
                      </a:cubicBezTo>
                      <a:lnTo>
                        <a:pt x="241429" y="472672"/>
                      </a:lnTo>
                      <a:cubicBezTo>
                        <a:pt x="252618" y="491321"/>
                        <a:pt x="276861" y="496915"/>
                        <a:pt x="295510" y="483861"/>
                      </a:cubicBezTo>
                      <a:lnTo>
                        <a:pt x="386888" y="426050"/>
                      </a:lnTo>
                      <a:cubicBezTo>
                        <a:pt x="403672" y="414861"/>
                        <a:pt x="409267" y="390618"/>
                        <a:pt x="398078" y="371969"/>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4" name="Freeform: Shape 93">
                  <a:extLst>
                    <a:ext uri="{FF2B5EF4-FFF2-40B4-BE49-F238E27FC236}">
                      <a16:creationId xmlns:a16="http://schemas.microsoft.com/office/drawing/2014/main" id="{3CE09A9C-4C02-4A1A-BB76-082C24655036}"/>
                    </a:ext>
                  </a:extLst>
                </p:cNvPr>
                <p:cNvSpPr/>
                <p:nvPr/>
              </p:nvSpPr>
              <p:spPr>
                <a:xfrm>
                  <a:off x="3033704" y="5614653"/>
                  <a:ext cx="95490" cy="116753"/>
                </a:xfrm>
                <a:custGeom>
                  <a:avLst/>
                  <a:gdLst>
                    <a:gd name="connsiteX0" fmla="*/ 204632 w 242432"/>
                    <a:gd name="connsiteY0" fmla="*/ 118693 h 298378"/>
                    <a:gd name="connsiteX1" fmla="*/ 219551 w 242432"/>
                    <a:gd name="connsiteY1" fmla="*/ 96315 h 298378"/>
                    <a:gd name="connsiteX2" fmla="*/ 227011 w 242432"/>
                    <a:gd name="connsiteY2" fmla="*/ 62747 h 298378"/>
                    <a:gd name="connsiteX3" fmla="*/ 208362 w 242432"/>
                    <a:gd name="connsiteY3" fmla="*/ 34774 h 298378"/>
                    <a:gd name="connsiteX4" fmla="*/ 184119 w 242432"/>
                    <a:gd name="connsiteY4" fmla="*/ 27315 h 298378"/>
                    <a:gd name="connsiteX5" fmla="*/ 146821 w 242432"/>
                    <a:gd name="connsiteY5" fmla="*/ 45963 h 298378"/>
                    <a:gd name="connsiteX6" fmla="*/ 102065 w 242432"/>
                    <a:gd name="connsiteY6" fmla="*/ 111234 h 298378"/>
                    <a:gd name="connsiteX7" fmla="*/ 100200 w 242432"/>
                    <a:gd name="connsiteY7" fmla="*/ 113098 h 298378"/>
                    <a:gd name="connsiteX8" fmla="*/ 47984 w 242432"/>
                    <a:gd name="connsiteY8" fmla="*/ 189558 h 298378"/>
                    <a:gd name="connsiteX9" fmla="*/ 46119 w 242432"/>
                    <a:gd name="connsiteY9" fmla="*/ 193288 h 298378"/>
                    <a:gd name="connsiteX10" fmla="*/ 34930 w 242432"/>
                    <a:gd name="connsiteY10" fmla="*/ 210071 h 298378"/>
                    <a:gd name="connsiteX11" fmla="*/ 46119 w 242432"/>
                    <a:gd name="connsiteY11" fmla="*/ 271612 h 298378"/>
                    <a:gd name="connsiteX12" fmla="*/ 79686 w 242432"/>
                    <a:gd name="connsiteY12" fmla="*/ 279071 h 298378"/>
                    <a:gd name="connsiteX13" fmla="*/ 107659 w 242432"/>
                    <a:gd name="connsiteY13" fmla="*/ 260423 h 298378"/>
                    <a:gd name="connsiteX14" fmla="*/ 115119 w 242432"/>
                    <a:gd name="connsiteY14" fmla="*/ 249233 h 298378"/>
                    <a:gd name="connsiteX15" fmla="*/ 118848 w 242432"/>
                    <a:gd name="connsiteY15" fmla="*/ 241774 h 298378"/>
                    <a:gd name="connsiteX16" fmla="*/ 204632 w 242432"/>
                    <a:gd name="connsiteY16" fmla="*/ 118693 h 298378"/>
                    <a:gd name="connsiteX17" fmla="*/ 204632 w 242432"/>
                    <a:gd name="connsiteY17" fmla="*/ 118693 h 2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432" h="298378">
                      <a:moveTo>
                        <a:pt x="204632" y="118693"/>
                      </a:moveTo>
                      <a:lnTo>
                        <a:pt x="219551" y="96315"/>
                      </a:lnTo>
                      <a:cubicBezTo>
                        <a:pt x="227011" y="86990"/>
                        <a:pt x="228875" y="73936"/>
                        <a:pt x="227011" y="62747"/>
                      </a:cubicBezTo>
                      <a:cubicBezTo>
                        <a:pt x="225146" y="51558"/>
                        <a:pt x="217686" y="40369"/>
                        <a:pt x="208362" y="34774"/>
                      </a:cubicBezTo>
                      <a:cubicBezTo>
                        <a:pt x="200903" y="29180"/>
                        <a:pt x="193443" y="27315"/>
                        <a:pt x="184119" y="27315"/>
                      </a:cubicBezTo>
                      <a:cubicBezTo>
                        <a:pt x="169200" y="27315"/>
                        <a:pt x="156146" y="34774"/>
                        <a:pt x="146821" y="45963"/>
                      </a:cubicBezTo>
                      <a:lnTo>
                        <a:pt x="102065" y="111234"/>
                      </a:lnTo>
                      <a:cubicBezTo>
                        <a:pt x="102065" y="111234"/>
                        <a:pt x="102065" y="113098"/>
                        <a:pt x="100200" y="113098"/>
                      </a:cubicBezTo>
                      <a:cubicBezTo>
                        <a:pt x="83416" y="137342"/>
                        <a:pt x="64767" y="165315"/>
                        <a:pt x="47984" y="189558"/>
                      </a:cubicBezTo>
                      <a:cubicBezTo>
                        <a:pt x="47984" y="191423"/>
                        <a:pt x="46119" y="191423"/>
                        <a:pt x="46119" y="193288"/>
                      </a:cubicBezTo>
                      <a:lnTo>
                        <a:pt x="34930" y="210071"/>
                      </a:lnTo>
                      <a:cubicBezTo>
                        <a:pt x="21876" y="230585"/>
                        <a:pt x="25605" y="256693"/>
                        <a:pt x="46119" y="271612"/>
                      </a:cubicBezTo>
                      <a:cubicBezTo>
                        <a:pt x="55443" y="279071"/>
                        <a:pt x="68497" y="280936"/>
                        <a:pt x="79686" y="279071"/>
                      </a:cubicBezTo>
                      <a:cubicBezTo>
                        <a:pt x="90876" y="277206"/>
                        <a:pt x="102065" y="269747"/>
                        <a:pt x="107659" y="260423"/>
                      </a:cubicBezTo>
                      <a:lnTo>
                        <a:pt x="115119" y="249233"/>
                      </a:lnTo>
                      <a:cubicBezTo>
                        <a:pt x="116984" y="247369"/>
                        <a:pt x="116984" y="243639"/>
                        <a:pt x="118848" y="241774"/>
                      </a:cubicBezTo>
                      <a:lnTo>
                        <a:pt x="204632" y="118693"/>
                      </a:lnTo>
                      <a:cubicBezTo>
                        <a:pt x="202767" y="120558"/>
                        <a:pt x="202767" y="120558"/>
                        <a:pt x="204632" y="118693"/>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5" name="Freeform: Shape 94">
                  <a:extLst>
                    <a:ext uri="{FF2B5EF4-FFF2-40B4-BE49-F238E27FC236}">
                      <a16:creationId xmlns:a16="http://schemas.microsoft.com/office/drawing/2014/main" id="{C6256D14-0F8D-4385-930E-1F72655BB698}"/>
                    </a:ext>
                  </a:extLst>
                </p:cNvPr>
                <p:cNvSpPr/>
                <p:nvPr/>
              </p:nvSpPr>
              <p:spPr>
                <a:xfrm>
                  <a:off x="3087111" y="5436327"/>
                  <a:ext cx="367268" cy="189722"/>
                </a:xfrm>
                <a:custGeom>
                  <a:avLst/>
                  <a:gdLst>
                    <a:gd name="connsiteX0" fmla="*/ 734797 w 932431"/>
                    <a:gd name="connsiteY0" fmla="*/ 56000 h 484864"/>
                    <a:gd name="connsiteX1" fmla="*/ 703095 w 932431"/>
                    <a:gd name="connsiteY1" fmla="*/ 44811 h 484864"/>
                    <a:gd name="connsiteX2" fmla="*/ 667662 w 932431"/>
                    <a:gd name="connsiteY2" fmla="*/ 59730 h 484864"/>
                    <a:gd name="connsiteX3" fmla="*/ 628500 w 932431"/>
                    <a:gd name="connsiteY3" fmla="*/ 63460 h 484864"/>
                    <a:gd name="connsiteX4" fmla="*/ 509149 w 932431"/>
                    <a:gd name="connsiteY4" fmla="*/ 37352 h 484864"/>
                    <a:gd name="connsiteX5" fmla="*/ 317068 w 932431"/>
                    <a:gd name="connsiteY5" fmla="*/ 35487 h 484864"/>
                    <a:gd name="connsiteX6" fmla="*/ 203311 w 932431"/>
                    <a:gd name="connsiteY6" fmla="*/ 56000 h 484864"/>
                    <a:gd name="connsiteX7" fmla="*/ 130582 w 932431"/>
                    <a:gd name="connsiteY7" fmla="*/ 100757 h 484864"/>
                    <a:gd name="connsiteX8" fmla="*/ 33609 w 932431"/>
                    <a:gd name="connsiteY8" fmla="*/ 225703 h 484864"/>
                    <a:gd name="connsiteX9" fmla="*/ 28014 w 932431"/>
                    <a:gd name="connsiteY9" fmla="*/ 248081 h 484864"/>
                    <a:gd name="connsiteX10" fmla="*/ 39203 w 932431"/>
                    <a:gd name="connsiteY10" fmla="*/ 268595 h 484864"/>
                    <a:gd name="connsiteX11" fmla="*/ 70906 w 932431"/>
                    <a:gd name="connsiteY11" fmla="*/ 270460 h 484864"/>
                    <a:gd name="connsiteX12" fmla="*/ 276041 w 932431"/>
                    <a:gd name="connsiteY12" fmla="*/ 164163 h 484864"/>
                    <a:gd name="connsiteX13" fmla="*/ 343176 w 932431"/>
                    <a:gd name="connsiteY13" fmla="*/ 167892 h 484864"/>
                    <a:gd name="connsiteX14" fmla="*/ 783284 w 932431"/>
                    <a:gd name="connsiteY14" fmla="*/ 453216 h 484864"/>
                    <a:gd name="connsiteX15" fmla="*/ 796338 w 932431"/>
                    <a:gd name="connsiteY15" fmla="*/ 464405 h 484864"/>
                    <a:gd name="connsiteX16" fmla="*/ 900770 w 932431"/>
                    <a:gd name="connsiteY16" fmla="*/ 365568 h 484864"/>
                    <a:gd name="connsiteX17" fmla="*/ 904500 w 932431"/>
                    <a:gd name="connsiteY17" fmla="*/ 332000 h 484864"/>
                    <a:gd name="connsiteX18" fmla="*/ 734797 w 932431"/>
                    <a:gd name="connsiteY18" fmla="*/ 56000 h 48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431" h="484864">
                      <a:moveTo>
                        <a:pt x="734797" y="56000"/>
                      </a:moveTo>
                      <a:cubicBezTo>
                        <a:pt x="727338" y="44811"/>
                        <a:pt x="714284" y="41082"/>
                        <a:pt x="703095" y="44811"/>
                      </a:cubicBezTo>
                      <a:lnTo>
                        <a:pt x="667662" y="59730"/>
                      </a:lnTo>
                      <a:cubicBezTo>
                        <a:pt x="654608" y="65325"/>
                        <a:pt x="641554" y="65325"/>
                        <a:pt x="628500" y="63460"/>
                      </a:cubicBezTo>
                      <a:lnTo>
                        <a:pt x="509149" y="37352"/>
                      </a:lnTo>
                      <a:cubicBezTo>
                        <a:pt x="445743" y="24298"/>
                        <a:pt x="380473" y="24298"/>
                        <a:pt x="317068" y="35487"/>
                      </a:cubicBezTo>
                      <a:lnTo>
                        <a:pt x="203311" y="56000"/>
                      </a:lnTo>
                      <a:cubicBezTo>
                        <a:pt x="175338" y="61595"/>
                        <a:pt x="149230" y="76514"/>
                        <a:pt x="130582" y="100757"/>
                      </a:cubicBezTo>
                      <a:lnTo>
                        <a:pt x="33609" y="225703"/>
                      </a:lnTo>
                      <a:cubicBezTo>
                        <a:pt x="28014" y="231298"/>
                        <a:pt x="26149" y="240622"/>
                        <a:pt x="28014" y="248081"/>
                      </a:cubicBezTo>
                      <a:cubicBezTo>
                        <a:pt x="29879" y="255541"/>
                        <a:pt x="33609" y="263000"/>
                        <a:pt x="39203" y="268595"/>
                      </a:cubicBezTo>
                      <a:cubicBezTo>
                        <a:pt x="48528" y="276054"/>
                        <a:pt x="61582" y="276054"/>
                        <a:pt x="70906" y="270460"/>
                      </a:cubicBezTo>
                      <a:lnTo>
                        <a:pt x="276041" y="164163"/>
                      </a:lnTo>
                      <a:cubicBezTo>
                        <a:pt x="296554" y="152973"/>
                        <a:pt x="322663" y="154838"/>
                        <a:pt x="343176" y="167892"/>
                      </a:cubicBezTo>
                      <a:lnTo>
                        <a:pt x="783284" y="453216"/>
                      </a:lnTo>
                      <a:cubicBezTo>
                        <a:pt x="788878" y="456946"/>
                        <a:pt x="792608" y="460676"/>
                        <a:pt x="796338" y="464405"/>
                      </a:cubicBezTo>
                      <a:lnTo>
                        <a:pt x="900770" y="365568"/>
                      </a:lnTo>
                      <a:cubicBezTo>
                        <a:pt x="910095" y="356243"/>
                        <a:pt x="911959" y="343189"/>
                        <a:pt x="904500" y="332000"/>
                      </a:cubicBezTo>
                      <a:lnTo>
                        <a:pt x="734797" y="56000"/>
                      </a:ln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6" name="Freeform: Shape 95">
                  <a:extLst>
                    <a:ext uri="{FF2B5EF4-FFF2-40B4-BE49-F238E27FC236}">
                      <a16:creationId xmlns:a16="http://schemas.microsoft.com/office/drawing/2014/main" id="{5B548E46-D82C-45FE-A2A6-5BA813B2704A}"/>
                    </a:ext>
                  </a:extLst>
                </p:cNvPr>
                <p:cNvSpPr/>
                <p:nvPr/>
              </p:nvSpPr>
              <p:spPr>
                <a:xfrm>
                  <a:off x="3125834" y="5697112"/>
                  <a:ext cx="66107" cy="65672"/>
                </a:xfrm>
                <a:custGeom>
                  <a:avLst/>
                  <a:gdLst>
                    <a:gd name="connsiteX0" fmla="*/ 127377 w 167837"/>
                    <a:gd name="connsiteY0" fmla="*/ 34774 h 167837"/>
                    <a:gd name="connsiteX1" fmla="*/ 104999 w 167837"/>
                    <a:gd name="connsiteY1" fmla="*/ 27315 h 167837"/>
                    <a:gd name="connsiteX2" fmla="*/ 99405 w 167837"/>
                    <a:gd name="connsiteY2" fmla="*/ 27315 h 167837"/>
                    <a:gd name="connsiteX3" fmla="*/ 77026 w 167837"/>
                    <a:gd name="connsiteY3" fmla="*/ 40369 h 167837"/>
                    <a:gd name="connsiteX4" fmla="*/ 30405 w 167837"/>
                    <a:gd name="connsiteY4" fmla="*/ 107504 h 167837"/>
                    <a:gd name="connsiteX5" fmla="*/ 28540 w 167837"/>
                    <a:gd name="connsiteY5" fmla="*/ 131747 h 167837"/>
                    <a:gd name="connsiteX6" fmla="*/ 49053 w 167837"/>
                    <a:gd name="connsiteY6" fmla="*/ 154125 h 167837"/>
                    <a:gd name="connsiteX7" fmla="*/ 91945 w 167837"/>
                    <a:gd name="connsiteY7" fmla="*/ 141071 h 167837"/>
                    <a:gd name="connsiteX8" fmla="*/ 132972 w 167837"/>
                    <a:gd name="connsiteY8" fmla="*/ 81396 h 167837"/>
                    <a:gd name="connsiteX9" fmla="*/ 127377 w 167837"/>
                    <a:gd name="connsiteY9" fmla="*/ 34774 h 16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37" h="167837">
                      <a:moveTo>
                        <a:pt x="127377" y="34774"/>
                      </a:moveTo>
                      <a:cubicBezTo>
                        <a:pt x="119918" y="29180"/>
                        <a:pt x="112459" y="27315"/>
                        <a:pt x="104999" y="27315"/>
                      </a:cubicBezTo>
                      <a:cubicBezTo>
                        <a:pt x="103134" y="27315"/>
                        <a:pt x="101269" y="27315"/>
                        <a:pt x="99405" y="27315"/>
                      </a:cubicBezTo>
                      <a:cubicBezTo>
                        <a:pt x="90080" y="29180"/>
                        <a:pt x="82621" y="32909"/>
                        <a:pt x="77026" y="40369"/>
                      </a:cubicBezTo>
                      <a:lnTo>
                        <a:pt x="30405" y="107504"/>
                      </a:lnTo>
                      <a:cubicBezTo>
                        <a:pt x="26675" y="114963"/>
                        <a:pt x="26675" y="124288"/>
                        <a:pt x="28540" y="131747"/>
                      </a:cubicBezTo>
                      <a:cubicBezTo>
                        <a:pt x="32269" y="142936"/>
                        <a:pt x="39729" y="150396"/>
                        <a:pt x="49053" y="154125"/>
                      </a:cubicBezTo>
                      <a:cubicBezTo>
                        <a:pt x="63972" y="159720"/>
                        <a:pt x="82621" y="155990"/>
                        <a:pt x="91945" y="141071"/>
                      </a:cubicBezTo>
                      <a:lnTo>
                        <a:pt x="132972" y="81396"/>
                      </a:lnTo>
                      <a:cubicBezTo>
                        <a:pt x="146026" y="68342"/>
                        <a:pt x="142296" y="45963"/>
                        <a:pt x="127377" y="34774"/>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2" name="Freeform: Shape 101">
                  <a:extLst>
                    <a:ext uri="{FF2B5EF4-FFF2-40B4-BE49-F238E27FC236}">
                      <a16:creationId xmlns:a16="http://schemas.microsoft.com/office/drawing/2014/main" id="{5D14C9F3-F8F4-4B22-A4FC-D1069BAC2881}"/>
                    </a:ext>
                  </a:extLst>
                </p:cNvPr>
                <p:cNvSpPr/>
                <p:nvPr/>
              </p:nvSpPr>
              <p:spPr>
                <a:xfrm>
                  <a:off x="3078505" y="5651869"/>
                  <a:ext cx="88145" cy="102158"/>
                </a:xfrm>
                <a:custGeom>
                  <a:avLst/>
                  <a:gdLst>
                    <a:gd name="connsiteX0" fmla="*/ 167348 w 223783"/>
                    <a:gd name="connsiteY0" fmla="*/ 133612 h 261080"/>
                    <a:gd name="connsiteX1" fmla="*/ 193456 w 223783"/>
                    <a:gd name="connsiteY1" fmla="*/ 96315 h 261080"/>
                    <a:gd name="connsiteX2" fmla="*/ 184131 w 223783"/>
                    <a:gd name="connsiteY2" fmla="*/ 36639 h 261080"/>
                    <a:gd name="connsiteX3" fmla="*/ 156159 w 223783"/>
                    <a:gd name="connsiteY3" fmla="*/ 27315 h 261080"/>
                    <a:gd name="connsiteX4" fmla="*/ 150564 w 223783"/>
                    <a:gd name="connsiteY4" fmla="*/ 27315 h 261080"/>
                    <a:gd name="connsiteX5" fmla="*/ 120726 w 223783"/>
                    <a:gd name="connsiteY5" fmla="*/ 44098 h 261080"/>
                    <a:gd name="connsiteX6" fmla="*/ 31213 w 223783"/>
                    <a:gd name="connsiteY6" fmla="*/ 174639 h 261080"/>
                    <a:gd name="connsiteX7" fmla="*/ 29348 w 223783"/>
                    <a:gd name="connsiteY7" fmla="*/ 202612 h 261080"/>
                    <a:gd name="connsiteX8" fmla="*/ 51726 w 223783"/>
                    <a:gd name="connsiteY8" fmla="*/ 230585 h 261080"/>
                    <a:gd name="connsiteX9" fmla="*/ 109537 w 223783"/>
                    <a:gd name="connsiteY9" fmla="*/ 217531 h 261080"/>
                    <a:gd name="connsiteX10" fmla="*/ 122591 w 223783"/>
                    <a:gd name="connsiteY10" fmla="*/ 198882 h 261080"/>
                    <a:gd name="connsiteX11" fmla="*/ 126321 w 223783"/>
                    <a:gd name="connsiteY11" fmla="*/ 193288 h 261080"/>
                    <a:gd name="connsiteX12" fmla="*/ 167348 w 223783"/>
                    <a:gd name="connsiteY12" fmla="*/ 133612 h 261080"/>
                    <a:gd name="connsiteX13" fmla="*/ 167348 w 223783"/>
                    <a:gd name="connsiteY13" fmla="*/ 133612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783" h="261080">
                      <a:moveTo>
                        <a:pt x="167348" y="133612"/>
                      </a:moveTo>
                      <a:lnTo>
                        <a:pt x="193456" y="96315"/>
                      </a:lnTo>
                      <a:cubicBezTo>
                        <a:pt x="206510" y="77666"/>
                        <a:pt x="202780" y="51558"/>
                        <a:pt x="184131" y="36639"/>
                      </a:cubicBezTo>
                      <a:cubicBezTo>
                        <a:pt x="176672" y="31044"/>
                        <a:pt x="167348" y="27315"/>
                        <a:pt x="156159" y="27315"/>
                      </a:cubicBezTo>
                      <a:cubicBezTo>
                        <a:pt x="154294" y="27315"/>
                        <a:pt x="152429" y="27315"/>
                        <a:pt x="150564" y="27315"/>
                      </a:cubicBezTo>
                      <a:cubicBezTo>
                        <a:pt x="139375" y="29180"/>
                        <a:pt x="128186" y="34774"/>
                        <a:pt x="120726" y="44098"/>
                      </a:cubicBezTo>
                      <a:lnTo>
                        <a:pt x="31213" y="174639"/>
                      </a:lnTo>
                      <a:cubicBezTo>
                        <a:pt x="27483" y="183963"/>
                        <a:pt x="25618" y="193288"/>
                        <a:pt x="29348" y="202612"/>
                      </a:cubicBezTo>
                      <a:cubicBezTo>
                        <a:pt x="33078" y="215666"/>
                        <a:pt x="40537" y="224990"/>
                        <a:pt x="51726" y="230585"/>
                      </a:cubicBezTo>
                      <a:cubicBezTo>
                        <a:pt x="72240" y="241774"/>
                        <a:pt x="96483" y="236179"/>
                        <a:pt x="109537" y="217531"/>
                      </a:cubicBezTo>
                      <a:lnTo>
                        <a:pt x="122591" y="198882"/>
                      </a:lnTo>
                      <a:cubicBezTo>
                        <a:pt x="124456" y="197017"/>
                        <a:pt x="124456" y="195152"/>
                        <a:pt x="126321" y="193288"/>
                      </a:cubicBezTo>
                      <a:lnTo>
                        <a:pt x="167348" y="133612"/>
                      </a:lnTo>
                      <a:cubicBezTo>
                        <a:pt x="165483" y="135477"/>
                        <a:pt x="167348" y="135477"/>
                        <a:pt x="167348" y="133612"/>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02667CEF-732B-4CD6-8460-75BC1F03E6DF}"/>
                    </a:ext>
                  </a:extLst>
                </p:cNvPr>
                <p:cNvSpPr/>
                <p:nvPr/>
              </p:nvSpPr>
              <p:spPr>
                <a:xfrm>
                  <a:off x="2975714" y="5449897"/>
                  <a:ext cx="433375" cy="313772"/>
                </a:xfrm>
                <a:custGeom>
                  <a:avLst/>
                  <a:gdLst>
                    <a:gd name="connsiteX0" fmla="*/ 1047453 w 1100269"/>
                    <a:gd name="connsiteY0" fmla="*/ 448377 h 801890"/>
                    <a:gd name="connsiteX1" fmla="*/ 607345 w 1100269"/>
                    <a:gd name="connsiteY1" fmla="*/ 163053 h 801890"/>
                    <a:gd name="connsiteX2" fmla="*/ 577508 w 1100269"/>
                    <a:gd name="connsiteY2" fmla="*/ 161188 h 801890"/>
                    <a:gd name="connsiteX3" fmla="*/ 376102 w 1100269"/>
                    <a:gd name="connsiteY3" fmla="*/ 267485 h 801890"/>
                    <a:gd name="connsiteX4" fmla="*/ 305237 w 1100269"/>
                    <a:gd name="connsiteY4" fmla="*/ 265620 h 801890"/>
                    <a:gd name="connsiteX5" fmla="*/ 275400 w 1100269"/>
                    <a:gd name="connsiteY5" fmla="*/ 205944 h 801890"/>
                    <a:gd name="connsiteX6" fmla="*/ 290319 w 1100269"/>
                    <a:gd name="connsiteY6" fmla="*/ 168647 h 801890"/>
                    <a:gd name="connsiteX7" fmla="*/ 372373 w 1100269"/>
                    <a:gd name="connsiteY7" fmla="*/ 62350 h 801890"/>
                    <a:gd name="connsiteX8" fmla="*/ 284724 w 1100269"/>
                    <a:gd name="connsiteY8" fmla="*/ 49296 h 801890"/>
                    <a:gd name="connsiteX9" fmla="*/ 264210 w 1100269"/>
                    <a:gd name="connsiteY9" fmla="*/ 41836 h 801890"/>
                    <a:gd name="connsiteX10" fmla="*/ 245562 w 1100269"/>
                    <a:gd name="connsiteY10" fmla="*/ 32512 h 801890"/>
                    <a:gd name="connsiteX11" fmla="*/ 180292 w 1100269"/>
                    <a:gd name="connsiteY11" fmla="*/ 49296 h 801890"/>
                    <a:gd name="connsiteX12" fmla="*/ 34832 w 1100269"/>
                    <a:gd name="connsiteY12" fmla="*/ 278674 h 801890"/>
                    <a:gd name="connsiteX13" fmla="*/ 36697 w 1100269"/>
                    <a:gd name="connsiteY13" fmla="*/ 334620 h 801890"/>
                    <a:gd name="connsiteX14" fmla="*/ 113157 w 1100269"/>
                    <a:gd name="connsiteY14" fmla="*/ 435323 h 801890"/>
                    <a:gd name="connsiteX15" fmla="*/ 122481 w 1100269"/>
                    <a:gd name="connsiteY15" fmla="*/ 435323 h 801890"/>
                    <a:gd name="connsiteX16" fmla="*/ 223183 w 1100269"/>
                    <a:gd name="connsiteY16" fmla="*/ 422268 h 801890"/>
                    <a:gd name="connsiteX17" fmla="*/ 251156 w 1100269"/>
                    <a:gd name="connsiteY17" fmla="*/ 450241 h 801890"/>
                    <a:gd name="connsiteX18" fmla="*/ 260481 w 1100269"/>
                    <a:gd name="connsiteY18" fmla="*/ 450241 h 801890"/>
                    <a:gd name="connsiteX19" fmla="*/ 260481 w 1100269"/>
                    <a:gd name="connsiteY19" fmla="*/ 450241 h 801890"/>
                    <a:gd name="connsiteX20" fmla="*/ 366778 w 1100269"/>
                    <a:gd name="connsiteY20" fmla="*/ 420404 h 801890"/>
                    <a:gd name="connsiteX21" fmla="*/ 409670 w 1100269"/>
                    <a:gd name="connsiteY21" fmla="*/ 476349 h 801890"/>
                    <a:gd name="connsiteX22" fmla="*/ 411535 w 1100269"/>
                    <a:gd name="connsiteY22" fmla="*/ 500593 h 801890"/>
                    <a:gd name="connsiteX23" fmla="*/ 417129 w 1100269"/>
                    <a:gd name="connsiteY23" fmla="*/ 506187 h 801890"/>
                    <a:gd name="connsiteX24" fmla="*/ 469345 w 1100269"/>
                    <a:gd name="connsiteY24" fmla="*/ 524836 h 801890"/>
                    <a:gd name="connsiteX25" fmla="*/ 495454 w 1100269"/>
                    <a:gd name="connsiteY25" fmla="*/ 614349 h 801890"/>
                    <a:gd name="connsiteX26" fmla="*/ 499183 w 1100269"/>
                    <a:gd name="connsiteY26" fmla="*/ 621809 h 801890"/>
                    <a:gd name="connsiteX27" fmla="*/ 556994 w 1100269"/>
                    <a:gd name="connsiteY27" fmla="*/ 672160 h 801890"/>
                    <a:gd name="connsiteX28" fmla="*/ 545805 w 1100269"/>
                    <a:gd name="connsiteY28" fmla="*/ 737430 h 801890"/>
                    <a:gd name="connsiteX29" fmla="*/ 536481 w 1100269"/>
                    <a:gd name="connsiteY29" fmla="*/ 750484 h 801890"/>
                    <a:gd name="connsiteX30" fmla="*/ 540210 w 1100269"/>
                    <a:gd name="connsiteY30" fmla="*/ 759809 h 801890"/>
                    <a:gd name="connsiteX31" fmla="*/ 653967 w 1100269"/>
                    <a:gd name="connsiteY31" fmla="*/ 776592 h 801890"/>
                    <a:gd name="connsiteX32" fmla="*/ 726697 w 1100269"/>
                    <a:gd name="connsiteY32" fmla="*/ 767268 h 801890"/>
                    <a:gd name="connsiteX33" fmla="*/ 726697 w 1100269"/>
                    <a:gd name="connsiteY33" fmla="*/ 733701 h 801890"/>
                    <a:gd name="connsiteX34" fmla="*/ 624129 w 1100269"/>
                    <a:gd name="connsiteY34" fmla="*/ 681484 h 801890"/>
                    <a:gd name="connsiteX35" fmla="*/ 616670 w 1100269"/>
                    <a:gd name="connsiteY35" fmla="*/ 657241 h 801890"/>
                    <a:gd name="connsiteX36" fmla="*/ 640913 w 1100269"/>
                    <a:gd name="connsiteY36" fmla="*/ 649782 h 801890"/>
                    <a:gd name="connsiteX37" fmla="*/ 782643 w 1100269"/>
                    <a:gd name="connsiteY37" fmla="*/ 722511 h 801890"/>
                    <a:gd name="connsiteX38" fmla="*/ 853507 w 1100269"/>
                    <a:gd name="connsiteY38" fmla="*/ 703863 h 801890"/>
                    <a:gd name="connsiteX39" fmla="*/ 860967 w 1100269"/>
                    <a:gd name="connsiteY39" fmla="*/ 675890 h 801890"/>
                    <a:gd name="connsiteX40" fmla="*/ 844183 w 1100269"/>
                    <a:gd name="connsiteY40" fmla="*/ 653511 h 801890"/>
                    <a:gd name="connsiteX41" fmla="*/ 810615 w 1100269"/>
                    <a:gd name="connsiteY41" fmla="*/ 632998 h 801890"/>
                    <a:gd name="connsiteX42" fmla="*/ 676345 w 1100269"/>
                    <a:gd name="connsiteY42" fmla="*/ 560268 h 801890"/>
                    <a:gd name="connsiteX43" fmla="*/ 668886 w 1100269"/>
                    <a:gd name="connsiteY43" fmla="*/ 534160 h 801890"/>
                    <a:gd name="connsiteX44" fmla="*/ 694994 w 1100269"/>
                    <a:gd name="connsiteY44" fmla="*/ 526701 h 801890"/>
                    <a:gd name="connsiteX45" fmla="*/ 881480 w 1100269"/>
                    <a:gd name="connsiteY45" fmla="*/ 627403 h 801890"/>
                    <a:gd name="connsiteX46" fmla="*/ 959805 w 1100269"/>
                    <a:gd name="connsiteY46" fmla="*/ 606890 h 801890"/>
                    <a:gd name="connsiteX47" fmla="*/ 965399 w 1100269"/>
                    <a:gd name="connsiteY47" fmla="*/ 578917 h 801890"/>
                    <a:gd name="connsiteX48" fmla="*/ 948615 w 1100269"/>
                    <a:gd name="connsiteY48" fmla="*/ 554674 h 801890"/>
                    <a:gd name="connsiteX49" fmla="*/ 935561 w 1100269"/>
                    <a:gd name="connsiteY49" fmla="*/ 547214 h 801890"/>
                    <a:gd name="connsiteX50" fmla="*/ 736021 w 1100269"/>
                    <a:gd name="connsiteY50" fmla="*/ 427863 h 801890"/>
                    <a:gd name="connsiteX51" fmla="*/ 730426 w 1100269"/>
                    <a:gd name="connsiteY51" fmla="*/ 401755 h 801890"/>
                    <a:gd name="connsiteX52" fmla="*/ 756534 w 1100269"/>
                    <a:gd name="connsiteY52" fmla="*/ 396160 h 801890"/>
                    <a:gd name="connsiteX53" fmla="*/ 946751 w 1100269"/>
                    <a:gd name="connsiteY53" fmla="*/ 509917 h 801890"/>
                    <a:gd name="connsiteX54" fmla="*/ 946751 w 1100269"/>
                    <a:gd name="connsiteY54" fmla="*/ 509917 h 801890"/>
                    <a:gd name="connsiteX55" fmla="*/ 956075 w 1100269"/>
                    <a:gd name="connsiteY55" fmla="*/ 515512 h 801890"/>
                    <a:gd name="connsiteX56" fmla="*/ 991507 w 1100269"/>
                    <a:gd name="connsiteY56" fmla="*/ 536025 h 801890"/>
                    <a:gd name="connsiteX57" fmla="*/ 1066102 w 1100269"/>
                    <a:gd name="connsiteY57" fmla="*/ 519241 h 801890"/>
                    <a:gd name="connsiteX58" fmla="*/ 1071696 w 1100269"/>
                    <a:gd name="connsiteY58" fmla="*/ 481944 h 801890"/>
                    <a:gd name="connsiteX59" fmla="*/ 1047453 w 1100269"/>
                    <a:gd name="connsiteY59" fmla="*/ 448377 h 80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00269" h="801890">
                      <a:moveTo>
                        <a:pt x="1047453" y="448377"/>
                      </a:moveTo>
                      <a:lnTo>
                        <a:pt x="607345" y="163053"/>
                      </a:lnTo>
                      <a:cubicBezTo>
                        <a:pt x="598021" y="157458"/>
                        <a:pt x="586832" y="157458"/>
                        <a:pt x="577508" y="161188"/>
                      </a:cubicBezTo>
                      <a:lnTo>
                        <a:pt x="376102" y="267485"/>
                      </a:lnTo>
                      <a:cubicBezTo>
                        <a:pt x="353724" y="278674"/>
                        <a:pt x="325751" y="278674"/>
                        <a:pt x="305237" y="265620"/>
                      </a:cubicBezTo>
                      <a:cubicBezTo>
                        <a:pt x="284724" y="252566"/>
                        <a:pt x="273535" y="230188"/>
                        <a:pt x="275400" y="205944"/>
                      </a:cubicBezTo>
                      <a:cubicBezTo>
                        <a:pt x="275400" y="192890"/>
                        <a:pt x="282859" y="177971"/>
                        <a:pt x="290319" y="168647"/>
                      </a:cubicBezTo>
                      <a:lnTo>
                        <a:pt x="372373" y="62350"/>
                      </a:lnTo>
                      <a:lnTo>
                        <a:pt x="284724" y="49296"/>
                      </a:lnTo>
                      <a:cubicBezTo>
                        <a:pt x="277265" y="47431"/>
                        <a:pt x="271670" y="45566"/>
                        <a:pt x="264210" y="41836"/>
                      </a:cubicBezTo>
                      <a:lnTo>
                        <a:pt x="245562" y="32512"/>
                      </a:lnTo>
                      <a:cubicBezTo>
                        <a:pt x="223183" y="21323"/>
                        <a:pt x="195211" y="28782"/>
                        <a:pt x="180292" y="49296"/>
                      </a:cubicBezTo>
                      <a:lnTo>
                        <a:pt x="34832" y="278674"/>
                      </a:lnTo>
                      <a:cubicBezTo>
                        <a:pt x="23643" y="295458"/>
                        <a:pt x="25508" y="319701"/>
                        <a:pt x="36697" y="334620"/>
                      </a:cubicBezTo>
                      <a:lnTo>
                        <a:pt x="113157" y="435323"/>
                      </a:lnTo>
                      <a:cubicBezTo>
                        <a:pt x="115021" y="439052"/>
                        <a:pt x="118751" y="439052"/>
                        <a:pt x="122481" y="435323"/>
                      </a:cubicBezTo>
                      <a:cubicBezTo>
                        <a:pt x="148589" y="407350"/>
                        <a:pt x="189616" y="401755"/>
                        <a:pt x="223183" y="422268"/>
                      </a:cubicBezTo>
                      <a:cubicBezTo>
                        <a:pt x="234373" y="429728"/>
                        <a:pt x="243697" y="439052"/>
                        <a:pt x="251156" y="450241"/>
                      </a:cubicBezTo>
                      <a:cubicBezTo>
                        <a:pt x="253021" y="453971"/>
                        <a:pt x="258616" y="453971"/>
                        <a:pt x="260481" y="450241"/>
                      </a:cubicBezTo>
                      <a:lnTo>
                        <a:pt x="260481" y="450241"/>
                      </a:lnTo>
                      <a:cubicBezTo>
                        <a:pt x="284724" y="416674"/>
                        <a:pt x="329481" y="401755"/>
                        <a:pt x="366778" y="420404"/>
                      </a:cubicBezTo>
                      <a:cubicBezTo>
                        <a:pt x="389156" y="431593"/>
                        <a:pt x="404075" y="452106"/>
                        <a:pt x="409670" y="476349"/>
                      </a:cubicBezTo>
                      <a:cubicBezTo>
                        <a:pt x="411535" y="483809"/>
                        <a:pt x="411535" y="491268"/>
                        <a:pt x="411535" y="500593"/>
                      </a:cubicBezTo>
                      <a:cubicBezTo>
                        <a:pt x="411535" y="504322"/>
                        <a:pt x="413400" y="506187"/>
                        <a:pt x="417129" y="506187"/>
                      </a:cubicBezTo>
                      <a:cubicBezTo>
                        <a:pt x="435778" y="506187"/>
                        <a:pt x="454427" y="511782"/>
                        <a:pt x="469345" y="524836"/>
                      </a:cubicBezTo>
                      <a:cubicBezTo>
                        <a:pt x="495454" y="547214"/>
                        <a:pt x="506643" y="582647"/>
                        <a:pt x="495454" y="614349"/>
                      </a:cubicBezTo>
                      <a:cubicBezTo>
                        <a:pt x="493589" y="618079"/>
                        <a:pt x="495454" y="621809"/>
                        <a:pt x="499183" y="621809"/>
                      </a:cubicBezTo>
                      <a:cubicBezTo>
                        <a:pt x="525291" y="625539"/>
                        <a:pt x="547670" y="644187"/>
                        <a:pt x="556994" y="672160"/>
                      </a:cubicBezTo>
                      <a:cubicBezTo>
                        <a:pt x="564453" y="694538"/>
                        <a:pt x="558859" y="718782"/>
                        <a:pt x="545805" y="737430"/>
                      </a:cubicBezTo>
                      <a:lnTo>
                        <a:pt x="536481" y="750484"/>
                      </a:lnTo>
                      <a:cubicBezTo>
                        <a:pt x="534616" y="754214"/>
                        <a:pt x="536481" y="759809"/>
                        <a:pt x="540210" y="759809"/>
                      </a:cubicBezTo>
                      <a:lnTo>
                        <a:pt x="653967" y="776592"/>
                      </a:lnTo>
                      <a:cubicBezTo>
                        <a:pt x="678210" y="780322"/>
                        <a:pt x="704318" y="776592"/>
                        <a:pt x="726697" y="767268"/>
                      </a:cubicBezTo>
                      <a:cubicBezTo>
                        <a:pt x="741616" y="761674"/>
                        <a:pt x="741616" y="741160"/>
                        <a:pt x="726697" y="733701"/>
                      </a:cubicBezTo>
                      <a:lnTo>
                        <a:pt x="624129" y="681484"/>
                      </a:lnTo>
                      <a:cubicBezTo>
                        <a:pt x="614805" y="675890"/>
                        <a:pt x="611075" y="664701"/>
                        <a:pt x="616670" y="657241"/>
                      </a:cubicBezTo>
                      <a:cubicBezTo>
                        <a:pt x="622264" y="647917"/>
                        <a:pt x="633453" y="644187"/>
                        <a:pt x="640913" y="649782"/>
                      </a:cubicBezTo>
                      <a:lnTo>
                        <a:pt x="782643" y="722511"/>
                      </a:lnTo>
                      <a:cubicBezTo>
                        <a:pt x="808751" y="735565"/>
                        <a:pt x="838588" y="726241"/>
                        <a:pt x="853507" y="703863"/>
                      </a:cubicBezTo>
                      <a:cubicBezTo>
                        <a:pt x="860967" y="694538"/>
                        <a:pt x="862832" y="685214"/>
                        <a:pt x="860967" y="675890"/>
                      </a:cubicBezTo>
                      <a:cubicBezTo>
                        <a:pt x="859102" y="666566"/>
                        <a:pt x="853507" y="657241"/>
                        <a:pt x="844183" y="653511"/>
                      </a:cubicBezTo>
                      <a:lnTo>
                        <a:pt x="810615" y="632998"/>
                      </a:lnTo>
                      <a:lnTo>
                        <a:pt x="676345" y="560268"/>
                      </a:lnTo>
                      <a:cubicBezTo>
                        <a:pt x="667021" y="554674"/>
                        <a:pt x="663291" y="543485"/>
                        <a:pt x="668886" y="534160"/>
                      </a:cubicBezTo>
                      <a:cubicBezTo>
                        <a:pt x="674480" y="524836"/>
                        <a:pt x="685670" y="521106"/>
                        <a:pt x="694994" y="526701"/>
                      </a:cubicBezTo>
                      <a:lnTo>
                        <a:pt x="881480" y="627403"/>
                      </a:lnTo>
                      <a:cubicBezTo>
                        <a:pt x="909453" y="642322"/>
                        <a:pt x="943021" y="632998"/>
                        <a:pt x="959805" y="606890"/>
                      </a:cubicBezTo>
                      <a:cubicBezTo>
                        <a:pt x="965399" y="597566"/>
                        <a:pt x="967264" y="588241"/>
                        <a:pt x="965399" y="578917"/>
                      </a:cubicBezTo>
                      <a:cubicBezTo>
                        <a:pt x="963534" y="569593"/>
                        <a:pt x="957940" y="560268"/>
                        <a:pt x="948615" y="554674"/>
                      </a:cubicBezTo>
                      <a:lnTo>
                        <a:pt x="935561" y="547214"/>
                      </a:lnTo>
                      <a:lnTo>
                        <a:pt x="736021" y="427863"/>
                      </a:lnTo>
                      <a:cubicBezTo>
                        <a:pt x="726697" y="422268"/>
                        <a:pt x="724832" y="411079"/>
                        <a:pt x="730426" y="401755"/>
                      </a:cubicBezTo>
                      <a:cubicBezTo>
                        <a:pt x="736021" y="392431"/>
                        <a:pt x="747210" y="390566"/>
                        <a:pt x="756534" y="396160"/>
                      </a:cubicBezTo>
                      <a:lnTo>
                        <a:pt x="946751" y="509917"/>
                      </a:lnTo>
                      <a:cubicBezTo>
                        <a:pt x="946751" y="509917"/>
                        <a:pt x="946751" y="509917"/>
                        <a:pt x="946751" y="509917"/>
                      </a:cubicBezTo>
                      <a:lnTo>
                        <a:pt x="956075" y="515512"/>
                      </a:lnTo>
                      <a:lnTo>
                        <a:pt x="991507" y="536025"/>
                      </a:lnTo>
                      <a:cubicBezTo>
                        <a:pt x="1015750" y="550944"/>
                        <a:pt x="1051183" y="543485"/>
                        <a:pt x="1066102" y="519241"/>
                      </a:cubicBezTo>
                      <a:cubicBezTo>
                        <a:pt x="1073561" y="508052"/>
                        <a:pt x="1075426" y="494998"/>
                        <a:pt x="1071696" y="481944"/>
                      </a:cubicBezTo>
                      <a:cubicBezTo>
                        <a:pt x="1067967" y="468890"/>
                        <a:pt x="1060507" y="455836"/>
                        <a:pt x="1047453" y="448377"/>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3" name="Freeform: Shape 122">
                  <a:extLst>
                    <a:ext uri="{FF2B5EF4-FFF2-40B4-BE49-F238E27FC236}">
                      <a16:creationId xmlns:a16="http://schemas.microsoft.com/office/drawing/2014/main" id="{5C71068A-EC37-4386-B8BA-875139B2EC32}"/>
                    </a:ext>
                  </a:extLst>
                </p:cNvPr>
                <p:cNvSpPr/>
                <p:nvPr/>
              </p:nvSpPr>
              <p:spPr>
                <a:xfrm>
                  <a:off x="2996979" y="5613924"/>
                  <a:ext cx="73452" cy="80267"/>
                </a:xfrm>
                <a:custGeom>
                  <a:avLst/>
                  <a:gdLst>
                    <a:gd name="connsiteX0" fmla="*/ 169200 w 186486"/>
                    <a:gd name="connsiteY0" fmla="*/ 62747 h 205134"/>
                    <a:gd name="connsiteX1" fmla="*/ 148686 w 186486"/>
                    <a:gd name="connsiteY1" fmla="*/ 34774 h 205134"/>
                    <a:gd name="connsiteX2" fmla="*/ 124443 w 186486"/>
                    <a:gd name="connsiteY2" fmla="*/ 27315 h 205134"/>
                    <a:gd name="connsiteX3" fmla="*/ 89011 w 186486"/>
                    <a:gd name="connsiteY3" fmla="*/ 45963 h 205134"/>
                    <a:gd name="connsiteX4" fmla="*/ 34930 w 186486"/>
                    <a:gd name="connsiteY4" fmla="*/ 122423 h 205134"/>
                    <a:gd name="connsiteX5" fmla="*/ 46119 w 186486"/>
                    <a:gd name="connsiteY5" fmla="*/ 182098 h 205134"/>
                    <a:gd name="connsiteX6" fmla="*/ 47984 w 186486"/>
                    <a:gd name="connsiteY6" fmla="*/ 183963 h 205134"/>
                    <a:gd name="connsiteX7" fmla="*/ 79686 w 186486"/>
                    <a:gd name="connsiteY7" fmla="*/ 191423 h 205134"/>
                    <a:gd name="connsiteX8" fmla="*/ 105794 w 186486"/>
                    <a:gd name="connsiteY8" fmla="*/ 176504 h 205134"/>
                    <a:gd name="connsiteX9" fmla="*/ 161740 w 186486"/>
                    <a:gd name="connsiteY9" fmla="*/ 94450 h 205134"/>
                    <a:gd name="connsiteX10" fmla="*/ 169200 w 186486"/>
                    <a:gd name="connsiteY10" fmla="*/ 62747 h 20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86" h="205134">
                      <a:moveTo>
                        <a:pt x="169200" y="62747"/>
                      </a:moveTo>
                      <a:cubicBezTo>
                        <a:pt x="167335" y="51558"/>
                        <a:pt x="159875" y="40369"/>
                        <a:pt x="148686" y="34774"/>
                      </a:cubicBezTo>
                      <a:cubicBezTo>
                        <a:pt x="141227" y="31044"/>
                        <a:pt x="133767" y="27315"/>
                        <a:pt x="124443" y="27315"/>
                      </a:cubicBezTo>
                      <a:cubicBezTo>
                        <a:pt x="111389" y="27315"/>
                        <a:pt x="98335" y="32909"/>
                        <a:pt x="89011" y="45963"/>
                      </a:cubicBezTo>
                      <a:lnTo>
                        <a:pt x="34930" y="122423"/>
                      </a:lnTo>
                      <a:cubicBezTo>
                        <a:pt x="21876" y="141071"/>
                        <a:pt x="25605" y="169044"/>
                        <a:pt x="46119" y="182098"/>
                      </a:cubicBezTo>
                      <a:lnTo>
                        <a:pt x="47984" y="183963"/>
                      </a:lnTo>
                      <a:cubicBezTo>
                        <a:pt x="57308" y="191423"/>
                        <a:pt x="68497" y="193288"/>
                        <a:pt x="79686" y="191423"/>
                      </a:cubicBezTo>
                      <a:cubicBezTo>
                        <a:pt x="89011" y="189558"/>
                        <a:pt x="98335" y="183963"/>
                        <a:pt x="105794" y="176504"/>
                      </a:cubicBezTo>
                      <a:lnTo>
                        <a:pt x="161740" y="94450"/>
                      </a:lnTo>
                      <a:cubicBezTo>
                        <a:pt x="169200" y="83261"/>
                        <a:pt x="171065" y="73936"/>
                        <a:pt x="169200" y="62747"/>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4" name="Freeform: Shape 123">
                  <a:extLst>
                    <a:ext uri="{FF2B5EF4-FFF2-40B4-BE49-F238E27FC236}">
                      <a16:creationId xmlns:a16="http://schemas.microsoft.com/office/drawing/2014/main" id="{4DECCD11-0461-43AE-9861-2FA0FF8125BF}"/>
                    </a:ext>
                  </a:extLst>
                </p:cNvPr>
                <p:cNvSpPr/>
                <p:nvPr/>
              </p:nvSpPr>
              <p:spPr>
                <a:xfrm>
                  <a:off x="2891208" y="5384741"/>
                  <a:ext cx="161598" cy="197019"/>
                </a:xfrm>
                <a:custGeom>
                  <a:avLst/>
                  <a:gdLst>
                    <a:gd name="connsiteX0" fmla="*/ 383650 w 410269"/>
                    <a:gd name="connsiteY0" fmla="*/ 89002 h 503512"/>
                    <a:gd name="connsiteX1" fmla="*/ 294137 w 410269"/>
                    <a:gd name="connsiteY1" fmla="*/ 33056 h 503512"/>
                    <a:gd name="connsiteX2" fmla="*/ 240056 w 410269"/>
                    <a:gd name="connsiteY2" fmla="*/ 46110 h 503512"/>
                    <a:gd name="connsiteX3" fmla="*/ 33056 w 410269"/>
                    <a:gd name="connsiteY3" fmla="*/ 372461 h 503512"/>
                    <a:gd name="connsiteX4" fmla="*/ 46110 w 410269"/>
                    <a:gd name="connsiteY4" fmla="*/ 426542 h 503512"/>
                    <a:gd name="connsiteX5" fmla="*/ 135623 w 410269"/>
                    <a:gd name="connsiteY5" fmla="*/ 482488 h 503512"/>
                    <a:gd name="connsiteX6" fmla="*/ 189704 w 410269"/>
                    <a:gd name="connsiteY6" fmla="*/ 469434 h 503512"/>
                    <a:gd name="connsiteX7" fmla="*/ 394839 w 410269"/>
                    <a:gd name="connsiteY7" fmla="*/ 143083 h 503512"/>
                    <a:gd name="connsiteX8" fmla="*/ 383650 w 410269"/>
                    <a:gd name="connsiteY8" fmla="*/ 89002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269" h="503512">
                      <a:moveTo>
                        <a:pt x="383650" y="89002"/>
                      </a:moveTo>
                      <a:lnTo>
                        <a:pt x="294137" y="33056"/>
                      </a:lnTo>
                      <a:cubicBezTo>
                        <a:pt x="275488" y="21867"/>
                        <a:pt x="251245" y="27461"/>
                        <a:pt x="240056" y="46110"/>
                      </a:cubicBezTo>
                      <a:lnTo>
                        <a:pt x="33056" y="372461"/>
                      </a:lnTo>
                      <a:cubicBezTo>
                        <a:pt x="21867" y="391109"/>
                        <a:pt x="27461" y="415353"/>
                        <a:pt x="46110" y="426542"/>
                      </a:cubicBezTo>
                      <a:lnTo>
                        <a:pt x="135623" y="482488"/>
                      </a:lnTo>
                      <a:cubicBezTo>
                        <a:pt x="154272" y="493677"/>
                        <a:pt x="178515" y="488082"/>
                        <a:pt x="189704" y="469434"/>
                      </a:cubicBezTo>
                      <a:lnTo>
                        <a:pt x="394839" y="143083"/>
                      </a:lnTo>
                      <a:cubicBezTo>
                        <a:pt x="406029" y="124434"/>
                        <a:pt x="400434" y="100191"/>
                        <a:pt x="383650" y="89002"/>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grpSp>
        </p:grpSp>
        <p:sp>
          <p:nvSpPr>
            <p:cNvPr id="158" name="Oval 157">
              <a:extLst>
                <a:ext uri="{FF2B5EF4-FFF2-40B4-BE49-F238E27FC236}">
                  <a16:creationId xmlns:a16="http://schemas.microsoft.com/office/drawing/2014/main" id="{8DCA2868-0709-4199-8964-3AE2CF8B2E6F}"/>
                </a:ext>
              </a:extLst>
            </p:cNvPr>
            <p:cNvSpPr/>
            <p:nvPr/>
          </p:nvSpPr>
          <p:spPr bwMode="auto">
            <a:xfrm>
              <a:off x="4205471" y="2418076"/>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2" name="Straight Connector 161">
            <a:extLst>
              <a:ext uri="{FF2B5EF4-FFF2-40B4-BE49-F238E27FC236}">
                <a16:creationId xmlns:a16="http://schemas.microsoft.com/office/drawing/2014/main" id="{75D342B6-ED18-4634-8E00-96E4E4917D2E}"/>
              </a:ext>
            </a:extLst>
          </p:cNvPr>
          <p:cNvCxnSpPr>
            <a:cxnSpLocks/>
            <a:stCxn id="158" idx="1"/>
          </p:cNvCxnSpPr>
          <p:nvPr/>
        </p:nvCxnSpPr>
        <p:spPr>
          <a:xfrm flipH="1" flipV="1">
            <a:off x="3272589" y="1849101"/>
            <a:ext cx="194789" cy="34416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F3978602-292F-497A-BDCA-E6D18F3A626D}"/>
              </a:ext>
            </a:extLst>
          </p:cNvPr>
          <p:cNvSpPr/>
          <p:nvPr/>
        </p:nvSpPr>
        <p:spPr bwMode="auto">
          <a:xfrm>
            <a:off x="6903102" y="959871"/>
            <a:ext cx="3839811" cy="899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streamlin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automation</a:t>
            </a:r>
            <a:r>
              <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rPr>
              <a:t> </a:t>
            </a: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and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operational efficiency</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19" name="Group 18">
            <a:extLst>
              <a:ext uri="{FF2B5EF4-FFF2-40B4-BE49-F238E27FC236}">
                <a16:creationId xmlns:a16="http://schemas.microsoft.com/office/drawing/2014/main" id="{A7563EE4-0955-4BA7-94D2-D0798E860821}"/>
              </a:ext>
            </a:extLst>
          </p:cNvPr>
          <p:cNvGrpSpPr/>
          <p:nvPr/>
        </p:nvGrpSpPr>
        <p:grpSpPr>
          <a:xfrm rot="21305278">
            <a:off x="7994970" y="1967236"/>
            <a:ext cx="1416686" cy="1400905"/>
            <a:chOff x="7123448" y="2462512"/>
            <a:chExt cx="1416686" cy="1400905"/>
          </a:xfrm>
        </p:grpSpPr>
        <p:sp>
          <p:nvSpPr>
            <p:cNvPr id="143" name="Arc 142">
              <a:extLst>
                <a:ext uri="{FF2B5EF4-FFF2-40B4-BE49-F238E27FC236}">
                  <a16:creationId xmlns:a16="http://schemas.microsoft.com/office/drawing/2014/main" id="{2C243A75-94A0-4586-8569-13AC8717EE21}"/>
                </a:ext>
              </a:extLst>
            </p:cNvPr>
            <p:cNvSpPr/>
            <p:nvPr/>
          </p:nvSpPr>
          <p:spPr>
            <a:xfrm rot="18487209">
              <a:off x="7123448" y="2462512"/>
              <a:ext cx="1399958" cy="1399958"/>
            </a:xfrm>
            <a:prstGeom prst="arc">
              <a:avLst>
                <a:gd name="adj1" fmla="val 15375412"/>
                <a:gd name="adj2" fmla="val 3657801"/>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35" name="Group 134">
              <a:extLst>
                <a:ext uri="{FF2B5EF4-FFF2-40B4-BE49-F238E27FC236}">
                  <a16:creationId xmlns:a16="http://schemas.microsoft.com/office/drawing/2014/main" id="{45B5D1E6-F9F6-40E0-8E43-4759C736F0B5}"/>
                </a:ext>
              </a:extLst>
            </p:cNvPr>
            <p:cNvGrpSpPr/>
            <p:nvPr/>
          </p:nvGrpSpPr>
          <p:grpSpPr>
            <a:xfrm>
              <a:off x="7277189" y="2616253"/>
              <a:ext cx="1092476" cy="1092476"/>
              <a:chOff x="9383865" y="2258164"/>
              <a:chExt cx="1092476" cy="1092476"/>
            </a:xfrm>
          </p:grpSpPr>
          <p:sp>
            <p:nvSpPr>
              <p:cNvPr id="136" name="Flowchart: Connector 135">
                <a:extLst>
                  <a:ext uri="{FF2B5EF4-FFF2-40B4-BE49-F238E27FC236}">
                    <a16:creationId xmlns:a16="http://schemas.microsoft.com/office/drawing/2014/main" id="{62406027-0864-4E46-B380-4462085F76C2}"/>
                  </a:ext>
                </a:extLst>
              </p:cNvPr>
              <p:cNvSpPr/>
              <p:nvPr/>
            </p:nvSpPr>
            <p:spPr bwMode="auto">
              <a:xfrm>
                <a:off x="9383865"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37" name="Graphic 15">
                <a:extLst>
                  <a:ext uri="{FF2B5EF4-FFF2-40B4-BE49-F238E27FC236}">
                    <a16:creationId xmlns:a16="http://schemas.microsoft.com/office/drawing/2014/main" id="{7C7FAF73-B9AF-4DCD-A249-F680E01CD013}"/>
                  </a:ext>
                </a:extLst>
              </p:cNvPr>
              <p:cNvGrpSpPr/>
              <p:nvPr/>
            </p:nvGrpSpPr>
            <p:grpSpPr>
              <a:xfrm>
                <a:off x="9646455" y="2520326"/>
                <a:ext cx="567296" cy="568153"/>
                <a:chOff x="9647311" y="2519896"/>
                <a:chExt cx="567296" cy="568153"/>
              </a:xfrm>
              <a:solidFill>
                <a:srgbClr val="000000"/>
              </a:solidFill>
            </p:grpSpPr>
            <p:sp>
              <p:nvSpPr>
                <p:cNvPr id="138" name="Freeform: Shape 137">
                  <a:extLst>
                    <a:ext uri="{FF2B5EF4-FFF2-40B4-BE49-F238E27FC236}">
                      <a16:creationId xmlns:a16="http://schemas.microsoft.com/office/drawing/2014/main" id="{C86557DC-E157-4D89-AE13-6729FC0CB576}"/>
                    </a:ext>
                  </a:extLst>
                </p:cNvPr>
                <p:cNvSpPr/>
                <p:nvPr/>
              </p:nvSpPr>
              <p:spPr>
                <a:xfrm>
                  <a:off x="9864118" y="2519896"/>
                  <a:ext cx="350490" cy="349633"/>
                </a:xfrm>
                <a:custGeom>
                  <a:avLst/>
                  <a:gdLst>
                    <a:gd name="connsiteX0" fmla="*/ 341921 w 350490"/>
                    <a:gd name="connsiteY0" fmla="*/ 142253 h 349633"/>
                    <a:gd name="connsiteX1" fmla="*/ 310214 w 350490"/>
                    <a:gd name="connsiteY1" fmla="*/ 134540 h 349633"/>
                    <a:gd name="connsiteX2" fmla="*/ 298217 w 350490"/>
                    <a:gd name="connsiteY2" fmla="*/ 106261 h 349633"/>
                    <a:gd name="connsiteX3" fmla="*/ 315355 w 350490"/>
                    <a:gd name="connsiteY3" fmla="*/ 78839 h 349633"/>
                    <a:gd name="connsiteX4" fmla="*/ 314499 w 350490"/>
                    <a:gd name="connsiteY4" fmla="*/ 68556 h 349633"/>
                    <a:gd name="connsiteX5" fmla="*/ 280221 w 350490"/>
                    <a:gd name="connsiteY5" fmla="*/ 34278 h 349633"/>
                    <a:gd name="connsiteX6" fmla="*/ 269937 w 350490"/>
                    <a:gd name="connsiteY6" fmla="*/ 33421 h 349633"/>
                    <a:gd name="connsiteX7" fmla="*/ 242515 w 350490"/>
                    <a:gd name="connsiteY7" fmla="*/ 50560 h 349633"/>
                    <a:gd name="connsiteX8" fmla="*/ 214236 w 350490"/>
                    <a:gd name="connsiteY8" fmla="*/ 38562 h 349633"/>
                    <a:gd name="connsiteX9" fmla="*/ 206524 w 350490"/>
                    <a:gd name="connsiteY9" fmla="*/ 6856 h 349633"/>
                    <a:gd name="connsiteX10" fmla="*/ 197954 w 350490"/>
                    <a:gd name="connsiteY10" fmla="*/ 0 h 349633"/>
                    <a:gd name="connsiteX11" fmla="*/ 149965 w 350490"/>
                    <a:gd name="connsiteY11" fmla="*/ 0 h 349633"/>
                    <a:gd name="connsiteX12" fmla="*/ 141396 w 350490"/>
                    <a:gd name="connsiteY12" fmla="*/ 6856 h 349633"/>
                    <a:gd name="connsiteX13" fmla="*/ 134540 w 350490"/>
                    <a:gd name="connsiteY13" fmla="*/ 38562 h 349633"/>
                    <a:gd name="connsiteX14" fmla="*/ 106261 w 350490"/>
                    <a:gd name="connsiteY14" fmla="*/ 50560 h 349633"/>
                    <a:gd name="connsiteX15" fmla="*/ 78839 w 350490"/>
                    <a:gd name="connsiteY15" fmla="*/ 33421 h 349633"/>
                    <a:gd name="connsiteX16" fmla="*/ 68556 w 350490"/>
                    <a:gd name="connsiteY16" fmla="*/ 34278 h 349633"/>
                    <a:gd name="connsiteX17" fmla="*/ 34278 w 350490"/>
                    <a:gd name="connsiteY17" fmla="*/ 68556 h 349633"/>
                    <a:gd name="connsiteX18" fmla="*/ 33421 w 350490"/>
                    <a:gd name="connsiteY18" fmla="*/ 78839 h 349633"/>
                    <a:gd name="connsiteX19" fmla="*/ 50560 w 350490"/>
                    <a:gd name="connsiteY19" fmla="*/ 106261 h 349633"/>
                    <a:gd name="connsiteX20" fmla="*/ 38562 w 350490"/>
                    <a:gd name="connsiteY20" fmla="*/ 134540 h 349633"/>
                    <a:gd name="connsiteX21" fmla="*/ 6856 w 350490"/>
                    <a:gd name="connsiteY21" fmla="*/ 142253 h 349633"/>
                    <a:gd name="connsiteX22" fmla="*/ 0 w 350490"/>
                    <a:gd name="connsiteY22" fmla="*/ 150822 h 349633"/>
                    <a:gd name="connsiteX23" fmla="*/ 0 w 350490"/>
                    <a:gd name="connsiteY23" fmla="*/ 198811 h 349633"/>
                    <a:gd name="connsiteX24" fmla="*/ 6856 w 350490"/>
                    <a:gd name="connsiteY24" fmla="*/ 207380 h 349633"/>
                    <a:gd name="connsiteX25" fmla="*/ 38562 w 350490"/>
                    <a:gd name="connsiteY25" fmla="*/ 215093 h 349633"/>
                    <a:gd name="connsiteX26" fmla="*/ 50560 w 350490"/>
                    <a:gd name="connsiteY26" fmla="*/ 243372 h 349633"/>
                    <a:gd name="connsiteX27" fmla="*/ 33421 w 350490"/>
                    <a:gd name="connsiteY27" fmla="*/ 270794 h 349633"/>
                    <a:gd name="connsiteX28" fmla="*/ 35135 w 350490"/>
                    <a:gd name="connsiteY28" fmla="*/ 281078 h 349633"/>
                    <a:gd name="connsiteX29" fmla="*/ 69412 w 350490"/>
                    <a:gd name="connsiteY29" fmla="*/ 315355 h 349633"/>
                    <a:gd name="connsiteX30" fmla="*/ 79696 w 350490"/>
                    <a:gd name="connsiteY30" fmla="*/ 316212 h 349633"/>
                    <a:gd name="connsiteX31" fmla="*/ 107118 w 350490"/>
                    <a:gd name="connsiteY31" fmla="*/ 299074 h 349633"/>
                    <a:gd name="connsiteX32" fmla="*/ 135397 w 350490"/>
                    <a:gd name="connsiteY32" fmla="*/ 311071 h 349633"/>
                    <a:gd name="connsiteX33" fmla="*/ 143110 w 350490"/>
                    <a:gd name="connsiteY33" fmla="*/ 342778 h 349633"/>
                    <a:gd name="connsiteX34" fmla="*/ 151679 w 350490"/>
                    <a:gd name="connsiteY34" fmla="*/ 349633 h 349633"/>
                    <a:gd name="connsiteX35" fmla="*/ 199668 w 350490"/>
                    <a:gd name="connsiteY35" fmla="*/ 349633 h 349633"/>
                    <a:gd name="connsiteX36" fmla="*/ 208237 w 350490"/>
                    <a:gd name="connsiteY36" fmla="*/ 342778 h 349633"/>
                    <a:gd name="connsiteX37" fmla="*/ 215950 w 350490"/>
                    <a:gd name="connsiteY37" fmla="*/ 311071 h 349633"/>
                    <a:gd name="connsiteX38" fmla="*/ 244229 w 350490"/>
                    <a:gd name="connsiteY38" fmla="*/ 299074 h 349633"/>
                    <a:gd name="connsiteX39" fmla="*/ 271651 w 350490"/>
                    <a:gd name="connsiteY39" fmla="*/ 316212 h 349633"/>
                    <a:gd name="connsiteX40" fmla="*/ 281935 w 350490"/>
                    <a:gd name="connsiteY40" fmla="*/ 315355 h 349633"/>
                    <a:gd name="connsiteX41" fmla="*/ 316212 w 350490"/>
                    <a:gd name="connsiteY41" fmla="*/ 281078 h 349633"/>
                    <a:gd name="connsiteX42" fmla="*/ 317069 w 350490"/>
                    <a:gd name="connsiteY42" fmla="*/ 270794 h 349633"/>
                    <a:gd name="connsiteX43" fmla="*/ 299930 w 350490"/>
                    <a:gd name="connsiteY43" fmla="*/ 243372 h 349633"/>
                    <a:gd name="connsiteX44" fmla="*/ 311928 w 350490"/>
                    <a:gd name="connsiteY44" fmla="*/ 215093 h 349633"/>
                    <a:gd name="connsiteX45" fmla="*/ 343635 w 350490"/>
                    <a:gd name="connsiteY45" fmla="*/ 207380 h 349633"/>
                    <a:gd name="connsiteX46" fmla="*/ 350490 w 350490"/>
                    <a:gd name="connsiteY46" fmla="*/ 198811 h 349633"/>
                    <a:gd name="connsiteX47" fmla="*/ 350490 w 350490"/>
                    <a:gd name="connsiteY47" fmla="*/ 150822 h 349633"/>
                    <a:gd name="connsiteX48" fmla="*/ 341921 w 350490"/>
                    <a:gd name="connsiteY48" fmla="*/ 142253 h 349633"/>
                    <a:gd name="connsiteX49" fmla="*/ 174817 w 350490"/>
                    <a:gd name="connsiteY49" fmla="*/ 253655 h 349633"/>
                    <a:gd name="connsiteX50" fmla="*/ 95121 w 350490"/>
                    <a:gd name="connsiteY50" fmla="*/ 173960 h 349633"/>
                    <a:gd name="connsiteX51" fmla="*/ 174817 w 350490"/>
                    <a:gd name="connsiteY51" fmla="*/ 94264 h 349633"/>
                    <a:gd name="connsiteX52" fmla="*/ 254512 w 350490"/>
                    <a:gd name="connsiteY52" fmla="*/ 173960 h 349633"/>
                    <a:gd name="connsiteX53" fmla="*/ 174817 w 350490"/>
                    <a:gd name="connsiteY53" fmla="*/ 253655 h 34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0490" h="349633">
                      <a:moveTo>
                        <a:pt x="341921" y="142253"/>
                      </a:moveTo>
                      <a:lnTo>
                        <a:pt x="310214" y="134540"/>
                      </a:lnTo>
                      <a:lnTo>
                        <a:pt x="298217" y="106261"/>
                      </a:lnTo>
                      <a:lnTo>
                        <a:pt x="315355" y="78839"/>
                      </a:lnTo>
                      <a:cubicBezTo>
                        <a:pt x="317069" y="75411"/>
                        <a:pt x="317069" y="71126"/>
                        <a:pt x="314499" y="68556"/>
                      </a:cubicBezTo>
                      <a:lnTo>
                        <a:pt x="280221" y="34278"/>
                      </a:lnTo>
                      <a:cubicBezTo>
                        <a:pt x="277650" y="31707"/>
                        <a:pt x="273365" y="30850"/>
                        <a:pt x="269937" y="33421"/>
                      </a:cubicBezTo>
                      <a:lnTo>
                        <a:pt x="242515" y="50560"/>
                      </a:lnTo>
                      <a:lnTo>
                        <a:pt x="214236" y="38562"/>
                      </a:lnTo>
                      <a:lnTo>
                        <a:pt x="206524" y="6856"/>
                      </a:lnTo>
                      <a:cubicBezTo>
                        <a:pt x="205667" y="3428"/>
                        <a:pt x="202239" y="0"/>
                        <a:pt x="197954" y="0"/>
                      </a:cubicBezTo>
                      <a:lnTo>
                        <a:pt x="149965" y="0"/>
                      </a:lnTo>
                      <a:cubicBezTo>
                        <a:pt x="145681" y="0"/>
                        <a:pt x="142253" y="2571"/>
                        <a:pt x="141396" y="6856"/>
                      </a:cubicBezTo>
                      <a:lnTo>
                        <a:pt x="134540" y="38562"/>
                      </a:lnTo>
                      <a:lnTo>
                        <a:pt x="106261" y="50560"/>
                      </a:lnTo>
                      <a:lnTo>
                        <a:pt x="78839" y="33421"/>
                      </a:lnTo>
                      <a:cubicBezTo>
                        <a:pt x="75411" y="31707"/>
                        <a:pt x="71126" y="31707"/>
                        <a:pt x="68556" y="34278"/>
                      </a:cubicBezTo>
                      <a:lnTo>
                        <a:pt x="34278" y="68556"/>
                      </a:lnTo>
                      <a:cubicBezTo>
                        <a:pt x="31707" y="71126"/>
                        <a:pt x="30850" y="75411"/>
                        <a:pt x="33421" y="78839"/>
                      </a:cubicBezTo>
                      <a:lnTo>
                        <a:pt x="50560" y="106261"/>
                      </a:lnTo>
                      <a:lnTo>
                        <a:pt x="38562" y="134540"/>
                      </a:lnTo>
                      <a:lnTo>
                        <a:pt x="6856" y="142253"/>
                      </a:lnTo>
                      <a:cubicBezTo>
                        <a:pt x="3428" y="143110"/>
                        <a:pt x="0" y="146537"/>
                        <a:pt x="0" y="150822"/>
                      </a:cubicBezTo>
                      <a:lnTo>
                        <a:pt x="0" y="198811"/>
                      </a:lnTo>
                      <a:cubicBezTo>
                        <a:pt x="0" y="203096"/>
                        <a:pt x="2571" y="206524"/>
                        <a:pt x="6856" y="207380"/>
                      </a:cubicBezTo>
                      <a:lnTo>
                        <a:pt x="38562" y="215093"/>
                      </a:lnTo>
                      <a:lnTo>
                        <a:pt x="50560" y="243372"/>
                      </a:lnTo>
                      <a:lnTo>
                        <a:pt x="33421" y="270794"/>
                      </a:lnTo>
                      <a:cubicBezTo>
                        <a:pt x="31707" y="274222"/>
                        <a:pt x="31707" y="278507"/>
                        <a:pt x="35135" y="281078"/>
                      </a:cubicBezTo>
                      <a:lnTo>
                        <a:pt x="69412" y="315355"/>
                      </a:lnTo>
                      <a:cubicBezTo>
                        <a:pt x="71983" y="317926"/>
                        <a:pt x="76268" y="318783"/>
                        <a:pt x="79696" y="316212"/>
                      </a:cubicBezTo>
                      <a:lnTo>
                        <a:pt x="107118" y="299074"/>
                      </a:lnTo>
                      <a:lnTo>
                        <a:pt x="135397" y="311071"/>
                      </a:lnTo>
                      <a:lnTo>
                        <a:pt x="143110" y="342778"/>
                      </a:lnTo>
                      <a:cubicBezTo>
                        <a:pt x="143967" y="346205"/>
                        <a:pt x="147394" y="349633"/>
                        <a:pt x="151679" y="349633"/>
                      </a:cubicBezTo>
                      <a:lnTo>
                        <a:pt x="199668" y="349633"/>
                      </a:lnTo>
                      <a:cubicBezTo>
                        <a:pt x="203953" y="349633"/>
                        <a:pt x="207380" y="347062"/>
                        <a:pt x="208237" y="342778"/>
                      </a:cubicBezTo>
                      <a:lnTo>
                        <a:pt x="215950" y="311071"/>
                      </a:lnTo>
                      <a:lnTo>
                        <a:pt x="244229" y="299074"/>
                      </a:lnTo>
                      <a:lnTo>
                        <a:pt x="271651" y="316212"/>
                      </a:lnTo>
                      <a:cubicBezTo>
                        <a:pt x="275079" y="317926"/>
                        <a:pt x="279364" y="317926"/>
                        <a:pt x="281935" y="315355"/>
                      </a:cubicBezTo>
                      <a:lnTo>
                        <a:pt x="316212" y="281078"/>
                      </a:lnTo>
                      <a:cubicBezTo>
                        <a:pt x="318783" y="278507"/>
                        <a:pt x="319640" y="274222"/>
                        <a:pt x="317069" y="270794"/>
                      </a:cubicBezTo>
                      <a:lnTo>
                        <a:pt x="299930" y="243372"/>
                      </a:lnTo>
                      <a:lnTo>
                        <a:pt x="311928" y="215093"/>
                      </a:lnTo>
                      <a:lnTo>
                        <a:pt x="343635" y="207380"/>
                      </a:lnTo>
                      <a:cubicBezTo>
                        <a:pt x="347062" y="206524"/>
                        <a:pt x="350490" y="203096"/>
                        <a:pt x="350490" y="198811"/>
                      </a:cubicBezTo>
                      <a:lnTo>
                        <a:pt x="350490" y="150822"/>
                      </a:lnTo>
                      <a:cubicBezTo>
                        <a:pt x="348776" y="146537"/>
                        <a:pt x="346205" y="143110"/>
                        <a:pt x="341921" y="142253"/>
                      </a:cubicBezTo>
                      <a:close/>
                      <a:moveTo>
                        <a:pt x="174817" y="253655"/>
                      </a:moveTo>
                      <a:cubicBezTo>
                        <a:pt x="131112" y="253655"/>
                        <a:pt x="95121" y="218521"/>
                        <a:pt x="95121" y="173960"/>
                      </a:cubicBezTo>
                      <a:cubicBezTo>
                        <a:pt x="95121" y="130256"/>
                        <a:pt x="130256" y="94264"/>
                        <a:pt x="174817" y="94264"/>
                      </a:cubicBezTo>
                      <a:cubicBezTo>
                        <a:pt x="218521" y="94264"/>
                        <a:pt x="254512" y="129399"/>
                        <a:pt x="254512" y="173960"/>
                      </a:cubicBezTo>
                      <a:cubicBezTo>
                        <a:pt x="253655" y="218521"/>
                        <a:pt x="218521" y="253655"/>
                        <a:pt x="174817" y="253655"/>
                      </a:cubicBezTo>
                      <a:close/>
                    </a:path>
                  </a:pathLst>
                </a:custGeom>
                <a:solidFill>
                  <a:srgbClr val="30E5D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3913DED3-EF0F-410A-97D3-F6C642E7FD4E}"/>
                    </a:ext>
                  </a:extLst>
                </p:cNvPr>
                <p:cNvSpPr/>
                <p:nvPr/>
              </p:nvSpPr>
              <p:spPr>
                <a:xfrm>
                  <a:off x="9647311" y="2788120"/>
                  <a:ext cx="300376" cy="299930"/>
                </a:xfrm>
                <a:custGeom>
                  <a:avLst/>
                  <a:gdLst>
                    <a:gd name="connsiteX0" fmla="*/ 293075 w 300376"/>
                    <a:gd name="connsiteY0" fmla="*/ 125971 h 299930"/>
                    <a:gd name="connsiteX1" fmla="*/ 262225 w 300376"/>
                    <a:gd name="connsiteY1" fmla="*/ 112260 h 299930"/>
                    <a:gd name="connsiteX2" fmla="*/ 256226 w 300376"/>
                    <a:gd name="connsiteY2" fmla="*/ 96835 h 299930"/>
                    <a:gd name="connsiteX3" fmla="*/ 269080 w 300376"/>
                    <a:gd name="connsiteY3" fmla="*/ 65128 h 299930"/>
                    <a:gd name="connsiteX4" fmla="*/ 266510 w 300376"/>
                    <a:gd name="connsiteY4" fmla="*/ 50560 h 299930"/>
                    <a:gd name="connsiteX5" fmla="*/ 248514 w 300376"/>
                    <a:gd name="connsiteY5" fmla="*/ 35135 h 299930"/>
                    <a:gd name="connsiteX6" fmla="*/ 233946 w 300376"/>
                    <a:gd name="connsiteY6" fmla="*/ 31707 h 299930"/>
                    <a:gd name="connsiteX7" fmla="*/ 202239 w 300376"/>
                    <a:gd name="connsiteY7" fmla="*/ 44561 h 299930"/>
                    <a:gd name="connsiteX8" fmla="*/ 186814 w 300376"/>
                    <a:gd name="connsiteY8" fmla="*/ 38562 h 299930"/>
                    <a:gd name="connsiteX9" fmla="*/ 173103 w 300376"/>
                    <a:gd name="connsiteY9" fmla="*/ 7713 h 299930"/>
                    <a:gd name="connsiteX10" fmla="*/ 161105 w 300376"/>
                    <a:gd name="connsiteY10" fmla="*/ 0 h 299930"/>
                    <a:gd name="connsiteX11" fmla="*/ 137968 w 300376"/>
                    <a:gd name="connsiteY11" fmla="*/ 0 h 299930"/>
                    <a:gd name="connsiteX12" fmla="*/ 125971 w 300376"/>
                    <a:gd name="connsiteY12" fmla="*/ 7713 h 299930"/>
                    <a:gd name="connsiteX13" fmla="*/ 112260 w 300376"/>
                    <a:gd name="connsiteY13" fmla="*/ 38562 h 299930"/>
                    <a:gd name="connsiteX14" fmla="*/ 96835 w 300376"/>
                    <a:gd name="connsiteY14" fmla="*/ 44561 h 299930"/>
                    <a:gd name="connsiteX15" fmla="*/ 65128 w 300376"/>
                    <a:gd name="connsiteY15" fmla="*/ 31707 h 299930"/>
                    <a:gd name="connsiteX16" fmla="*/ 50560 w 300376"/>
                    <a:gd name="connsiteY16" fmla="*/ 35135 h 299930"/>
                    <a:gd name="connsiteX17" fmla="*/ 34278 w 300376"/>
                    <a:gd name="connsiteY17" fmla="*/ 51417 h 299930"/>
                    <a:gd name="connsiteX18" fmla="*/ 31707 w 300376"/>
                    <a:gd name="connsiteY18" fmla="*/ 65985 h 299930"/>
                    <a:gd name="connsiteX19" fmla="*/ 44561 w 300376"/>
                    <a:gd name="connsiteY19" fmla="*/ 97692 h 299930"/>
                    <a:gd name="connsiteX20" fmla="*/ 38562 w 300376"/>
                    <a:gd name="connsiteY20" fmla="*/ 113117 h 299930"/>
                    <a:gd name="connsiteX21" fmla="*/ 7712 w 300376"/>
                    <a:gd name="connsiteY21" fmla="*/ 126828 h 299930"/>
                    <a:gd name="connsiteX22" fmla="*/ 0 w 300376"/>
                    <a:gd name="connsiteY22" fmla="*/ 137968 h 299930"/>
                    <a:gd name="connsiteX23" fmla="*/ 0 w 300376"/>
                    <a:gd name="connsiteY23" fmla="*/ 161106 h 299930"/>
                    <a:gd name="connsiteX24" fmla="*/ 7712 w 300376"/>
                    <a:gd name="connsiteY24" fmla="*/ 173103 h 299930"/>
                    <a:gd name="connsiteX25" fmla="*/ 38562 w 300376"/>
                    <a:gd name="connsiteY25" fmla="*/ 186814 h 299930"/>
                    <a:gd name="connsiteX26" fmla="*/ 44561 w 300376"/>
                    <a:gd name="connsiteY26" fmla="*/ 202239 h 299930"/>
                    <a:gd name="connsiteX27" fmla="*/ 31707 w 300376"/>
                    <a:gd name="connsiteY27" fmla="*/ 233946 h 299930"/>
                    <a:gd name="connsiteX28" fmla="*/ 34278 w 300376"/>
                    <a:gd name="connsiteY28" fmla="*/ 248514 h 299930"/>
                    <a:gd name="connsiteX29" fmla="*/ 50560 w 300376"/>
                    <a:gd name="connsiteY29" fmla="*/ 264796 h 299930"/>
                    <a:gd name="connsiteX30" fmla="*/ 65128 w 300376"/>
                    <a:gd name="connsiteY30" fmla="*/ 268224 h 299930"/>
                    <a:gd name="connsiteX31" fmla="*/ 96835 w 300376"/>
                    <a:gd name="connsiteY31" fmla="*/ 255369 h 299930"/>
                    <a:gd name="connsiteX32" fmla="*/ 112260 w 300376"/>
                    <a:gd name="connsiteY32" fmla="*/ 261368 h 299930"/>
                    <a:gd name="connsiteX33" fmla="*/ 125971 w 300376"/>
                    <a:gd name="connsiteY33" fmla="*/ 292218 h 299930"/>
                    <a:gd name="connsiteX34" fmla="*/ 137968 w 300376"/>
                    <a:gd name="connsiteY34" fmla="*/ 299930 h 299930"/>
                    <a:gd name="connsiteX35" fmla="*/ 161105 w 300376"/>
                    <a:gd name="connsiteY35" fmla="*/ 299930 h 299930"/>
                    <a:gd name="connsiteX36" fmla="*/ 173103 w 300376"/>
                    <a:gd name="connsiteY36" fmla="*/ 292218 h 299930"/>
                    <a:gd name="connsiteX37" fmla="*/ 186814 w 300376"/>
                    <a:gd name="connsiteY37" fmla="*/ 261368 h 299930"/>
                    <a:gd name="connsiteX38" fmla="*/ 202239 w 300376"/>
                    <a:gd name="connsiteY38" fmla="*/ 255369 h 299930"/>
                    <a:gd name="connsiteX39" fmla="*/ 233946 w 300376"/>
                    <a:gd name="connsiteY39" fmla="*/ 268224 h 299930"/>
                    <a:gd name="connsiteX40" fmla="*/ 248514 w 300376"/>
                    <a:gd name="connsiteY40" fmla="*/ 264796 h 299930"/>
                    <a:gd name="connsiteX41" fmla="*/ 265653 w 300376"/>
                    <a:gd name="connsiteY41" fmla="*/ 247657 h 299930"/>
                    <a:gd name="connsiteX42" fmla="*/ 268224 w 300376"/>
                    <a:gd name="connsiteY42" fmla="*/ 233089 h 299930"/>
                    <a:gd name="connsiteX43" fmla="*/ 255369 w 300376"/>
                    <a:gd name="connsiteY43" fmla="*/ 201382 h 299930"/>
                    <a:gd name="connsiteX44" fmla="*/ 261368 w 300376"/>
                    <a:gd name="connsiteY44" fmla="*/ 185957 h 299930"/>
                    <a:gd name="connsiteX45" fmla="*/ 292218 w 300376"/>
                    <a:gd name="connsiteY45" fmla="*/ 172246 h 299930"/>
                    <a:gd name="connsiteX46" fmla="*/ 299930 w 300376"/>
                    <a:gd name="connsiteY46" fmla="*/ 160249 h 299930"/>
                    <a:gd name="connsiteX47" fmla="*/ 299930 w 300376"/>
                    <a:gd name="connsiteY47" fmla="*/ 137111 h 299930"/>
                    <a:gd name="connsiteX48" fmla="*/ 293075 w 300376"/>
                    <a:gd name="connsiteY48" fmla="*/ 125971 h 299930"/>
                    <a:gd name="connsiteX49" fmla="*/ 150822 w 300376"/>
                    <a:gd name="connsiteY49" fmla="*/ 210808 h 299930"/>
                    <a:gd name="connsiteX50" fmla="*/ 89122 w 300376"/>
                    <a:gd name="connsiteY50" fmla="*/ 149108 h 299930"/>
                    <a:gd name="connsiteX51" fmla="*/ 150822 w 300376"/>
                    <a:gd name="connsiteY51" fmla="*/ 87408 h 299930"/>
                    <a:gd name="connsiteX52" fmla="*/ 212522 w 300376"/>
                    <a:gd name="connsiteY52" fmla="*/ 149108 h 299930"/>
                    <a:gd name="connsiteX53" fmla="*/ 150822 w 300376"/>
                    <a:gd name="connsiteY53" fmla="*/ 210808 h 29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0376" h="299930">
                      <a:moveTo>
                        <a:pt x="293075" y="125971"/>
                      </a:moveTo>
                      <a:lnTo>
                        <a:pt x="262225" y="112260"/>
                      </a:lnTo>
                      <a:lnTo>
                        <a:pt x="256226" y="96835"/>
                      </a:lnTo>
                      <a:lnTo>
                        <a:pt x="269080" y="65128"/>
                      </a:lnTo>
                      <a:cubicBezTo>
                        <a:pt x="270794" y="59986"/>
                        <a:pt x="269937" y="54844"/>
                        <a:pt x="266510" y="50560"/>
                      </a:cubicBezTo>
                      <a:lnTo>
                        <a:pt x="248514" y="35135"/>
                      </a:lnTo>
                      <a:cubicBezTo>
                        <a:pt x="245086" y="31707"/>
                        <a:pt x="239087" y="29993"/>
                        <a:pt x="233946" y="31707"/>
                      </a:cubicBezTo>
                      <a:lnTo>
                        <a:pt x="202239" y="44561"/>
                      </a:lnTo>
                      <a:lnTo>
                        <a:pt x="186814" y="38562"/>
                      </a:lnTo>
                      <a:lnTo>
                        <a:pt x="173103" y="7713"/>
                      </a:lnTo>
                      <a:cubicBezTo>
                        <a:pt x="170532" y="2571"/>
                        <a:pt x="166247" y="0"/>
                        <a:pt x="161105" y="0"/>
                      </a:cubicBezTo>
                      <a:lnTo>
                        <a:pt x="137968" y="0"/>
                      </a:lnTo>
                      <a:cubicBezTo>
                        <a:pt x="132826" y="0"/>
                        <a:pt x="127685" y="3428"/>
                        <a:pt x="125971" y="7713"/>
                      </a:cubicBezTo>
                      <a:lnTo>
                        <a:pt x="112260" y="38562"/>
                      </a:lnTo>
                      <a:lnTo>
                        <a:pt x="96835" y="44561"/>
                      </a:lnTo>
                      <a:lnTo>
                        <a:pt x="65128" y="31707"/>
                      </a:lnTo>
                      <a:cubicBezTo>
                        <a:pt x="59986" y="29993"/>
                        <a:pt x="53987" y="30850"/>
                        <a:pt x="50560" y="35135"/>
                      </a:cubicBezTo>
                      <a:lnTo>
                        <a:pt x="34278" y="51417"/>
                      </a:lnTo>
                      <a:cubicBezTo>
                        <a:pt x="30850" y="54844"/>
                        <a:pt x="29136" y="60843"/>
                        <a:pt x="31707" y="65985"/>
                      </a:cubicBezTo>
                      <a:lnTo>
                        <a:pt x="44561" y="97692"/>
                      </a:lnTo>
                      <a:lnTo>
                        <a:pt x="38562" y="113117"/>
                      </a:lnTo>
                      <a:lnTo>
                        <a:pt x="7712" y="126828"/>
                      </a:lnTo>
                      <a:cubicBezTo>
                        <a:pt x="3428" y="127685"/>
                        <a:pt x="0" y="132826"/>
                        <a:pt x="0" y="137968"/>
                      </a:cubicBezTo>
                      <a:lnTo>
                        <a:pt x="0" y="161106"/>
                      </a:lnTo>
                      <a:cubicBezTo>
                        <a:pt x="0" y="166247"/>
                        <a:pt x="3428" y="171389"/>
                        <a:pt x="7712" y="173103"/>
                      </a:cubicBezTo>
                      <a:lnTo>
                        <a:pt x="38562" y="186814"/>
                      </a:lnTo>
                      <a:lnTo>
                        <a:pt x="44561" y="202239"/>
                      </a:lnTo>
                      <a:lnTo>
                        <a:pt x="31707" y="233946"/>
                      </a:lnTo>
                      <a:cubicBezTo>
                        <a:pt x="29993" y="239087"/>
                        <a:pt x="30850" y="244229"/>
                        <a:pt x="34278" y="248514"/>
                      </a:cubicBezTo>
                      <a:lnTo>
                        <a:pt x="50560" y="264796"/>
                      </a:lnTo>
                      <a:cubicBezTo>
                        <a:pt x="53987" y="268224"/>
                        <a:pt x="59986" y="269937"/>
                        <a:pt x="65128" y="268224"/>
                      </a:cubicBezTo>
                      <a:lnTo>
                        <a:pt x="96835" y="255369"/>
                      </a:lnTo>
                      <a:lnTo>
                        <a:pt x="112260" y="261368"/>
                      </a:lnTo>
                      <a:lnTo>
                        <a:pt x="125971" y="292218"/>
                      </a:lnTo>
                      <a:cubicBezTo>
                        <a:pt x="127685" y="297360"/>
                        <a:pt x="132826" y="299930"/>
                        <a:pt x="137968" y="299930"/>
                      </a:cubicBezTo>
                      <a:lnTo>
                        <a:pt x="161105" y="299930"/>
                      </a:lnTo>
                      <a:cubicBezTo>
                        <a:pt x="166247" y="299930"/>
                        <a:pt x="171389" y="296503"/>
                        <a:pt x="173103" y="292218"/>
                      </a:cubicBezTo>
                      <a:lnTo>
                        <a:pt x="186814" y="261368"/>
                      </a:lnTo>
                      <a:lnTo>
                        <a:pt x="202239" y="255369"/>
                      </a:lnTo>
                      <a:lnTo>
                        <a:pt x="233946" y="268224"/>
                      </a:lnTo>
                      <a:cubicBezTo>
                        <a:pt x="239087" y="269937"/>
                        <a:pt x="245086" y="269080"/>
                        <a:pt x="248514" y="264796"/>
                      </a:cubicBezTo>
                      <a:lnTo>
                        <a:pt x="265653" y="247657"/>
                      </a:lnTo>
                      <a:cubicBezTo>
                        <a:pt x="269080" y="244229"/>
                        <a:pt x="270794" y="238230"/>
                        <a:pt x="268224" y="233089"/>
                      </a:cubicBezTo>
                      <a:lnTo>
                        <a:pt x="255369" y="201382"/>
                      </a:lnTo>
                      <a:lnTo>
                        <a:pt x="261368" y="185957"/>
                      </a:lnTo>
                      <a:lnTo>
                        <a:pt x="292218" y="172246"/>
                      </a:lnTo>
                      <a:cubicBezTo>
                        <a:pt x="297360" y="169675"/>
                        <a:pt x="299930" y="165390"/>
                        <a:pt x="299930" y="160249"/>
                      </a:cubicBezTo>
                      <a:lnTo>
                        <a:pt x="299930" y="137111"/>
                      </a:lnTo>
                      <a:cubicBezTo>
                        <a:pt x="301644" y="132826"/>
                        <a:pt x="298217" y="127685"/>
                        <a:pt x="293075" y="125971"/>
                      </a:cubicBezTo>
                      <a:close/>
                      <a:moveTo>
                        <a:pt x="150822" y="210808"/>
                      </a:moveTo>
                      <a:cubicBezTo>
                        <a:pt x="116544" y="210808"/>
                        <a:pt x="89122" y="183386"/>
                        <a:pt x="89122" y="149108"/>
                      </a:cubicBezTo>
                      <a:cubicBezTo>
                        <a:pt x="89122" y="114831"/>
                        <a:pt x="116544" y="87408"/>
                        <a:pt x="150822" y="87408"/>
                      </a:cubicBezTo>
                      <a:cubicBezTo>
                        <a:pt x="185100" y="87408"/>
                        <a:pt x="212522" y="114831"/>
                        <a:pt x="212522" y="149108"/>
                      </a:cubicBezTo>
                      <a:cubicBezTo>
                        <a:pt x="212522" y="183386"/>
                        <a:pt x="184243" y="210808"/>
                        <a:pt x="150822" y="210808"/>
                      </a:cubicBezTo>
                      <a:close/>
                    </a:path>
                  </a:pathLst>
                </a:custGeom>
                <a:solidFill>
                  <a:srgbClr val="50505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2" name="Arc 151">
              <a:extLst>
                <a:ext uri="{FF2B5EF4-FFF2-40B4-BE49-F238E27FC236}">
                  <a16:creationId xmlns:a16="http://schemas.microsoft.com/office/drawing/2014/main" id="{FBAA7FAB-EC94-46DF-87B3-F2A429ADBC13}"/>
                </a:ext>
              </a:extLst>
            </p:cNvPr>
            <p:cNvSpPr/>
            <p:nvPr/>
          </p:nvSpPr>
          <p:spPr>
            <a:xfrm rot="1608303">
              <a:off x="7140176" y="246345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7" name="Oval 156">
              <a:extLst>
                <a:ext uri="{FF2B5EF4-FFF2-40B4-BE49-F238E27FC236}">
                  <a16:creationId xmlns:a16="http://schemas.microsoft.com/office/drawing/2014/main" id="{7BD4CB1D-A7DE-4EEC-B36F-23640458923B}"/>
                </a:ext>
              </a:extLst>
            </p:cNvPr>
            <p:cNvSpPr/>
            <p:nvPr/>
          </p:nvSpPr>
          <p:spPr bwMode="auto">
            <a:xfrm>
              <a:off x="8088380" y="2473712"/>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3" name="Straight Connector 162">
            <a:extLst>
              <a:ext uri="{FF2B5EF4-FFF2-40B4-BE49-F238E27FC236}">
                <a16:creationId xmlns:a16="http://schemas.microsoft.com/office/drawing/2014/main" id="{B6FDF4D3-8FCF-4B1E-8610-1775A847E1FE}"/>
              </a:ext>
            </a:extLst>
          </p:cNvPr>
          <p:cNvCxnSpPr>
            <a:cxnSpLocks/>
            <a:endCxn id="157" idx="7"/>
          </p:cNvCxnSpPr>
          <p:nvPr/>
        </p:nvCxnSpPr>
        <p:spPr>
          <a:xfrm flipH="1">
            <a:off x="9002483" y="1660708"/>
            <a:ext cx="76246" cy="30694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FB9BA5FA-BCA1-4AF9-94BF-1EBDB6F63253}"/>
              </a:ext>
            </a:extLst>
          </p:cNvPr>
          <p:cNvSpPr/>
          <p:nvPr/>
        </p:nvSpPr>
        <p:spPr bwMode="auto">
          <a:xfrm>
            <a:off x="9507135" y="1972936"/>
            <a:ext cx="2102254" cy="675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improve </a:t>
            </a:r>
            <a:b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reputation</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21" name="Group 20">
            <a:extLst>
              <a:ext uri="{FF2B5EF4-FFF2-40B4-BE49-F238E27FC236}">
                <a16:creationId xmlns:a16="http://schemas.microsoft.com/office/drawing/2014/main" id="{07293160-585E-4BFC-8F4D-707D92987656}"/>
              </a:ext>
            </a:extLst>
          </p:cNvPr>
          <p:cNvGrpSpPr/>
          <p:nvPr/>
        </p:nvGrpSpPr>
        <p:grpSpPr>
          <a:xfrm>
            <a:off x="10195665" y="3012194"/>
            <a:ext cx="1399958" cy="1435140"/>
            <a:chOff x="8489380" y="3832097"/>
            <a:chExt cx="1399958" cy="1435140"/>
          </a:xfrm>
        </p:grpSpPr>
        <p:sp>
          <p:nvSpPr>
            <p:cNvPr id="142" name="Arc 141">
              <a:extLst>
                <a:ext uri="{FF2B5EF4-FFF2-40B4-BE49-F238E27FC236}">
                  <a16:creationId xmlns:a16="http://schemas.microsoft.com/office/drawing/2014/main" id="{30377F20-FE4B-4B21-976A-DE18D993974D}"/>
                </a:ext>
              </a:extLst>
            </p:cNvPr>
            <p:cNvSpPr/>
            <p:nvPr/>
          </p:nvSpPr>
          <p:spPr>
            <a:xfrm rot="2700000">
              <a:off x="8489380" y="3867279"/>
              <a:ext cx="1399958" cy="1399958"/>
            </a:xfrm>
            <a:prstGeom prst="arc">
              <a:avLst>
                <a:gd name="adj1" fmla="val 9192847"/>
                <a:gd name="adj2" fmla="val 2022894"/>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4" name="Arc 153">
              <a:extLst>
                <a:ext uri="{FF2B5EF4-FFF2-40B4-BE49-F238E27FC236}">
                  <a16:creationId xmlns:a16="http://schemas.microsoft.com/office/drawing/2014/main" id="{23C4A40E-F150-4084-9C51-A0525824120F}"/>
                </a:ext>
              </a:extLst>
            </p:cNvPr>
            <p:cNvSpPr/>
            <p:nvPr/>
          </p:nvSpPr>
          <p:spPr>
            <a:xfrm rot="1380174">
              <a:off x="8489380" y="386727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25" name="Group 124">
              <a:extLst>
                <a:ext uri="{FF2B5EF4-FFF2-40B4-BE49-F238E27FC236}">
                  <a16:creationId xmlns:a16="http://schemas.microsoft.com/office/drawing/2014/main" id="{D8EAB65F-8DC7-414E-8980-0F1CFAE53D60}"/>
                </a:ext>
              </a:extLst>
            </p:cNvPr>
            <p:cNvGrpSpPr/>
            <p:nvPr/>
          </p:nvGrpSpPr>
          <p:grpSpPr>
            <a:xfrm>
              <a:off x="8643121" y="4021020"/>
              <a:ext cx="1092476" cy="1092476"/>
              <a:chOff x="5549762" y="2258164"/>
              <a:chExt cx="1092476" cy="1092476"/>
            </a:xfrm>
          </p:grpSpPr>
          <p:sp>
            <p:nvSpPr>
              <p:cNvPr id="126" name="Flowchart: Connector 125">
                <a:extLst>
                  <a:ext uri="{FF2B5EF4-FFF2-40B4-BE49-F238E27FC236}">
                    <a16:creationId xmlns:a16="http://schemas.microsoft.com/office/drawing/2014/main" id="{B6DA7129-EAA7-4F18-8E1A-BD6DB24F7A47}"/>
                  </a:ext>
                </a:extLst>
              </p:cNvPr>
              <p:cNvSpPr/>
              <p:nvPr/>
            </p:nvSpPr>
            <p:spPr bwMode="auto">
              <a:xfrm>
                <a:off x="5549762"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27" name="Group 126">
                <a:extLst>
                  <a:ext uri="{FF2B5EF4-FFF2-40B4-BE49-F238E27FC236}">
                    <a16:creationId xmlns:a16="http://schemas.microsoft.com/office/drawing/2014/main" id="{9C2FAD5E-506C-49B1-8726-BC94D0D447C9}"/>
                  </a:ext>
                </a:extLst>
              </p:cNvPr>
              <p:cNvGrpSpPr/>
              <p:nvPr/>
            </p:nvGrpSpPr>
            <p:grpSpPr>
              <a:xfrm>
                <a:off x="5852963" y="2561365"/>
                <a:ext cx="486074" cy="486074"/>
                <a:chOff x="3842467" y="3185112"/>
                <a:chExt cx="328830" cy="328830"/>
              </a:xfrm>
            </p:grpSpPr>
            <p:sp>
              <p:nvSpPr>
                <p:cNvPr id="128" name="Freeform 10">
                  <a:extLst>
                    <a:ext uri="{FF2B5EF4-FFF2-40B4-BE49-F238E27FC236}">
                      <a16:creationId xmlns:a16="http://schemas.microsoft.com/office/drawing/2014/main" id="{C3F188E3-D596-4CEA-BAEB-0A3A21E3C87A}"/>
                    </a:ext>
                  </a:extLst>
                </p:cNvPr>
                <p:cNvSpPr>
                  <a:spLocks noEditPoints="1"/>
                </p:cNvSpPr>
                <p:nvPr/>
              </p:nvSpPr>
              <p:spPr bwMode="auto">
                <a:xfrm>
                  <a:off x="3842467" y="3332200"/>
                  <a:ext cx="328830" cy="181742"/>
                </a:xfrm>
                <a:custGeom>
                  <a:avLst/>
                  <a:gdLst>
                    <a:gd name="T0" fmla="*/ 85 w 854"/>
                    <a:gd name="T1" fmla="*/ 472 h 472"/>
                    <a:gd name="T2" fmla="*/ 0 w 854"/>
                    <a:gd name="T3" fmla="*/ 472 h 472"/>
                    <a:gd name="T4" fmla="*/ 0 w 854"/>
                    <a:gd name="T5" fmla="*/ 368 h 472"/>
                    <a:gd name="T6" fmla="*/ 85 w 854"/>
                    <a:gd name="T7" fmla="*/ 368 h 472"/>
                    <a:gd name="T8" fmla="*/ 85 w 854"/>
                    <a:gd name="T9" fmla="*/ 472 h 472"/>
                    <a:gd name="T10" fmla="*/ 214 w 854"/>
                    <a:gd name="T11" fmla="*/ 263 h 472"/>
                    <a:gd name="T12" fmla="*/ 128 w 854"/>
                    <a:gd name="T13" fmla="*/ 263 h 472"/>
                    <a:gd name="T14" fmla="*/ 128 w 854"/>
                    <a:gd name="T15" fmla="*/ 472 h 472"/>
                    <a:gd name="T16" fmla="*/ 214 w 854"/>
                    <a:gd name="T17" fmla="*/ 472 h 472"/>
                    <a:gd name="T18" fmla="*/ 214 w 854"/>
                    <a:gd name="T19" fmla="*/ 263 h 472"/>
                    <a:gd name="T20" fmla="*/ 342 w 854"/>
                    <a:gd name="T21" fmla="*/ 157 h 472"/>
                    <a:gd name="T22" fmla="*/ 256 w 854"/>
                    <a:gd name="T23" fmla="*/ 157 h 472"/>
                    <a:gd name="T24" fmla="*/ 256 w 854"/>
                    <a:gd name="T25" fmla="*/ 472 h 472"/>
                    <a:gd name="T26" fmla="*/ 342 w 854"/>
                    <a:gd name="T27" fmla="*/ 472 h 472"/>
                    <a:gd name="T28" fmla="*/ 342 w 854"/>
                    <a:gd name="T29" fmla="*/ 157 h 472"/>
                    <a:gd name="T30" fmla="*/ 470 w 854"/>
                    <a:gd name="T31" fmla="*/ 52 h 472"/>
                    <a:gd name="T32" fmla="*/ 384 w 854"/>
                    <a:gd name="T33" fmla="*/ 52 h 472"/>
                    <a:gd name="T34" fmla="*/ 384 w 854"/>
                    <a:gd name="T35" fmla="*/ 472 h 472"/>
                    <a:gd name="T36" fmla="*/ 470 w 854"/>
                    <a:gd name="T37" fmla="*/ 472 h 472"/>
                    <a:gd name="T38" fmla="*/ 470 w 854"/>
                    <a:gd name="T39" fmla="*/ 52 h 472"/>
                    <a:gd name="T40" fmla="*/ 598 w 854"/>
                    <a:gd name="T41" fmla="*/ 157 h 472"/>
                    <a:gd name="T42" fmla="*/ 512 w 854"/>
                    <a:gd name="T43" fmla="*/ 157 h 472"/>
                    <a:gd name="T44" fmla="*/ 512 w 854"/>
                    <a:gd name="T45" fmla="*/ 472 h 472"/>
                    <a:gd name="T46" fmla="*/ 598 w 854"/>
                    <a:gd name="T47" fmla="*/ 472 h 472"/>
                    <a:gd name="T48" fmla="*/ 598 w 854"/>
                    <a:gd name="T49" fmla="*/ 157 h 472"/>
                    <a:gd name="T50" fmla="*/ 726 w 854"/>
                    <a:gd name="T51" fmla="*/ 52 h 472"/>
                    <a:gd name="T52" fmla="*/ 641 w 854"/>
                    <a:gd name="T53" fmla="*/ 52 h 472"/>
                    <a:gd name="T54" fmla="*/ 641 w 854"/>
                    <a:gd name="T55" fmla="*/ 472 h 472"/>
                    <a:gd name="T56" fmla="*/ 726 w 854"/>
                    <a:gd name="T57" fmla="*/ 472 h 472"/>
                    <a:gd name="T58" fmla="*/ 726 w 854"/>
                    <a:gd name="T59" fmla="*/ 52 h 472"/>
                    <a:gd name="T60" fmla="*/ 854 w 854"/>
                    <a:gd name="T61" fmla="*/ 0 h 472"/>
                    <a:gd name="T62" fmla="*/ 769 w 854"/>
                    <a:gd name="T63" fmla="*/ 0 h 472"/>
                    <a:gd name="T64" fmla="*/ 769 w 854"/>
                    <a:gd name="T65" fmla="*/ 472 h 472"/>
                    <a:gd name="T66" fmla="*/ 854 w 854"/>
                    <a:gd name="T67" fmla="*/ 472 h 472"/>
                    <a:gd name="T68" fmla="*/ 854 w 854"/>
                    <a:gd name="T69"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4" h="472">
                      <a:moveTo>
                        <a:pt x="85" y="472"/>
                      </a:moveTo>
                      <a:lnTo>
                        <a:pt x="0" y="472"/>
                      </a:lnTo>
                      <a:lnTo>
                        <a:pt x="0" y="368"/>
                      </a:lnTo>
                      <a:lnTo>
                        <a:pt x="85" y="368"/>
                      </a:lnTo>
                      <a:lnTo>
                        <a:pt x="85" y="472"/>
                      </a:lnTo>
                      <a:close/>
                      <a:moveTo>
                        <a:pt x="214" y="263"/>
                      </a:moveTo>
                      <a:lnTo>
                        <a:pt x="128" y="263"/>
                      </a:lnTo>
                      <a:lnTo>
                        <a:pt x="128" y="472"/>
                      </a:lnTo>
                      <a:lnTo>
                        <a:pt x="214" y="472"/>
                      </a:lnTo>
                      <a:lnTo>
                        <a:pt x="214" y="263"/>
                      </a:lnTo>
                      <a:close/>
                      <a:moveTo>
                        <a:pt x="342" y="157"/>
                      </a:moveTo>
                      <a:lnTo>
                        <a:pt x="256" y="157"/>
                      </a:lnTo>
                      <a:lnTo>
                        <a:pt x="256" y="472"/>
                      </a:lnTo>
                      <a:lnTo>
                        <a:pt x="342" y="472"/>
                      </a:lnTo>
                      <a:lnTo>
                        <a:pt x="342" y="157"/>
                      </a:lnTo>
                      <a:close/>
                      <a:moveTo>
                        <a:pt x="470" y="52"/>
                      </a:moveTo>
                      <a:lnTo>
                        <a:pt x="384" y="52"/>
                      </a:lnTo>
                      <a:lnTo>
                        <a:pt x="384" y="472"/>
                      </a:lnTo>
                      <a:lnTo>
                        <a:pt x="470" y="472"/>
                      </a:lnTo>
                      <a:lnTo>
                        <a:pt x="470" y="52"/>
                      </a:lnTo>
                      <a:close/>
                      <a:moveTo>
                        <a:pt x="598" y="157"/>
                      </a:moveTo>
                      <a:lnTo>
                        <a:pt x="512" y="157"/>
                      </a:lnTo>
                      <a:lnTo>
                        <a:pt x="512" y="472"/>
                      </a:lnTo>
                      <a:lnTo>
                        <a:pt x="598" y="472"/>
                      </a:lnTo>
                      <a:lnTo>
                        <a:pt x="598" y="157"/>
                      </a:lnTo>
                      <a:close/>
                      <a:moveTo>
                        <a:pt x="726" y="52"/>
                      </a:moveTo>
                      <a:lnTo>
                        <a:pt x="641" y="52"/>
                      </a:lnTo>
                      <a:lnTo>
                        <a:pt x="641" y="472"/>
                      </a:lnTo>
                      <a:lnTo>
                        <a:pt x="726" y="472"/>
                      </a:lnTo>
                      <a:lnTo>
                        <a:pt x="726" y="52"/>
                      </a:lnTo>
                      <a:close/>
                      <a:moveTo>
                        <a:pt x="854" y="0"/>
                      </a:moveTo>
                      <a:lnTo>
                        <a:pt x="769" y="0"/>
                      </a:lnTo>
                      <a:lnTo>
                        <a:pt x="769" y="472"/>
                      </a:lnTo>
                      <a:lnTo>
                        <a:pt x="854" y="472"/>
                      </a:lnTo>
                      <a:lnTo>
                        <a:pt x="85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29" name="Freeform 11">
                  <a:extLst>
                    <a:ext uri="{FF2B5EF4-FFF2-40B4-BE49-F238E27FC236}">
                      <a16:creationId xmlns:a16="http://schemas.microsoft.com/office/drawing/2014/main" id="{B06CC2ED-8A5A-425D-8FAD-A29B5B8B38CB}"/>
                    </a:ext>
                  </a:extLst>
                </p:cNvPr>
                <p:cNvSpPr>
                  <a:spLocks/>
                </p:cNvSpPr>
                <p:nvPr/>
              </p:nvSpPr>
              <p:spPr bwMode="auto">
                <a:xfrm>
                  <a:off x="3847088" y="3185112"/>
                  <a:ext cx="316894" cy="194449"/>
                </a:xfrm>
                <a:custGeom>
                  <a:avLst/>
                  <a:gdLst>
                    <a:gd name="T0" fmla="*/ 645 w 823"/>
                    <a:gd name="T1" fmla="*/ 0 h 505"/>
                    <a:gd name="T2" fmla="*/ 645 w 823"/>
                    <a:gd name="T3" fmla="*/ 38 h 505"/>
                    <a:gd name="T4" fmla="*/ 757 w 823"/>
                    <a:gd name="T5" fmla="*/ 38 h 505"/>
                    <a:gd name="T6" fmla="*/ 541 w 823"/>
                    <a:gd name="T7" fmla="*/ 251 h 505"/>
                    <a:gd name="T8" fmla="*/ 384 w 823"/>
                    <a:gd name="T9" fmla="*/ 95 h 505"/>
                    <a:gd name="T10" fmla="*/ 0 w 823"/>
                    <a:gd name="T11" fmla="*/ 477 h 505"/>
                    <a:gd name="T12" fmla="*/ 26 w 823"/>
                    <a:gd name="T13" fmla="*/ 505 h 505"/>
                    <a:gd name="T14" fmla="*/ 384 w 823"/>
                    <a:gd name="T15" fmla="*/ 149 h 505"/>
                    <a:gd name="T16" fmla="*/ 541 w 823"/>
                    <a:gd name="T17" fmla="*/ 304 h 505"/>
                    <a:gd name="T18" fmla="*/ 785 w 823"/>
                    <a:gd name="T19" fmla="*/ 64 h 505"/>
                    <a:gd name="T20" fmla="*/ 785 w 823"/>
                    <a:gd name="T21" fmla="*/ 176 h 505"/>
                    <a:gd name="T22" fmla="*/ 823 w 823"/>
                    <a:gd name="T23" fmla="*/ 176 h 505"/>
                    <a:gd name="T24" fmla="*/ 823 w 823"/>
                    <a:gd name="T25" fmla="*/ 0 h 505"/>
                    <a:gd name="T26" fmla="*/ 645 w 823"/>
                    <a:gd name="T27"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3" h="505">
                      <a:moveTo>
                        <a:pt x="645" y="0"/>
                      </a:moveTo>
                      <a:lnTo>
                        <a:pt x="645" y="38"/>
                      </a:lnTo>
                      <a:lnTo>
                        <a:pt x="757" y="38"/>
                      </a:lnTo>
                      <a:lnTo>
                        <a:pt x="541" y="251"/>
                      </a:lnTo>
                      <a:lnTo>
                        <a:pt x="384" y="95"/>
                      </a:lnTo>
                      <a:lnTo>
                        <a:pt x="0" y="477"/>
                      </a:lnTo>
                      <a:lnTo>
                        <a:pt x="26" y="505"/>
                      </a:lnTo>
                      <a:lnTo>
                        <a:pt x="384" y="149"/>
                      </a:lnTo>
                      <a:lnTo>
                        <a:pt x="541" y="304"/>
                      </a:lnTo>
                      <a:lnTo>
                        <a:pt x="785" y="64"/>
                      </a:lnTo>
                      <a:lnTo>
                        <a:pt x="785" y="176"/>
                      </a:lnTo>
                      <a:lnTo>
                        <a:pt x="823" y="176"/>
                      </a:lnTo>
                      <a:lnTo>
                        <a:pt x="823" y="0"/>
                      </a:lnTo>
                      <a:lnTo>
                        <a:pt x="645" y="0"/>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9" name="Oval 158">
              <a:extLst>
                <a:ext uri="{FF2B5EF4-FFF2-40B4-BE49-F238E27FC236}">
                  <a16:creationId xmlns:a16="http://schemas.microsoft.com/office/drawing/2014/main" id="{222E2BBB-8200-4AC5-917E-A45CE41F8B1C}"/>
                </a:ext>
              </a:extLst>
            </p:cNvPr>
            <p:cNvSpPr/>
            <p:nvPr/>
          </p:nvSpPr>
          <p:spPr bwMode="auto">
            <a:xfrm>
              <a:off x="9362170" y="3832097"/>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8" name="Straight Connector 167">
            <a:extLst>
              <a:ext uri="{FF2B5EF4-FFF2-40B4-BE49-F238E27FC236}">
                <a16:creationId xmlns:a16="http://schemas.microsoft.com/office/drawing/2014/main" id="{1C49DD94-5D04-4701-9B30-AE1FCE18BB5E}"/>
              </a:ext>
            </a:extLst>
          </p:cNvPr>
          <p:cNvCxnSpPr>
            <a:cxnSpLocks/>
            <a:endCxn id="159" idx="7"/>
          </p:cNvCxnSpPr>
          <p:nvPr/>
        </p:nvCxnSpPr>
        <p:spPr>
          <a:xfrm flipH="1">
            <a:off x="11169879" y="2793221"/>
            <a:ext cx="64650" cy="236375"/>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6D2FDA6C-D6AB-4B60-B2F9-713086C9C4F0}"/>
              </a:ext>
            </a:extLst>
          </p:cNvPr>
          <p:cNvSpPr/>
          <p:nvPr/>
        </p:nvSpPr>
        <p:spPr bwMode="auto">
          <a:xfrm>
            <a:off x="481641" y="1452987"/>
            <a:ext cx="1904443" cy="516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Enabl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intelligence</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cxnSp>
        <p:nvCxnSpPr>
          <p:cNvPr id="165" name="Straight Connector 164">
            <a:extLst>
              <a:ext uri="{FF2B5EF4-FFF2-40B4-BE49-F238E27FC236}">
                <a16:creationId xmlns:a16="http://schemas.microsoft.com/office/drawing/2014/main" id="{AD68F8B6-5A03-41CD-8343-9275AB5F0F73}"/>
              </a:ext>
            </a:extLst>
          </p:cNvPr>
          <p:cNvCxnSpPr>
            <a:cxnSpLocks/>
          </p:cNvCxnSpPr>
          <p:nvPr/>
        </p:nvCxnSpPr>
        <p:spPr>
          <a:xfrm flipH="1" flipV="1">
            <a:off x="1183406" y="2023918"/>
            <a:ext cx="201365" cy="15179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C7255BB-D421-46A3-919E-73D12601DE7C}"/>
              </a:ext>
            </a:extLst>
          </p:cNvPr>
          <p:cNvGrpSpPr/>
          <p:nvPr/>
        </p:nvGrpSpPr>
        <p:grpSpPr>
          <a:xfrm>
            <a:off x="1010856" y="2158307"/>
            <a:ext cx="1401925" cy="1402559"/>
            <a:chOff x="2440387" y="3863510"/>
            <a:chExt cx="1401925" cy="1402559"/>
          </a:xfrm>
        </p:grpSpPr>
        <p:sp>
          <p:nvSpPr>
            <p:cNvPr id="156" name="Arc 155">
              <a:extLst>
                <a:ext uri="{FF2B5EF4-FFF2-40B4-BE49-F238E27FC236}">
                  <a16:creationId xmlns:a16="http://schemas.microsoft.com/office/drawing/2014/main" id="{10E6FF2A-F784-4395-9E15-E127FD570806}"/>
                </a:ext>
              </a:extLst>
            </p:cNvPr>
            <p:cNvSpPr/>
            <p:nvPr/>
          </p:nvSpPr>
          <p:spPr>
            <a:xfrm rot="20206005" flipH="1">
              <a:off x="2440387" y="3866111"/>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31" name="Flowchart: Connector 130">
              <a:extLst>
                <a:ext uri="{FF2B5EF4-FFF2-40B4-BE49-F238E27FC236}">
                  <a16:creationId xmlns:a16="http://schemas.microsoft.com/office/drawing/2014/main" id="{DCCD4A82-41EF-4B1B-BA7A-C1889D69697F}"/>
                </a:ext>
              </a:extLst>
            </p:cNvPr>
            <p:cNvSpPr/>
            <p:nvPr/>
          </p:nvSpPr>
          <p:spPr bwMode="auto">
            <a:xfrm>
              <a:off x="2595356" y="4024472"/>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1" name="Arc 140">
              <a:extLst>
                <a:ext uri="{FF2B5EF4-FFF2-40B4-BE49-F238E27FC236}">
                  <a16:creationId xmlns:a16="http://schemas.microsoft.com/office/drawing/2014/main" id="{F231DCAE-5A25-48ED-B166-CDF6F5471977}"/>
                </a:ext>
              </a:extLst>
            </p:cNvPr>
            <p:cNvSpPr/>
            <p:nvPr/>
          </p:nvSpPr>
          <p:spPr>
            <a:xfrm rot="1324984">
              <a:off x="2442354" y="3866111"/>
              <a:ext cx="1399958" cy="1399958"/>
            </a:xfrm>
            <a:prstGeom prst="arc">
              <a:avLst>
                <a:gd name="adj1" fmla="val 4834015"/>
                <a:gd name="adj2" fmla="val 19313044"/>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61" name="Oval 160">
              <a:extLst>
                <a:ext uri="{FF2B5EF4-FFF2-40B4-BE49-F238E27FC236}">
                  <a16:creationId xmlns:a16="http://schemas.microsoft.com/office/drawing/2014/main" id="{7F2E9562-796B-4BB8-9FBB-E5E54B2388EB}"/>
                </a:ext>
              </a:extLst>
            </p:cNvPr>
            <p:cNvSpPr/>
            <p:nvPr/>
          </p:nvSpPr>
          <p:spPr bwMode="auto">
            <a:xfrm>
              <a:off x="2796900" y="386351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nvGrpSpPr>
            <p:cNvPr id="79" name="Group 78">
              <a:extLst>
                <a:ext uri="{FF2B5EF4-FFF2-40B4-BE49-F238E27FC236}">
                  <a16:creationId xmlns:a16="http://schemas.microsoft.com/office/drawing/2014/main" id="{659F91EE-3AE9-4A7F-B869-2B20AC8A58F8}"/>
                </a:ext>
              </a:extLst>
            </p:cNvPr>
            <p:cNvGrpSpPr/>
            <p:nvPr/>
          </p:nvGrpSpPr>
          <p:grpSpPr>
            <a:xfrm>
              <a:off x="2870828" y="4336717"/>
              <a:ext cx="599824" cy="458768"/>
              <a:chOff x="-1120538" y="6963557"/>
              <a:chExt cx="910734" cy="696566"/>
            </a:xfrm>
            <a:solidFill>
              <a:schemeClr val="accent1">
                <a:lumMod val="75000"/>
              </a:schemeClr>
            </a:solidFill>
          </p:grpSpPr>
          <p:sp>
            <p:nvSpPr>
              <p:cNvPr id="97" name="Freeform: Shape 96">
                <a:extLst>
                  <a:ext uri="{FF2B5EF4-FFF2-40B4-BE49-F238E27FC236}">
                    <a16:creationId xmlns:a16="http://schemas.microsoft.com/office/drawing/2014/main" id="{FC3FC8A1-BAEC-4B22-8E58-564042112228}"/>
                  </a:ext>
                </a:extLst>
              </p:cNvPr>
              <p:cNvSpPr/>
              <p:nvPr/>
            </p:nvSpPr>
            <p:spPr>
              <a:xfrm>
                <a:off x="-1041596" y="6963557"/>
                <a:ext cx="144318" cy="144318"/>
              </a:xfrm>
              <a:custGeom>
                <a:avLst/>
                <a:gdLst>
                  <a:gd name="connsiteX0" fmla="*/ 152285 w 144318"/>
                  <a:gd name="connsiteY0" fmla="*/ 76142 h 144318"/>
                  <a:gd name="connsiteX1" fmla="*/ 76142 w 144318"/>
                  <a:gd name="connsiteY1" fmla="*/ 152285 h 144318"/>
                  <a:gd name="connsiteX2" fmla="*/ 0 w 144318"/>
                  <a:gd name="connsiteY2" fmla="*/ 76142 h 144318"/>
                  <a:gd name="connsiteX3" fmla="*/ 76142 w 144318"/>
                  <a:gd name="connsiteY3" fmla="*/ 0 h 144318"/>
                  <a:gd name="connsiteX4" fmla="*/ 152285 w 144318"/>
                  <a:gd name="connsiteY4" fmla="*/ 76142 h 14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18" h="144318">
                    <a:moveTo>
                      <a:pt x="152285" y="76142"/>
                    </a:moveTo>
                    <a:cubicBezTo>
                      <a:pt x="152285" y="118194"/>
                      <a:pt x="118194" y="152285"/>
                      <a:pt x="76142" y="152285"/>
                    </a:cubicBezTo>
                    <a:cubicBezTo>
                      <a:pt x="34090" y="152285"/>
                      <a:pt x="0" y="118194"/>
                      <a:pt x="0" y="76142"/>
                    </a:cubicBezTo>
                    <a:cubicBezTo>
                      <a:pt x="0" y="34090"/>
                      <a:pt x="34090" y="0"/>
                      <a:pt x="76142" y="0"/>
                    </a:cubicBezTo>
                    <a:cubicBezTo>
                      <a:pt x="118194" y="0"/>
                      <a:pt x="152285" y="34090"/>
                      <a:pt x="152285" y="76142"/>
                    </a:cubicBez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156424BE-87A6-49BF-8B94-44ED73216CA8}"/>
                  </a:ext>
                </a:extLst>
              </p:cNvPr>
              <p:cNvSpPr/>
              <p:nvPr/>
            </p:nvSpPr>
            <p:spPr>
              <a:xfrm>
                <a:off x="-1120538" y="7140260"/>
                <a:ext cx="432955" cy="519545"/>
              </a:xfrm>
              <a:custGeom>
                <a:avLst/>
                <a:gdLst>
                  <a:gd name="connsiteX0" fmla="*/ 418523 w 432954"/>
                  <a:gd name="connsiteY0" fmla="*/ 53398 h 519545"/>
                  <a:gd name="connsiteX1" fmla="*/ 445193 w 432954"/>
                  <a:gd name="connsiteY1" fmla="*/ 26728 h 519545"/>
                  <a:gd name="connsiteX2" fmla="*/ 418523 w 432954"/>
                  <a:gd name="connsiteY2" fmla="*/ 58 h 519545"/>
                  <a:gd name="connsiteX3" fmla="*/ 415694 w 432954"/>
                  <a:gd name="connsiteY3" fmla="*/ 58 h 519545"/>
                  <a:gd name="connsiteX4" fmla="*/ 415694 w 432954"/>
                  <a:gd name="connsiteY4" fmla="*/ 0 h 519545"/>
                  <a:gd name="connsiteX5" fmla="*/ 186777 w 432954"/>
                  <a:gd name="connsiteY5" fmla="*/ 0 h 519545"/>
                  <a:gd name="connsiteX6" fmla="*/ 156730 w 432954"/>
                  <a:gd name="connsiteY6" fmla="*/ 0 h 519545"/>
                  <a:gd name="connsiteX7" fmla="*/ 53398 w 432954"/>
                  <a:gd name="connsiteY7" fmla="*/ 0 h 519545"/>
                  <a:gd name="connsiteX8" fmla="*/ 0 w 432954"/>
                  <a:gd name="connsiteY8" fmla="*/ 53398 h 519545"/>
                  <a:gd name="connsiteX9" fmla="*/ 0 w 432954"/>
                  <a:gd name="connsiteY9" fmla="*/ 218411 h 519545"/>
                  <a:gd name="connsiteX10" fmla="*/ 0 w 432954"/>
                  <a:gd name="connsiteY10" fmla="*/ 262313 h 519545"/>
                  <a:gd name="connsiteX11" fmla="*/ 26670 w 432954"/>
                  <a:gd name="connsiteY11" fmla="*/ 288983 h 519545"/>
                  <a:gd name="connsiteX12" fmla="*/ 53398 w 432954"/>
                  <a:gd name="connsiteY12" fmla="*/ 262313 h 519545"/>
                  <a:gd name="connsiteX13" fmla="*/ 53398 w 432954"/>
                  <a:gd name="connsiteY13" fmla="*/ 84513 h 519545"/>
                  <a:gd name="connsiteX14" fmla="*/ 70023 w 432954"/>
                  <a:gd name="connsiteY14" fmla="*/ 84513 h 519545"/>
                  <a:gd name="connsiteX15" fmla="*/ 70023 w 432954"/>
                  <a:gd name="connsiteY15" fmla="*/ 315653 h 519545"/>
                  <a:gd name="connsiteX16" fmla="*/ 70081 w 432954"/>
                  <a:gd name="connsiteY16" fmla="*/ 315653 h 519545"/>
                  <a:gd name="connsiteX17" fmla="*/ 70081 w 432954"/>
                  <a:gd name="connsiteY17" fmla="*/ 457546 h 519545"/>
                  <a:gd name="connsiteX18" fmla="*/ 70081 w 432954"/>
                  <a:gd name="connsiteY18" fmla="*/ 510136 h 519545"/>
                  <a:gd name="connsiteX19" fmla="*/ 70081 w 432954"/>
                  <a:gd name="connsiteY19" fmla="*/ 513744 h 519545"/>
                  <a:gd name="connsiteX20" fmla="*/ 104255 w 432954"/>
                  <a:gd name="connsiteY20" fmla="*/ 547976 h 519545"/>
                  <a:gd name="connsiteX21" fmla="*/ 138430 w 432954"/>
                  <a:gd name="connsiteY21" fmla="*/ 513744 h 519545"/>
                  <a:gd name="connsiteX22" fmla="*/ 138430 w 432954"/>
                  <a:gd name="connsiteY22" fmla="*/ 510136 h 519545"/>
                  <a:gd name="connsiteX23" fmla="*/ 138430 w 432954"/>
                  <a:gd name="connsiteY23" fmla="*/ 457546 h 519545"/>
                  <a:gd name="connsiteX24" fmla="*/ 138430 w 432954"/>
                  <a:gd name="connsiteY24" fmla="*/ 315653 h 519545"/>
                  <a:gd name="connsiteX25" fmla="*/ 171796 w 432954"/>
                  <a:gd name="connsiteY25" fmla="*/ 315653 h 519545"/>
                  <a:gd name="connsiteX26" fmla="*/ 171796 w 432954"/>
                  <a:gd name="connsiteY26" fmla="*/ 457546 h 519545"/>
                  <a:gd name="connsiteX27" fmla="*/ 171796 w 432954"/>
                  <a:gd name="connsiteY27" fmla="*/ 510136 h 519545"/>
                  <a:gd name="connsiteX28" fmla="*/ 171796 w 432954"/>
                  <a:gd name="connsiteY28" fmla="*/ 513744 h 519545"/>
                  <a:gd name="connsiteX29" fmla="*/ 205971 w 432954"/>
                  <a:gd name="connsiteY29" fmla="*/ 547976 h 519545"/>
                  <a:gd name="connsiteX30" fmla="*/ 240145 w 432954"/>
                  <a:gd name="connsiteY30" fmla="*/ 513744 h 519545"/>
                  <a:gd name="connsiteX31" fmla="*/ 240145 w 432954"/>
                  <a:gd name="connsiteY31" fmla="*/ 510136 h 519545"/>
                  <a:gd name="connsiteX32" fmla="*/ 240145 w 432954"/>
                  <a:gd name="connsiteY32" fmla="*/ 457546 h 519545"/>
                  <a:gd name="connsiteX33" fmla="*/ 240145 w 432954"/>
                  <a:gd name="connsiteY33" fmla="*/ 262313 h 519545"/>
                  <a:gd name="connsiteX34" fmla="*/ 240145 w 432954"/>
                  <a:gd name="connsiteY34" fmla="*/ 260061 h 519545"/>
                  <a:gd name="connsiteX35" fmla="*/ 240145 w 432954"/>
                  <a:gd name="connsiteY35" fmla="*/ 53398 h 519545"/>
                  <a:gd name="connsiteX36" fmla="*/ 415752 w 432954"/>
                  <a:gd name="connsiteY36" fmla="*/ 53398 h 519545"/>
                  <a:gd name="connsiteX37" fmla="*/ 418523 w 432954"/>
                  <a:gd name="connsiteY37" fmla="*/ 53398 h 5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954" h="519545">
                    <a:moveTo>
                      <a:pt x="418523" y="53398"/>
                    </a:moveTo>
                    <a:cubicBezTo>
                      <a:pt x="433243" y="53398"/>
                      <a:pt x="445193" y="41448"/>
                      <a:pt x="445193" y="26728"/>
                    </a:cubicBezTo>
                    <a:cubicBezTo>
                      <a:pt x="445193" y="11950"/>
                      <a:pt x="433243" y="58"/>
                      <a:pt x="418523" y="58"/>
                    </a:cubicBezTo>
                    <a:lnTo>
                      <a:pt x="415694" y="58"/>
                    </a:lnTo>
                    <a:lnTo>
                      <a:pt x="415694" y="0"/>
                    </a:lnTo>
                    <a:lnTo>
                      <a:pt x="186777" y="0"/>
                    </a:lnTo>
                    <a:lnTo>
                      <a:pt x="156730" y="0"/>
                    </a:lnTo>
                    <a:lnTo>
                      <a:pt x="53398" y="0"/>
                    </a:lnTo>
                    <a:cubicBezTo>
                      <a:pt x="23928" y="0"/>
                      <a:pt x="0" y="23899"/>
                      <a:pt x="0" y="53398"/>
                    </a:cubicBezTo>
                    <a:lnTo>
                      <a:pt x="0" y="218411"/>
                    </a:lnTo>
                    <a:lnTo>
                      <a:pt x="0" y="262313"/>
                    </a:lnTo>
                    <a:cubicBezTo>
                      <a:pt x="0" y="277091"/>
                      <a:pt x="11950" y="288983"/>
                      <a:pt x="26670" y="288983"/>
                    </a:cubicBezTo>
                    <a:cubicBezTo>
                      <a:pt x="41448" y="288983"/>
                      <a:pt x="53398" y="277091"/>
                      <a:pt x="53398" y="262313"/>
                    </a:cubicBezTo>
                    <a:lnTo>
                      <a:pt x="53398" y="84513"/>
                    </a:lnTo>
                    <a:lnTo>
                      <a:pt x="70023" y="84513"/>
                    </a:lnTo>
                    <a:lnTo>
                      <a:pt x="70023" y="315653"/>
                    </a:lnTo>
                    <a:lnTo>
                      <a:pt x="70081" y="315653"/>
                    </a:lnTo>
                    <a:lnTo>
                      <a:pt x="70081" y="457546"/>
                    </a:lnTo>
                    <a:lnTo>
                      <a:pt x="70081" y="510136"/>
                    </a:lnTo>
                    <a:lnTo>
                      <a:pt x="70081" y="513744"/>
                    </a:lnTo>
                    <a:cubicBezTo>
                      <a:pt x="70081" y="532621"/>
                      <a:pt x="85350" y="547976"/>
                      <a:pt x="104255" y="547976"/>
                    </a:cubicBezTo>
                    <a:cubicBezTo>
                      <a:pt x="123161" y="547976"/>
                      <a:pt x="138430" y="532650"/>
                      <a:pt x="138430" y="513744"/>
                    </a:cubicBezTo>
                    <a:lnTo>
                      <a:pt x="138430" y="510136"/>
                    </a:lnTo>
                    <a:lnTo>
                      <a:pt x="138430" y="457546"/>
                    </a:lnTo>
                    <a:lnTo>
                      <a:pt x="138430" y="315653"/>
                    </a:lnTo>
                    <a:lnTo>
                      <a:pt x="171796" y="315653"/>
                    </a:lnTo>
                    <a:lnTo>
                      <a:pt x="171796" y="457546"/>
                    </a:lnTo>
                    <a:lnTo>
                      <a:pt x="171796" y="510136"/>
                    </a:lnTo>
                    <a:lnTo>
                      <a:pt x="171796" y="513744"/>
                    </a:lnTo>
                    <a:cubicBezTo>
                      <a:pt x="171796" y="532621"/>
                      <a:pt x="187123" y="547976"/>
                      <a:pt x="205971" y="547976"/>
                    </a:cubicBezTo>
                    <a:cubicBezTo>
                      <a:pt x="224848" y="547976"/>
                      <a:pt x="240145" y="532650"/>
                      <a:pt x="240145" y="513744"/>
                    </a:cubicBezTo>
                    <a:lnTo>
                      <a:pt x="240145" y="510136"/>
                    </a:lnTo>
                    <a:lnTo>
                      <a:pt x="240145" y="457546"/>
                    </a:lnTo>
                    <a:lnTo>
                      <a:pt x="240145" y="262313"/>
                    </a:lnTo>
                    <a:lnTo>
                      <a:pt x="240145" y="260061"/>
                    </a:lnTo>
                    <a:lnTo>
                      <a:pt x="240145" y="53398"/>
                    </a:lnTo>
                    <a:lnTo>
                      <a:pt x="415752" y="53398"/>
                    </a:lnTo>
                    <a:lnTo>
                      <a:pt x="418523" y="53398"/>
                    </a:ln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031E00F4-239D-4982-9A72-1E99675DE94B}"/>
                  </a:ext>
                </a:extLst>
              </p:cNvPr>
              <p:cNvSpPr/>
              <p:nvPr/>
            </p:nvSpPr>
            <p:spPr>
              <a:xfrm>
                <a:off x="-787077" y="7053987"/>
                <a:ext cx="577273" cy="606136"/>
              </a:xfrm>
              <a:custGeom>
                <a:avLst/>
                <a:gdLst>
                  <a:gd name="connsiteX0" fmla="*/ 546822 w 577272"/>
                  <a:gd name="connsiteY0" fmla="*/ 0 h 606136"/>
                  <a:gd name="connsiteX1" fmla="*/ 43353 w 577272"/>
                  <a:gd name="connsiteY1" fmla="*/ 0 h 606136"/>
                  <a:gd name="connsiteX2" fmla="*/ 0 w 577272"/>
                  <a:gd name="connsiteY2" fmla="*/ 43353 h 606136"/>
                  <a:gd name="connsiteX3" fmla="*/ 0 w 577272"/>
                  <a:gd name="connsiteY3" fmla="*/ 67079 h 606136"/>
                  <a:gd name="connsiteX4" fmla="*/ 33309 w 577272"/>
                  <a:gd name="connsiteY4" fmla="*/ 67079 h 606136"/>
                  <a:gd name="connsiteX5" fmla="*/ 33309 w 577272"/>
                  <a:gd name="connsiteY5" fmla="*/ 43353 h 606136"/>
                  <a:gd name="connsiteX6" fmla="*/ 43353 w 577272"/>
                  <a:gd name="connsiteY6" fmla="*/ 33366 h 606136"/>
                  <a:gd name="connsiteX7" fmla="*/ 546822 w 577272"/>
                  <a:gd name="connsiteY7" fmla="*/ 33366 h 606136"/>
                  <a:gd name="connsiteX8" fmla="*/ 556866 w 577272"/>
                  <a:gd name="connsiteY8" fmla="*/ 43353 h 606136"/>
                  <a:gd name="connsiteX9" fmla="*/ 556866 w 577272"/>
                  <a:gd name="connsiteY9" fmla="*/ 357967 h 606136"/>
                  <a:gd name="connsiteX10" fmla="*/ 546822 w 577272"/>
                  <a:gd name="connsiteY10" fmla="*/ 367954 h 606136"/>
                  <a:gd name="connsiteX11" fmla="*/ 43353 w 577272"/>
                  <a:gd name="connsiteY11" fmla="*/ 367954 h 606136"/>
                  <a:gd name="connsiteX12" fmla="*/ 33309 w 577272"/>
                  <a:gd name="connsiteY12" fmla="*/ 357967 h 606136"/>
                  <a:gd name="connsiteX13" fmla="*/ 33309 w 577272"/>
                  <a:gd name="connsiteY13" fmla="*/ 158577 h 606136"/>
                  <a:gd name="connsiteX14" fmla="*/ 0 w 577272"/>
                  <a:gd name="connsiteY14" fmla="*/ 158577 h 606136"/>
                  <a:gd name="connsiteX15" fmla="*/ 0 w 577272"/>
                  <a:gd name="connsiteY15" fmla="*/ 357967 h 606136"/>
                  <a:gd name="connsiteX16" fmla="*/ 41160 w 577272"/>
                  <a:gd name="connsiteY16" fmla="*/ 401031 h 606136"/>
                  <a:gd name="connsiteX17" fmla="*/ 41160 w 577272"/>
                  <a:gd name="connsiteY17" fmla="*/ 433330 h 606136"/>
                  <a:gd name="connsiteX18" fmla="*/ 115743 w 577272"/>
                  <a:gd name="connsiteY18" fmla="*/ 433330 h 606136"/>
                  <a:gd name="connsiteX19" fmla="*/ 68118 w 577272"/>
                  <a:gd name="connsiteY19" fmla="*/ 634250 h 606136"/>
                  <a:gd name="connsiteX20" fmla="*/ 122699 w 577272"/>
                  <a:gd name="connsiteY20" fmla="*/ 634250 h 606136"/>
                  <a:gd name="connsiteX21" fmla="*/ 170555 w 577272"/>
                  <a:gd name="connsiteY21" fmla="*/ 433330 h 606136"/>
                  <a:gd name="connsiteX22" fmla="*/ 419677 w 577272"/>
                  <a:gd name="connsiteY22" fmla="*/ 433330 h 606136"/>
                  <a:gd name="connsiteX23" fmla="*/ 467591 w 577272"/>
                  <a:gd name="connsiteY23" fmla="*/ 634250 h 606136"/>
                  <a:gd name="connsiteX24" fmla="*/ 522114 w 577272"/>
                  <a:gd name="connsiteY24" fmla="*/ 634250 h 606136"/>
                  <a:gd name="connsiteX25" fmla="*/ 474489 w 577272"/>
                  <a:gd name="connsiteY25" fmla="*/ 433330 h 606136"/>
                  <a:gd name="connsiteX26" fmla="*/ 549131 w 577272"/>
                  <a:gd name="connsiteY26" fmla="*/ 433330 h 606136"/>
                  <a:gd name="connsiteX27" fmla="*/ 549131 w 577272"/>
                  <a:gd name="connsiteY27" fmla="*/ 401031 h 606136"/>
                  <a:gd name="connsiteX28" fmla="*/ 590232 w 577272"/>
                  <a:gd name="connsiteY28" fmla="*/ 357967 h 606136"/>
                  <a:gd name="connsiteX29" fmla="*/ 590232 w 577272"/>
                  <a:gd name="connsiteY29" fmla="*/ 43353 h 606136"/>
                  <a:gd name="connsiteX30" fmla="*/ 546822 w 577272"/>
                  <a:gd name="connsiteY30" fmla="*/ 0 h 60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7272" h="606136">
                    <a:moveTo>
                      <a:pt x="546822" y="0"/>
                    </a:moveTo>
                    <a:lnTo>
                      <a:pt x="43353" y="0"/>
                    </a:lnTo>
                    <a:cubicBezTo>
                      <a:pt x="19454" y="0"/>
                      <a:pt x="0" y="19454"/>
                      <a:pt x="0" y="43353"/>
                    </a:cubicBezTo>
                    <a:lnTo>
                      <a:pt x="0" y="67079"/>
                    </a:lnTo>
                    <a:lnTo>
                      <a:pt x="33309" y="67079"/>
                    </a:lnTo>
                    <a:lnTo>
                      <a:pt x="33309" y="43353"/>
                    </a:lnTo>
                    <a:cubicBezTo>
                      <a:pt x="33309" y="37840"/>
                      <a:pt x="37811" y="33366"/>
                      <a:pt x="43353" y="33366"/>
                    </a:cubicBezTo>
                    <a:lnTo>
                      <a:pt x="546822" y="33366"/>
                    </a:lnTo>
                    <a:cubicBezTo>
                      <a:pt x="552335" y="33366"/>
                      <a:pt x="556866" y="37811"/>
                      <a:pt x="556866" y="43353"/>
                    </a:cubicBezTo>
                    <a:lnTo>
                      <a:pt x="556866" y="357967"/>
                    </a:lnTo>
                    <a:cubicBezTo>
                      <a:pt x="556866" y="363480"/>
                      <a:pt x="552363" y="367954"/>
                      <a:pt x="546822" y="367954"/>
                    </a:cubicBezTo>
                    <a:lnTo>
                      <a:pt x="43353" y="367954"/>
                    </a:lnTo>
                    <a:cubicBezTo>
                      <a:pt x="37840" y="367954"/>
                      <a:pt x="33309" y="363509"/>
                      <a:pt x="33309" y="357967"/>
                    </a:cubicBezTo>
                    <a:lnTo>
                      <a:pt x="33309" y="158577"/>
                    </a:lnTo>
                    <a:lnTo>
                      <a:pt x="0" y="158577"/>
                    </a:lnTo>
                    <a:lnTo>
                      <a:pt x="0" y="357967"/>
                    </a:lnTo>
                    <a:cubicBezTo>
                      <a:pt x="0" y="381087"/>
                      <a:pt x="18271" y="399906"/>
                      <a:pt x="41160" y="401031"/>
                    </a:cubicBezTo>
                    <a:lnTo>
                      <a:pt x="41160" y="433330"/>
                    </a:lnTo>
                    <a:lnTo>
                      <a:pt x="115743" y="433330"/>
                    </a:lnTo>
                    <a:lnTo>
                      <a:pt x="68118" y="634250"/>
                    </a:lnTo>
                    <a:lnTo>
                      <a:pt x="122699" y="634250"/>
                    </a:lnTo>
                    <a:lnTo>
                      <a:pt x="170555" y="433330"/>
                    </a:lnTo>
                    <a:lnTo>
                      <a:pt x="419677" y="433330"/>
                    </a:lnTo>
                    <a:lnTo>
                      <a:pt x="467591" y="634250"/>
                    </a:lnTo>
                    <a:lnTo>
                      <a:pt x="522114" y="634250"/>
                    </a:lnTo>
                    <a:lnTo>
                      <a:pt x="474489" y="433330"/>
                    </a:lnTo>
                    <a:lnTo>
                      <a:pt x="549131" y="433330"/>
                    </a:lnTo>
                    <a:lnTo>
                      <a:pt x="549131" y="401031"/>
                    </a:lnTo>
                    <a:cubicBezTo>
                      <a:pt x="571962" y="399906"/>
                      <a:pt x="590232" y="381087"/>
                      <a:pt x="590232" y="357967"/>
                    </a:cubicBezTo>
                    <a:lnTo>
                      <a:pt x="590232" y="43353"/>
                    </a:lnTo>
                    <a:cubicBezTo>
                      <a:pt x="590175" y="19425"/>
                      <a:pt x="570721" y="0"/>
                      <a:pt x="546822" y="0"/>
                    </a:cubicBez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9D8A847-C6EC-46A2-9FD5-DF09C437BB02}"/>
                  </a:ext>
                </a:extLst>
              </p:cNvPr>
              <p:cNvSpPr/>
              <p:nvPr/>
            </p:nvSpPr>
            <p:spPr>
              <a:xfrm>
                <a:off x="-699447" y="7249104"/>
                <a:ext cx="28864" cy="115455"/>
              </a:xfrm>
              <a:custGeom>
                <a:avLst/>
                <a:gdLst>
                  <a:gd name="connsiteX0" fmla="*/ 0 w 28863"/>
                  <a:gd name="connsiteY0" fmla="*/ 0 h 115454"/>
                  <a:gd name="connsiteX1" fmla="*/ 48837 w 28863"/>
                  <a:gd name="connsiteY1" fmla="*/ 0 h 115454"/>
                  <a:gd name="connsiteX2" fmla="*/ 48837 w 28863"/>
                  <a:gd name="connsiteY2" fmla="*/ 134678 h 115454"/>
                  <a:gd name="connsiteX3" fmla="*/ 0 w 28863"/>
                  <a:gd name="connsiteY3" fmla="*/ 134678 h 115454"/>
                </a:gdLst>
                <a:ahLst/>
                <a:cxnLst>
                  <a:cxn ang="0">
                    <a:pos x="connsiteX0" y="connsiteY0"/>
                  </a:cxn>
                  <a:cxn ang="0">
                    <a:pos x="connsiteX1" y="connsiteY1"/>
                  </a:cxn>
                  <a:cxn ang="0">
                    <a:pos x="connsiteX2" y="connsiteY2"/>
                  </a:cxn>
                  <a:cxn ang="0">
                    <a:pos x="connsiteX3" y="connsiteY3"/>
                  </a:cxn>
                </a:cxnLst>
                <a:rect l="l" t="t" r="r" b="b"/>
                <a:pathLst>
                  <a:path w="28863" h="115454">
                    <a:moveTo>
                      <a:pt x="0" y="0"/>
                    </a:moveTo>
                    <a:lnTo>
                      <a:pt x="48837" y="0"/>
                    </a:lnTo>
                    <a:lnTo>
                      <a:pt x="48837" y="134678"/>
                    </a:lnTo>
                    <a:lnTo>
                      <a:pt x="0" y="134678"/>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E207B5F-028B-4328-8089-5D061B2614B8}"/>
                  </a:ext>
                </a:extLst>
              </p:cNvPr>
              <p:cNvSpPr/>
              <p:nvPr/>
            </p:nvSpPr>
            <p:spPr>
              <a:xfrm>
                <a:off x="-607920" y="7169730"/>
                <a:ext cx="28864" cy="202045"/>
              </a:xfrm>
              <a:custGeom>
                <a:avLst/>
                <a:gdLst>
                  <a:gd name="connsiteX0" fmla="*/ 0 w 28863"/>
                  <a:gd name="connsiteY0" fmla="*/ 0 h 202045"/>
                  <a:gd name="connsiteX1" fmla="*/ 48808 w 28863"/>
                  <a:gd name="connsiteY1" fmla="*/ 0 h 202045"/>
                  <a:gd name="connsiteX2" fmla="*/ 48808 w 28863"/>
                  <a:gd name="connsiteY2" fmla="*/ 214053 h 202045"/>
                  <a:gd name="connsiteX3" fmla="*/ 0 w 28863"/>
                  <a:gd name="connsiteY3" fmla="*/ 214053 h 202045"/>
                </a:gdLst>
                <a:ahLst/>
                <a:cxnLst>
                  <a:cxn ang="0">
                    <a:pos x="connsiteX0" y="connsiteY0"/>
                  </a:cxn>
                  <a:cxn ang="0">
                    <a:pos x="connsiteX1" y="connsiteY1"/>
                  </a:cxn>
                  <a:cxn ang="0">
                    <a:pos x="connsiteX2" y="connsiteY2"/>
                  </a:cxn>
                  <a:cxn ang="0">
                    <a:pos x="connsiteX3" y="connsiteY3"/>
                  </a:cxn>
                </a:cxnLst>
                <a:rect l="l" t="t" r="r" b="b"/>
                <a:pathLst>
                  <a:path w="28863" h="202045">
                    <a:moveTo>
                      <a:pt x="0" y="0"/>
                    </a:moveTo>
                    <a:lnTo>
                      <a:pt x="48808" y="0"/>
                    </a:lnTo>
                    <a:lnTo>
                      <a:pt x="48808" y="214053"/>
                    </a:lnTo>
                    <a:lnTo>
                      <a:pt x="0" y="21405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9343F60-FF08-478D-B5A8-587DE791B7B7}"/>
                  </a:ext>
                </a:extLst>
              </p:cNvPr>
              <p:cNvSpPr/>
              <p:nvPr/>
            </p:nvSpPr>
            <p:spPr>
              <a:xfrm>
                <a:off x="-516393" y="7222637"/>
                <a:ext cx="28864" cy="144318"/>
              </a:xfrm>
              <a:custGeom>
                <a:avLst/>
                <a:gdLst>
                  <a:gd name="connsiteX0" fmla="*/ 0 w 28863"/>
                  <a:gd name="connsiteY0" fmla="*/ 0 h 144318"/>
                  <a:gd name="connsiteX1" fmla="*/ 48808 w 28863"/>
                  <a:gd name="connsiteY1" fmla="*/ 0 h 144318"/>
                  <a:gd name="connsiteX2" fmla="*/ 48808 w 28863"/>
                  <a:gd name="connsiteY2" fmla="*/ 161146 h 144318"/>
                  <a:gd name="connsiteX3" fmla="*/ 0 w 28863"/>
                  <a:gd name="connsiteY3" fmla="*/ 161146 h 144318"/>
                </a:gdLst>
                <a:ahLst/>
                <a:cxnLst>
                  <a:cxn ang="0">
                    <a:pos x="connsiteX0" y="connsiteY0"/>
                  </a:cxn>
                  <a:cxn ang="0">
                    <a:pos x="connsiteX1" y="connsiteY1"/>
                  </a:cxn>
                  <a:cxn ang="0">
                    <a:pos x="connsiteX2" y="connsiteY2"/>
                  </a:cxn>
                  <a:cxn ang="0">
                    <a:pos x="connsiteX3" y="connsiteY3"/>
                  </a:cxn>
                </a:cxnLst>
                <a:rect l="l" t="t" r="r" b="b"/>
                <a:pathLst>
                  <a:path w="28863" h="144318">
                    <a:moveTo>
                      <a:pt x="0" y="0"/>
                    </a:moveTo>
                    <a:lnTo>
                      <a:pt x="48808" y="0"/>
                    </a:lnTo>
                    <a:lnTo>
                      <a:pt x="48808" y="161146"/>
                    </a:lnTo>
                    <a:lnTo>
                      <a:pt x="0" y="161146"/>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A62524DE-6876-4F8E-8C9E-848479D0A4DB}"/>
                  </a:ext>
                </a:extLst>
              </p:cNvPr>
              <p:cNvSpPr/>
              <p:nvPr/>
            </p:nvSpPr>
            <p:spPr>
              <a:xfrm>
                <a:off x="-424867" y="7125222"/>
                <a:ext cx="28864" cy="230909"/>
              </a:xfrm>
              <a:custGeom>
                <a:avLst/>
                <a:gdLst>
                  <a:gd name="connsiteX0" fmla="*/ 0 w 28863"/>
                  <a:gd name="connsiteY0" fmla="*/ 0 h 230909"/>
                  <a:gd name="connsiteX1" fmla="*/ 48808 w 28863"/>
                  <a:gd name="connsiteY1" fmla="*/ 0 h 230909"/>
                  <a:gd name="connsiteX2" fmla="*/ 48808 w 28863"/>
                  <a:gd name="connsiteY2" fmla="*/ 258560 h 230909"/>
                  <a:gd name="connsiteX3" fmla="*/ 0 w 28863"/>
                  <a:gd name="connsiteY3" fmla="*/ 258560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08" y="0"/>
                    </a:lnTo>
                    <a:lnTo>
                      <a:pt x="48808" y="258560"/>
                    </a:lnTo>
                    <a:lnTo>
                      <a:pt x="0" y="258560"/>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C710EA5-F48D-4ACE-87D2-5DC0A0EEBD7A}"/>
                  </a:ext>
                </a:extLst>
              </p:cNvPr>
              <p:cNvSpPr/>
              <p:nvPr/>
            </p:nvSpPr>
            <p:spPr>
              <a:xfrm>
                <a:off x="-333398" y="7140289"/>
                <a:ext cx="28864" cy="230909"/>
              </a:xfrm>
              <a:custGeom>
                <a:avLst/>
                <a:gdLst>
                  <a:gd name="connsiteX0" fmla="*/ 0 w 28863"/>
                  <a:gd name="connsiteY0" fmla="*/ 0 h 230909"/>
                  <a:gd name="connsiteX1" fmla="*/ 48837 w 28863"/>
                  <a:gd name="connsiteY1" fmla="*/ 0 h 230909"/>
                  <a:gd name="connsiteX2" fmla="*/ 48837 w 28863"/>
                  <a:gd name="connsiteY2" fmla="*/ 243523 h 230909"/>
                  <a:gd name="connsiteX3" fmla="*/ 0 w 28863"/>
                  <a:gd name="connsiteY3" fmla="*/ 243523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37" y="0"/>
                    </a:lnTo>
                    <a:lnTo>
                      <a:pt x="48837" y="243523"/>
                    </a:lnTo>
                    <a:lnTo>
                      <a:pt x="0" y="24352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cxnSp>
        <p:nvCxnSpPr>
          <p:cNvPr id="114" name="Straight Connector 113">
            <a:extLst>
              <a:ext uri="{FF2B5EF4-FFF2-40B4-BE49-F238E27FC236}">
                <a16:creationId xmlns:a16="http://schemas.microsoft.com/office/drawing/2014/main" id="{26A02E66-F4C4-47CC-857F-5202FCA6B564}"/>
              </a:ext>
            </a:extLst>
          </p:cNvPr>
          <p:cNvCxnSpPr>
            <a:cxnSpLocks/>
            <a:endCxn id="10" idx="2"/>
          </p:cNvCxnSpPr>
          <p:nvPr/>
        </p:nvCxnSpPr>
        <p:spPr>
          <a:xfrm flipV="1">
            <a:off x="5947626" y="1699315"/>
            <a:ext cx="1" cy="16451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0BA1C11-3D31-4DFA-8CA7-87BD1CE12C44}"/>
              </a:ext>
            </a:extLst>
          </p:cNvPr>
          <p:cNvSpPr/>
          <p:nvPr/>
        </p:nvSpPr>
        <p:spPr bwMode="auto">
          <a:xfrm>
            <a:off x="10139219" y="2921985"/>
            <a:ext cx="1741964" cy="1689604"/>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AAE0921F-6650-4B44-A93C-FFA3B2304318}"/>
              </a:ext>
            </a:extLst>
          </p:cNvPr>
          <p:cNvSpPr/>
          <p:nvPr/>
        </p:nvSpPr>
        <p:spPr bwMode="auto">
          <a:xfrm flipV="1">
            <a:off x="9557357" y="1781962"/>
            <a:ext cx="2047819" cy="916490"/>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2D4530-0D8C-4D0E-A674-41FA63313634}"/>
              </a:ext>
            </a:extLst>
          </p:cNvPr>
          <p:cNvSpPr/>
          <p:nvPr/>
        </p:nvSpPr>
        <p:spPr bwMode="auto">
          <a:xfrm>
            <a:off x="3003805" y="1823995"/>
            <a:ext cx="1402615" cy="1683147"/>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B8023873-3CEC-4B6D-B4BE-01C56ED95E9A}"/>
              </a:ext>
            </a:extLst>
          </p:cNvPr>
          <p:cNvSpPr/>
          <p:nvPr/>
        </p:nvSpPr>
        <p:spPr bwMode="auto">
          <a:xfrm flipV="1">
            <a:off x="918587" y="3556244"/>
            <a:ext cx="2692262" cy="1384326"/>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F5DA8B34-B81A-4007-922A-9F3708CBE3AF}"/>
              </a:ext>
            </a:extLst>
          </p:cNvPr>
          <p:cNvSpPr/>
          <p:nvPr/>
        </p:nvSpPr>
        <p:spPr bwMode="auto">
          <a:xfrm>
            <a:off x="574883" y="5027096"/>
            <a:ext cx="11036709" cy="89668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lt"/>
                <a:cs typeface="Segoe UI Semibold"/>
              </a:rPr>
              <a:t>Help protect revenue by aiding merchants' identification of potential fraud on returns and discounts arising from omni-channel purchases, enabling store managers and investigators to quickly investigate potential fraud and take action to mitigate lo</a:t>
            </a:r>
            <a:r>
              <a:rPr kumimoji="0" lang="en-US" sz="1600" b="0" i="0" u="none" strike="noStrike" kern="1200" cap="none" spc="0" normalizeH="0" baseline="0" noProof="0">
                <a:ln>
                  <a:noFill/>
                </a:ln>
                <a:solidFill>
                  <a:prstClr val="white"/>
                </a:solidFill>
                <a:effectLst/>
                <a:uLnTx/>
                <a:uFillTx/>
                <a:latin typeface="Segoe UI Semibold"/>
                <a:ea typeface="+mn-lt"/>
                <a:cs typeface="Segoe UI"/>
              </a:rPr>
              <a:t>sses </a:t>
            </a:r>
            <a:r>
              <a:rPr kumimoji="0" lang="en-US" sz="1600" b="1" i="0" u="none" strike="noStrike" kern="1200" cap="none" spc="0" normalizeH="0" baseline="0" noProof="0">
                <a:ln>
                  <a:noFill/>
                </a:ln>
                <a:solidFill>
                  <a:prstClr val="white"/>
                </a:solidFill>
                <a:effectLst/>
                <a:uLnTx/>
                <a:uFillTx/>
                <a:latin typeface="Segoe UI Semibold"/>
                <a:ea typeface="+mn-lt"/>
                <a:cs typeface="Segoe UI Semibold"/>
              </a:rPr>
              <a:t>with</a:t>
            </a:r>
            <a:r>
              <a:rPr kumimoji="0" lang="en-US" sz="1600" b="1" i="0" u="none" strike="noStrike" kern="1200" cap="none" spc="0" normalizeH="0" baseline="0" noProof="0">
                <a:ln>
                  <a:noFill/>
                </a:ln>
                <a:solidFill>
                  <a:prstClr val="white"/>
                </a:solidFill>
                <a:effectLst/>
                <a:uLnTx/>
                <a:uFillTx/>
                <a:latin typeface="Segoe UI Semibold"/>
                <a:ea typeface="+mn-ea"/>
                <a:cs typeface="+mn-cs"/>
              </a:rPr>
              <a:t> Dynamics 365 Fraud Protection with </a:t>
            </a:r>
            <a:r>
              <a:rPr kumimoji="0" lang="en-US" sz="1600" b="1" i="0" u="none" strike="noStrike" kern="1200" cap="none" spc="0" normalizeH="0" baseline="0" noProof="0">
                <a:ln>
                  <a:noFill/>
                </a:ln>
                <a:solidFill>
                  <a:prstClr val="white"/>
                </a:solidFill>
                <a:effectLst/>
                <a:uLnTx/>
                <a:uFillTx/>
                <a:latin typeface="Segoe UI"/>
                <a:ea typeface="+mn-ea"/>
                <a:cs typeface="Segoe UI"/>
              </a:rPr>
              <a:t>loss prevention </a:t>
            </a:r>
            <a:r>
              <a:rPr kumimoji="0" lang="en-US" sz="1600" b="1" i="0" u="none" strike="noStrike" kern="1200" cap="none" spc="0" normalizeH="0" baseline="0" noProof="0">
                <a:ln>
                  <a:noFill/>
                </a:ln>
                <a:solidFill>
                  <a:prstClr val="white"/>
                </a:solidFill>
                <a:effectLst/>
                <a:uLnTx/>
                <a:uFillTx/>
                <a:latin typeface="Segoe UI Semibold"/>
                <a:ea typeface="+mn-ea"/>
                <a:cs typeface="+mn-cs"/>
              </a:rPr>
              <a:t>capability</a:t>
            </a:r>
            <a:endParaRPr kumimoji="0" lang="en-US" sz="1750" b="0" i="0" u="none" strike="noStrike" kern="1200" cap="none" spc="0" normalizeH="0" baseline="0" noProof="0">
              <a:ln>
                <a:noFill/>
              </a:ln>
              <a:solidFill>
                <a:prstClr val="white"/>
              </a:solidFill>
              <a:effectLst/>
              <a:uLnTx/>
              <a:uFillTx/>
              <a:latin typeface="Segoe UI"/>
              <a:ea typeface="+mn-ea"/>
              <a:cs typeface="Segoe UI"/>
            </a:endParaRPr>
          </a:p>
        </p:txBody>
      </p:sp>
      <p:grpSp>
        <p:nvGrpSpPr>
          <p:cNvPr id="116" name="Group 115">
            <a:extLst>
              <a:ext uri="{FF2B5EF4-FFF2-40B4-BE49-F238E27FC236}">
                <a16:creationId xmlns:a16="http://schemas.microsoft.com/office/drawing/2014/main" id="{C6463875-F55F-4B1A-9561-AA1817130AC2}"/>
              </a:ext>
            </a:extLst>
          </p:cNvPr>
          <p:cNvGrpSpPr/>
          <p:nvPr/>
        </p:nvGrpSpPr>
        <p:grpSpPr>
          <a:xfrm>
            <a:off x="5247647" y="1863826"/>
            <a:ext cx="1399958" cy="1469642"/>
            <a:chOff x="5394453" y="2152804"/>
            <a:chExt cx="1399958" cy="1469642"/>
          </a:xfrm>
        </p:grpSpPr>
        <p:sp>
          <p:nvSpPr>
            <p:cNvPr id="117" name="Flowchart: Connector 116">
              <a:extLst>
                <a:ext uri="{FF2B5EF4-FFF2-40B4-BE49-F238E27FC236}">
                  <a16:creationId xmlns:a16="http://schemas.microsoft.com/office/drawing/2014/main" id="{D2ED6223-7864-4896-A759-B32C8A0B8B58}"/>
                </a:ext>
              </a:extLst>
            </p:cNvPr>
            <p:cNvSpPr/>
            <p:nvPr/>
          </p:nvSpPr>
          <p:spPr bwMode="auto">
            <a:xfrm>
              <a:off x="5548194" y="2376229"/>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728E648-02E7-479F-A9DD-C4904EF01C61}"/>
                </a:ext>
              </a:extLst>
            </p:cNvPr>
            <p:cNvGrpSpPr/>
            <p:nvPr/>
          </p:nvGrpSpPr>
          <p:grpSpPr>
            <a:xfrm>
              <a:off x="5834356" y="2623423"/>
              <a:ext cx="520152" cy="525142"/>
              <a:chOff x="2952955" y="2293228"/>
              <a:chExt cx="520152" cy="525142"/>
            </a:xfrm>
            <a:solidFill>
              <a:srgbClr val="505050"/>
            </a:solidFill>
          </p:grpSpPr>
          <p:sp>
            <p:nvSpPr>
              <p:cNvPr id="122" name="Freeform: Shape 121">
                <a:extLst>
                  <a:ext uri="{FF2B5EF4-FFF2-40B4-BE49-F238E27FC236}">
                    <a16:creationId xmlns:a16="http://schemas.microsoft.com/office/drawing/2014/main" id="{D4285BA5-D533-4F0D-A5E9-A7EB48D6E729}"/>
                  </a:ext>
                </a:extLst>
              </p:cNvPr>
              <p:cNvSpPr/>
              <p:nvPr/>
            </p:nvSpPr>
            <p:spPr>
              <a:xfrm>
                <a:off x="3241793" y="2476259"/>
                <a:ext cx="231314" cy="95716"/>
              </a:xfrm>
              <a:custGeom>
                <a:avLst/>
                <a:gdLst>
                  <a:gd name="connsiteX0" fmla="*/ 0 w 394607"/>
                  <a:gd name="connsiteY0" fmla="*/ 85381 h 163285"/>
                  <a:gd name="connsiteX1" fmla="*/ 198283 w 394607"/>
                  <a:gd name="connsiteY1" fmla="*/ 170755 h 163285"/>
                  <a:gd name="connsiteX2" fmla="*/ 396568 w 394607"/>
                  <a:gd name="connsiteY2" fmla="*/ 85381 h 163285"/>
                  <a:gd name="connsiteX3" fmla="*/ 198283 w 394607"/>
                  <a:gd name="connsiteY3" fmla="*/ 0 h 163285"/>
                  <a:gd name="connsiteX4" fmla="*/ 0 w 394607"/>
                  <a:gd name="connsiteY4" fmla="*/ 85381 h 163285"/>
                  <a:gd name="connsiteX5" fmla="*/ 212090 w 394607"/>
                  <a:gd name="connsiteY5" fmla="*/ 18126 h 163285"/>
                  <a:gd name="connsiteX6" fmla="*/ 240566 w 394607"/>
                  <a:gd name="connsiteY6" fmla="*/ 57901 h 163285"/>
                  <a:gd name="connsiteX7" fmla="*/ 225763 w 394607"/>
                  <a:gd name="connsiteY7" fmla="*/ 72703 h 163285"/>
                  <a:gd name="connsiteX8" fmla="*/ 210961 w 394607"/>
                  <a:gd name="connsiteY8" fmla="*/ 57901 h 163285"/>
                  <a:gd name="connsiteX9" fmla="*/ 198283 w 394607"/>
                  <a:gd name="connsiteY9" fmla="*/ 45223 h 163285"/>
                  <a:gd name="connsiteX10" fmla="*/ 185607 w 394607"/>
                  <a:gd name="connsiteY10" fmla="*/ 57901 h 163285"/>
                  <a:gd name="connsiteX11" fmla="*/ 198283 w 394607"/>
                  <a:gd name="connsiteY11" fmla="*/ 70579 h 163285"/>
                  <a:gd name="connsiteX12" fmla="*/ 240566 w 394607"/>
                  <a:gd name="connsiteY12" fmla="*/ 112860 h 163285"/>
                  <a:gd name="connsiteX13" fmla="*/ 212090 w 394607"/>
                  <a:gd name="connsiteY13" fmla="*/ 152627 h 163285"/>
                  <a:gd name="connsiteX14" fmla="*/ 198283 w 394607"/>
                  <a:gd name="connsiteY14" fmla="*/ 162501 h 163285"/>
                  <a:gd name="connsiteX15" fmla="*/ 184477 w 394607"/>
                  <a:gd name="connsiteY15" fmla="*/ 152627 h 163285"/>
                  <a:gd name="connsiteX16" fmla="*/ 156002 w 394607"/>
                  <a:gd name="connsiteY16" fmla="*/ 112860 h 163285"/>
                  <a:gd name="connsiteX17" fmla="*/ 170804 w 394607"/>
                  <a:gd name="connsiteY17" fmla="*/ 98059 h 163285"/>
                  <a:gd name="connsiteX18" fmla="*/ 185607 w 394607"/>
                  <a:gd name="connsiteY18" fmla="*/ 112860 h 163285"/>
                  <a:gd name="connsiteX19" fmla="*/ 198283 w 394607"/>
                  <a:gd name="connsiteY19" fmla="*/ 125530 h 163285"/>
                  <a:gd name="connsiteX20" fmla="*/ 210961 w 394607"/>
                  <a:gd name="connsiteY20" fmla="*/ 112860 h 163285"/>
                  <a:gd name="connsiteX21" fmla="*/ 198283 w 394607"/>
                  <a:gd name="connsiteY21" fmla="*/ 100183 h 163285"/>
                  <a:gd name="connsiteX22" fmla="*/ 156002 w 394607"/>
                  <a:gd name="connsiteY22" fmla="*/ 57901 h 163285"/>
                  <a:gd name="connsiteX23" fmla="*/ 184477 w 394607"/>
                  <a:gd name="connsiteY23" fmla="*/ 18126 h 163285"/>
                  <a:gd name="connsiteX24" fmla="*/ 198283 w 394607"/>
                  <a:gd name="connsiteY24" fmla="*/ 8254 h 163285"/>
                  <a:gd name="connsiteX25" fmla="*/ 212090 w 394607"/>
                  <a:gd name="connsiteY25" fmla="*/ 18126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0" y="85381"/>
                    </a:moveTo>
                    <a:cubicBezTo>
                      <a:pt x="0" y="125761"/>
                      <a:pt x="81433" y="170755"/>
                      <a:pt x="198283" y="170755"/>
                    </a:cubicBezTo>
                    <a:cubicBezTo>
                      <a:pt x="315133" y="170755"/>
                      <a:pt x="396568" y="125761"/>
                      <a:pt x="396568" y="85381"/>
                    </a:cubicBezTo>
                    <a:cubicBezTo>
                      <a:pt x="396568" y="45000"/>
                      <a:pt x="315133" y="0"/>
                      <a:pt x="198283" y="0"/>
                    </a:cubicBezTo>
                    <a:cubicBezTo>
                      <a:pt x="81433" y="0"/>
                      <a:pt x="0" y="45000"/>
                      <a:pt x="0" y="85381"/>
                    </a:cubicBezTo>
                    <a:close/>
                    <a:moveTo>
                      <a:pt x="212090" y="18126"/>
                    </a:moveTo>
                    <a:cubicBezTo>
                      <a:pt x="228608" y="23882"/>
                      <a:pt x="240566" y="39446"/>
                      <a:pt x="240566" y="57901"/>
                    </a:cubicBezTo>
                    <a:cubicBezTo>
                      <a:pt x="240566" y="66075"/>
                      <a:pt x="233938" y="72703"/>
                      <a:pt x="225763" y="72703"/>
                    </a:cubicBezTo>
                    <a:cubicBezTo>
                      <a:pt x="217589" y="72703"/>
                      <a:pt x="210961" y="66075"/>
                      <a:pt x="210961" y="57901"/>
                    </a:cubicBezTo>
                    <a:cubicBezTo>
                      <a:pt x="210961" y="50912"/>
                      <a:pt x="205273" y="45223"/>
                      <a:pt x="198283" y="45223"/>
                    </a:cubicBezTo>
                    <a:cubicBezTo>
                      <a:pt x="191295" y="45223"/>
                      <a:pt x="185607" y="50912"/>
                      <a:pt x="185607" y="57901"/>
                    </a:cubicBezTo>
                    <a:cubicBezTo>
                      <a:pt x="185607" y="64890"/>
                      <a:pt x="191295" y="70579"/>
                      <a:pt x="198283" y="70579"/>
                    </a:cubicBezTo>
                    <a:cubicBezTo>
                      <a:pt x="221600" y="70579"/>
                      <a:pt x="240566" y="89543"/>
                      <a:pt x="240566" y="112860"/>
                    </a:cubicBezTo>
                    <a:cubicBezTo>
                      <a:pt x="240566" y="131310"/>
                      <a:pt x="228608" y="146871"/>
                      <a:pt x="212090" y="152627"/>
                    </a:cubicBezTo>
                    <a:cubicBezTo>
                      <a:pt x="210044" y="158350"/>
                      <a:pt x="204709" y="162501"/>
                      <a:pt x="198283" y="162501"/>
                    </a:cubicBezTo>
                    <a:cubicBezTo>
                      <a:pt x="191858" y="162501"/>
                      <a:pt x="186523" y="158350"/>
                      <a:pt x="184477" y="152627"/>
                    </a:cubicBezTo>
                    <a:cubicBezTo>
                      <a:pt x="167958" y="146871"/>
                      <a:pt x="156002" y="131310"/>
                      <a:pt x="156002" y="112860"/>
                    </a:cubicBezTo>
                    <a:cubicBezTo>
                      <a:pt x="156002" y="104685"/>
                      <a:pt x="162630" y="98059"/>
                      <a:pt x="170804" y="98059"/>
                    </a:cubicBezTo>
                    <a:cubicBezTo>
                      <a:pt x="178979" y="98059"/>
                      <a:pt x="185607" y="104685"/>
                      <a:pt x="185607" y="112860"/>
                    </a:cubicBezTo>
                    <a:cubicBezTo>
                      <a:pt x="185607" y="119849"/>
                      <a:pt x="191295" y="125530"/>
                      <a:pt x="198283" y="125530"/>
                    </a:cubicBezTo>
                    <a:cubicBezTo>
                      <a:pt x="205273" y="125530"/>
                      <a:pt x="210961" y="119849"/>
                      <a:pt x="210961" y="112860"/>
                    </a:cubicBezTo>
                    <a:cubicBezTo>
                      <a:pt x="210961" y="105872"/>
                      <a:pt x="205273" y="100183"/>
                      <a:pt x="198283" y="100183"/>
                    </a:cubicBezTo>
                    <a:cubicBezTo>
                      <a:pt x="174967" y="100183"/>
                      <a:pt x="156002" y="81217"/>
                      <a:pt x="156002" y="57901"/>
                    </a:cubicBezTo>
                    <a:cubicBezTo>
                      <a:pt x="156002" y="39446"/>
                      <a:pt x="167958" y="23882"/>
                      <a:pt x="184477" y="18126"/>
                    </a:cubicBezTo>
                    <a:cubicBezTo>
                      <a:pt x="186523" y="12404"/>
                      <a:pt x="191858" y="8254"/>
                      <a:pt x="198283" y="8254"/>
                    </a:cubicBezTo>
                    <a:cubicBezTo>
                      <a:pt x="204709" y="8254"/>
                      <a:pt x="210044" y="12404"/>
                      <a:pt x="212090" y="18126"/>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2" name="Freeform: Shape 131">
                <a:extLst>
                  <a:ext uri="{FF2B5EF4-FFF2-40B4-BE49-F238E27FC236}">
                    <a16:creationId xmlns:a16="http://schemas.microsoft.com/office/drawing/2014/main" id="{F8A95659-3746-42CB-AC0A-EC731B315C65}"/>
                  </a:ext>
                </a:extLst>
              </p:cNvPr>
              <p:cNvSpPr/>
              <p:nvPr/>
            </p:nvSpPr>
            <p:spPr>
              <a:xfrm>
                <a:off x="2952955" y="2657235"/>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3" name="Freeform: Shape 132">
                <a:extLst>
                  <a:ext uri="{FF2B5EF4-FFF2-40B4-BE49-F238E27FC236}">
                    <a16:creationId xmlns:a16="http://schemas.microsoft.com/office/drawing/2014/main" id="{C901A185-94C6-47B7-847B-5BEAC8EF25F6}"/>
                  </a:ext>
                </a:extLst>
              </p:cNvPr>
              <p:cNvSpPr/>
              <p:nvPr/>
            </p:nvSpPr>
            <p:spPr>
              <a:xfrm>
                <a:off x="2952955" y="2754559"/>
                <a:ext cx="231314" cy="63811"/>
              </a:xfrm>
              <a:custGeom>
                <a:avLst/>
                <a:gdLst>
                  <a:gd name="connsiteX0" fmla="*/ 0 w 394607"/>
                  <a:gd name="connsiteY0" fmla="*/ 0 h 108857"/>
                  <a:gd name="connsiteX1" fmla="*/ 0 w 394607"/>
                  <a:gd name="connsiteY1" fmla="*/ 25688 h 108857"/>
                  <a:gd name="connsiteX2" fmla="*/ 198285 w 394607"/>
                  <a:gd name="connsiteY2" fmla="*/ 111068 h 108857"/>
                  <a:gd name="connsiteX3" fmla="*/ 396576 w 394607"/>
                  <a:gd name="connsiteY3" fmla="*/ 25688 h 108857"/>
                  <a:gd name="connsiteX4" fmla="*/ 396576 w 394607"/>
                  <a:gd name="connsiteY4" fmla="*/ 0 h 108857"/>
                  <a:gd name="connsiteX5" fmla="*/ 198285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4" y="111068"/>
                      <a:pt x="198285" y="111068"/>
                    </a:cubicBezTo>
                    <a:cubicBezTo>
                      <a:pt x="315141" y="111068"/>
                      <a:pt x="396576" y="66068"/>
                      <a:pt x="396576" y="25688"/>
                    </a:cubicBezTo>
                    <a:lnTo>
                      <a:pt x="396576" y="0"/>
                    </a:lnTo>
                    <a:cubicBezTo>
                      <a:pt x="357760" y="34676"/>
                      <a:pt x="284382" y="57656"/>
                      <a:pt x="198285" y="57656"/>
                    </a:cubicBezTo>
                    <a:cubicBezTo>
                      <a:pt x="112191" y="57656"/>
                      <a:pt x="38815"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4" name="Freeform: Shape 133">
                <a:extLst>
                  <a:ext uri="{FF2B5EF4-FFF2-40B4-BE49-F238E27FC236}">
                    <a16:creationId xmlns:a16="http://schemas.microsoft.com/office/drawing/2014/main" id="{663B8EE4-1945-49E4-8FCB-5BA1BDFAE49C}"/>
                  </a:ext>
                </a:extLst>
              </p:cNvPr>
              <p:cNvSpPr/>
              <p:nvPr/>
            </p:nvSpPr>
            <p:spPr>
              <a:xfrm>
                <a:off x="2952955" y="2608572"/>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44" name="Freeform: Shape 143">
                <a:extLst>
                  <a:ext uri="{FF2B5EF4-FFF2-40B4-BE49-F238E27FC236}">
                    <a16:creationId xmlns:a16="http://schemas.microsoft.com/office/drawing/2014/main" id="{CEA21CB4-BA90-4E3A-8261-0C07757311CD}"/>
                  </a:ext>
                </a:extLst>
              </p:cNvPr>
              <p:cNvSpPr/>
              <p:nvPr/>
            </p:nvSpPr>
            <p:spPr>
              <a:xfrm>
                <a:off x="2952955" y="2524923"/>
                <a:ext cx="231314" cy="95716"/>
              </a:xfrm>
              <a:custGeom>
                <a:avLst/>
                <a:gdLst>
                  <a:gd name="connsiteX0" fmla="*/ 198285 w 394607"/>
                  <a:gd name="connsiteY0" fmla="*/ 0 h 163285"/>
                  <a:gd name="connsiteX1" fmla="*/ 0 w 394607"/>
                  <a:gd name="connsiteY1" fmla="*/ 85374 h 163285"/>
                  <a:gd name="connsiteX2" fmla="*/ 198285 w 394607"/>
                  <a:gd name="connsiteY2" fmla="*/ 170753 h 163285"/>
                  <a:gd name="connsiteX3" fmla="*/ 396576 w 394607"/>
                  <a:gd name="connsiteY3" fmla="*/ 85374 h 163285"/>
                  <a:gd name="connsiteX4" fmla="*/ 198285 w 394607"/>
                  <a:gd name="connsiteY4" fmla="*/ 0 h 163285"/>
                  <a:gd name="connsiteX5" fmla="*/ 198285 w 394607"/>
                  <a:gd name="connsiteY5" fmla="*/ 70571 h 163285"/>
                  <a:gd name="connsiteX6" fmla="*/ 240566 w 394607"/>
                  <a:gd name="connsiteY6" fmla="*/ 112854 h 163285"/>
                  <a:gd name="connsiteX7" fmla="*/ 212090 w 394607"/>
                  <a:gd name="connsiteY7" fmla="*/ 152627 h 163285"/>
                  <a:gd name="connsiteX8" fmla="*/ 198285 w 394607"/>
                  <a:gd name="connsiteY8" fmla="*/ 162501 h 163285"/>
                  <a:gd name="connsiteX9" fmla="*/ 184477 w 394607"/>
                  <a:gd name="connsiteY9" fmla="*/ 152627 h 163285"/>
                  <a:gd name="connsiteX10" fmla="*/ 156002 w 394607"/>
                  <a:gd name="connsiteY10" fmla="*/ 112854 h 163285"/>
                  <a:gd name="connsiteX11" fmla="*/ 170805 w 394607"/>
                  <a:gd name="connsiteY11" fmla="*/ 98050 h 163285"/>
                  <a:gd name="connsiteX12" fmla="*/ 185607 w 394607"/>
                  <a:gd name="connsiteY12" fmla="*/ 112854 h 163285"/>
                  <a:gd name="connsiteX13" fmla="*/ 198285 w 394607"/>
                  <a:gd name="connsiteY13" fmla="*/ 125530 h 163285"/>
                  <a:gd name="connsiteX14" fmla="*/ 210961 w 394607"/>
                  <a:gd name="connsiteY14" fmla="*/ 112854 h 163285"/>
                  <a:gd name="connsiteX15" fmla="*/ 198285 w 394607"/>
                  <a:gd name="connsiteY15" fmla="*/ 100176 h 163285"/>
                  <a:gd name="connsiteX16" fmla="*/ 156002 w 394607"/>
                  <a:gd name="connsiteY16" fmla="*/ 57901 h 163285"/>
                  <a:gd name="connsiteX17" fmla="*/ 184477 w 394607"/>
                  <a:gd name="connsiteY17" fmla="*/ 18126 h 163285"/>
                  <a:gd name="connsiteX18" fmla="*/ 198285 w 394607"/>
                  <a:gd name="connsiteY18" fmla="*/ 8254 h 163285"/>
                  <a:gd name="connsiteX19" fmla="*/ 212090 w 394607"/>
                  <a:gd name="connsiteY19" fmla="*/ 18126 h 163285"/>
                  <a:gd name="connsiteX20" fmla="*/ 240566 w 394607"/>
                  <a:gd name="connsiteY20" fmla="*/ 57901 h 163285"/>
                  <a:gd name="connsiteX21" fmla="*/ 225764 w 394607"/>
                  <a:gd name="connsiteY21" fmla="*/ 72703 h 163285"/>
                  <a:gd name="connsiteX22" fmla="*/ 210961 w 394607"/>
                  <a:gd name="connsiteY22" fmla="*/ 57901 h 163285"/>
                  <a:gd name="connsiteX23" fmla="*/ 198285 w 394607"/>
                  <a:gd name="connsiteY23" fmla="*/ 45223 h 163285"/>
                  <a:gd name="connsiteX24" fmla="*/ 185607 w 394607"/>
                  <a:gd name="connsiteY24" fmla="*/ 57901 h 163285"/>
                  <a:gd name="connsiteX25" fmla="*/ 198285 w 394607"/>
                  <a:gd name="connsiteY25" fmla="*/ 70571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198285" y="0"/>
                    </a:moveTo>
                    <a:cubicBezTo>
                      <a:pt x="81434" y="0"/>
                      <a:pt x="0" y="44992"/>
                      <a:pt x="0" y="85374"/>
                    </a:cubicBezTo>
                    <a:cubicBezTo>
                      <a:pt x="0" y="125755"/>
                      <a:pt x="81434" y="170753"/>
                      <a:pt x="198285" y="170753"/>
                    </a:cubicBezTo>
                    <a:cubicBezTo>
                      <a:pt x="315141" y="170753"/>
                      <a:pt x="396576" y="125755"/>
                      <a:pt x="396576" y="85374"/>
                    </a:cubicBezTo>
                    <a:cubicBezTo>
                      <a:pt x="396576" y="44992"/>
                      <a:pt x="315141" y="0"/>
                      <a:pt x="198285" y="0"/>
                    </a:cubicBezTo>
                    <a:close/>
                    <a:moveTo>
                      <a:pt x="198285" y="70571"/>
                    </a:moveTo>
                    <a:cubicBezTo>
                      <a:pt x="221600" y="70571"/>
                      <a:pt x="240566" y="89536"/>
                      <a:pt x="240566" y="112854"/>
                    </a:cubicBezTo>
                    <a:cubicBezTo>
                      <a:pt x="240566" y="131309"/>
                      <a:pt x="228609" y="146871"/>
                      <a:pt x="212090" y="152627"/>
                    </a:cubicBezTo>
                    <a:cubicBezTo>
                      <a:pt x="210045" y="158350"/>
                      <a:pt x="204710" y="162501"/>
                      <a:pt x="198285" y="162501"/>
                    </a:cubicBezTo>
                    <a:cubicBezTo>
                      <a:pt x="191859" y="162501"/>
                      <a:pt x="186524" y="158350"/>
                      <a:pt x="184477" y="152627"/>
                    </a:cubicBezTo>
                    <a:cubicBezTo>
                      <a:pt x="167960" y="146871"/>
                      <a:pt x="156002" y="131309"/>
                      <a:pt x="156002" y="112854"/>
                    </a:cubicBezTo>
                    <a:cubicBezTo>
                      <a:pt x="156002" y="104678"/>
                      <a:pt x="162630" y="98050"/>
                      <a:pt x="170805" y="98050"/>
                    </a:cubicBezTo>
                    <a:cubicBezTo>
                      <a:pt x="178979" y="98050"/>
                      <a:pt x="185607" y="104678"/>
                      <a:pt x="185607" y="112854"/>
                    </a:cubicBezTo>
                    <a:cubicBezTo>
                      <a:pt x="185607" y="119842"/>
                      <a:pt x="191295" y="125530"/>
                      <a:pt x="198285" y="125530"/>
                    </a:cubicBezTo>
                    <a:cubicBezTo>
                      <a:pt x="205273" y="125530"/>
                      <a:pt x="210961" y="119842"/>
                      <a:pt x="210961" y="112854"/>
                    </a:cubicBezTo>
                    <a:cubicBezTo>
                      <a:pt x="210961" y="105864"/>
                      <a:pt x="205273" y="100176"/>
                      <a:pt x="198285" y="100176"/>
                    </a:cubicBezTo>
                    <a:cubicBezTo>
                      <a:pt x="174967" y="100176"/>
                      <a:pt x="156002" y="81210"/>
                      <a:pt x="156002" y="57901"/>
                    </a:cubicBezTo>
                    <a:cubicBezTo>
                      <a:pt x="156002" y="39446"/>
                      <a:pt x="167960" y="23882"/>
                      <a:pt x="184477" y="18126"/>
                    </a:cubicBezTo>
                    <a:cubicBezTo>
                      <a:pt x="186524" y="12404"/>
                      <a:pt x="191859" y="8254"/>
                      <a:pt x="198285" y="8254"/>
                    </a:cubicBezTo>
                    <a:cubicBezTo>
                      <a:pt x="204710" y="8254"/>
                      <a:pt x="210045" y="12404"/>
                      <a:pt x="212090" y="18126"/>
                    </a:cubicBezTo>
                    <a:cubicBezTo>
                      <a:pt x="228609" y="23882"/>
                      <a:pt x="240566" y="39446"/>
                      <a:pt x="240566" y="57901"/>
                    </a:cubicBezTo>
                    <a:cubicBezTo>
                      <a:pt x="240566" y="66075"/>
                      <a:pt x="233938" y="72703"/>
                      <a:pt x="225764" y="72703"/>
                    </a:cubicBezTo>
                    <a:cubicBezTo>
                      <a:pt x="217589" y="72703"/>
                      <a:pt x="210961" y="66075"/>
                      <a:pt x="210961" y="57901"/>
                    </a:cubicBezTo>
                    <a:cubicBezTo>
                      <a:pt x="210961" y="50911"/>
                      <a:pt x="205273" y="45223"/>
                      <a:pt x="198285" y="45223"/>
                    </a:cubicBezTo>
                    <a:cubicBezTo>
                      <a:pt x="191295" y="45223"/>
                      <a:pt x="185607" y="50911"/>
                      <a:pt x="185607" y="57901"/>
                    </a:cubicBezTo>
                    <a:cubicBezTo>
                      <a:pt x="185607" y="64890"/>
                      <a:pt x="191295" y="70571"/>
                      <a:pt x="198285" y="70571"/>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0" name="Freeform: Shape 149">
                <a:extLst>
                  <a:ext uri="{FF2B5EF4-FFF2-40B4-BE49-F238E27FC236}">
                    <a16:creationId xmlns:a16="http://schemas.microsoft.com/office/drawing/2014/main" id="{3F2E445D-5A18-48FA-AC68-1188AD0CEC8A}"/>
                  </a:ext>
                </a:extLst>
              </p:cNvPr>
              <p:cNvSpPr/>
              <p:nvPr/>
            </p:nvSpPr>
            <p:spPr>
              <a:xfrm>
                <a:off x="2952955" y="2705899"/>
                <a:ext cx="231314" cy="63811"/>
              </a:xfrm>
              <a:custGeom>
                <a:avLst/>
                <a:gdLst>
                  <a:gd name="connsiteX0" fmla="*/ 0 w 394607"/>
                  <a:gd name="connsiteY0" fmla="*/ 0 h 108857"/>
                  <a:gd name="connsiteX1" fmla="*/ 0 w 394607"/>
                  <a:gd name="connsiteY1" fmla="*/ 25689 h 108857"/>
                  <a:gd name="connsiteX2" fmla="*/ 198285 w 394607"/>
                  <a:gd name="connsiteY2" fmla="*/ 111063 h 108857"/>
                  <a:gd name="connsiteX3" fmla="*/ 396576 w 394607"/>
                  <a:gd name="connsiteY3" fmla="*/ 25689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4" y="111063"/>
                      <a:pt x="198285" y="111063"/>
                    </a:cubicBezTo>
                    <a:cubicBezTo>
                      <a:pt x="315141" y="111063"/>
                      <a:pt x="396576" y="66071"/>
                      <a:pt x="396576" y="25689"/>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1" name="Freeform: Shape 150">
                <a:extLst>
                  <a:ext uri="{FF2B5EF4-FFF2-40B4-BE49-F238E27FC236}">
                    <a16:creationId xmlns:a16="http://schemas.microsoft.com/office/drawing/2014/main" id="{4047D5E1-B9AA-4121-91C5-ADE7978742E8}"/>
                  </a:ext>
                </a:extLst>
              </p:cNvPr>
              <p:cNvSpPr/>
              <p:nvPr/>
            </p:nvSpPr>
            <p:spPr>
              <a:xfrm>
                <a:off x="3241793" y="2754559"/>
                <a:ext cx="231314" cy="63811"/>
              </a:xfrm>
              <a:custGeom>
                <a:avLst/>
                <a:gdLst>
                  <a:gd name="connsiteX0" fmla="*/ 0 w 394607"/>
                  <a:gd name="connsiteY0" fmla="*/ 0 h 108857"/>
                  <a:gd name="connsiteX1" fmla="*/ 0 w 394607"/>
                  <a:gd name="connsiteY1" fmla="*/ 25688 h 108857"/>
                  <a:gd name="connsiteX2" fmla="*/ 198283 w 394607"/>
                  <a:gd name="connsiteY2" fmla="*/ 111068 h 108857"/>
                  <a:gd name="connsiteX3" fmla="*/ 396568 w 394607"/>
                  <a:gd name="connsiteY3" fmla="*/ 25688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3" y="111068"/>
                      <a:pt x="198283" y="111068"/>
                    </a:cubicBezTo>
                    <a:cubicBezTo>
                      <a:pt x="315133" y="111068"/>
                      <a:pt x="396568" y="66068"/>
                      <a:pt x="396568" y="25688"/>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5" name="Freeform: Shape 154">
                <a:extLst>
                  <a:ext uri="{FF2B5EF4-FFF2-40B4-BE49-F238E27FC236}">
                    <a16:creationId xmlns:a16="http://schemas.microsoft.com/office/drawing/2014/main" id="{7A5C0DF4-C621-4C4E-8324-84D51FFC7DA0}"/>
                  </a:ext>
                </a:extLst>
              </p:cNvPr>
              <p:cNvSpPr/>
              <p:nvPr/>
            </p:nvSpPr>
            <p:spPr>
              <a:xfrm>
                <a:off x="3241793" y="2559909"/>
                <a:ext cx="231314" cy="63811"/>
              </a:xfrm>
              <a:custGeom>
                <a:avLst/>
                <a:gdLst>
                  <a:gd name="connsiteX0" fmla="*/ 0 w 394607"/>
                  <a:gd name="connsiteY0" fmla="*/ 0 h 108857"/>
                  <a:gd name="connsiteX1" fmla="*/ 0 w 394607"/>
                  <a:gd name="connsiteY1" fmla="*/ 25689 h 108857"/>
                  <a:gd name="connsiteX2" fmla="*/ 198283 w 394607"/>
                  <a:gd name="connsiteY2" fmla="*/ 111068 h 108857"/>
                  <a:gd name="connsiteX3" fmla="*/ 396568 w 394607"/>
                  <a:gd name="connsiteY3" fmla="*/ 25689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0"/>
                      <a:pt x="81433" y="111068"/>
                      <a:pt x="198283" y="111068"/>
                    </a:cubicBezTo>
                    <a:cubicBezTo>
                      <a:pt x="315133" y="111068"/>
                      <a:pt x="396568" y="66070"/>
                      <a:pt x="396568" y="25689"/>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0" name="Freeform: Shape 159">
                <a:extLst>
                  <a:ext uri="{FF2B5EF4-FFF2-40B4-BE49-F238E27FC236}">
                    <a16:creationId xmlns:a16="http://schemas.microsoft.com/office/drawing/2014/main" id="{26DE019F-4839-4C76-B924-C5AD650E78F5}"/>
                  </a:ext>
                </a:extLst>
              </p:cNvPr>
              <p:cNvSpPr/>
              <p:nvPr/>
            </p:nvSpPr>
            <p:spPr>
              <a:xfrm>
                <a:off x="3241793" y="2705899"/>
                <a:ext cx="231314" cy="63811"/>
              </a:xfrm>
              <a:custGeom>
                <a:avLst/>
                <a:gdLst>
                  <a:gd name="connsiteX0" fmla="*/ 0 w 394607"/>
                  <a:gd name="connsiteY0" fmla="*/ 0 h 108857"/>
                  <a:gd name="connsiteX1" fmla="*/ 0 w 394607"/>
                  <a:gd name="connsiteY1" fmla="*/ 25689 h 108857"/>
                  <a:gd name="connsiteX2" fmla="*/ 198283 w 394607"/>
                  <a:gd name="connsiteY2" fmla="*/ 111063 h 108857"/>
                  <a:gd name="connsiteX3" fmla="*/ 396568 w 394607"/>
                  <a:gd name="connsiteY3" fmla="*/ 25689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3" y="111063"/>
                      <a:pt x="198283" y="111063"/>
                    </a:cubicBezTo>
                    <a:cubicBezTo>
                      <a:pt x="315133" y="111063"/>
                      <a:pt x="396568" y="66071"/>
                      <a:pt x="396568" y="25689"/>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4" name="Freeform: Shape 163">
                <a:extLst>
                  <a:ext uri="{FF2B5EF4-FFF2-40B4-BE49-F238E27FC236}">
                    <a16:creationId xmlns:a16="http://schemas.microsoft.com/office/drawing/2014/main" id="{2D30F542-33ED-4767-9AE9-F3E2C0D7048E}"/>
                  </a:ext>
                </a:extLst>
              </p:cNvPr>
              <p:cNvSpPr/>
              <p:nvPr/>
            </p:nvSpPr>
            <p:spPr>
              <a:xfrm>
                <a:off x="3241793" y="2608572"/>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6" name="Freeform: Shape 165">
                <a:extLst>
                  <a:ext uri="{FF2B5EF4-FFF2-40B4-BE49-F238E27FC236}">
                    <a16:creationId xmlns:a16="http://schemas.microsoft.com/office/drawing/2014/main" id="{7F491404-8030-4050-A667-76D1091B0ADD}"/>
                  </a:ext>
                </a:extLst>
              </p:cNvPr>
              <p:cNvSpPr/>
              <p:nvPr/>
            </p:nvSpPr>
            <p:spPr>
              <a:xfrm>
                <a:off x="3241793" y="2657235"/>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7" name="Freeform: Shape 166">
                <a:extLst>
                  <a:ext uri="{FF2B5EF4-FFF2-40B4-BE49-F238E27FC236}">
                    <a16:creationId xmlns:a16="http://schemas.microsoft.com/office/drawing/2014/main" id="{DE54BF83-5094-49F8-A87E-128FBF1EE745}"/>
                  </a:ext>
                </a:extLst>
              </p:cNvPr>
              <p:cNvSpPr/>
              <p:nvPr/>
            </p:nvSpPr>
            <p:spPr>
              <a:xfrm>
                <a:off x="3007096" y="2293228"/>
                <a:ext cx="406793" cy="183456"/>
              </a:xfrm>
              <a:custGeom>
                <a:avLst/>
                <a:gdLst>
                  <a:gd name="connsiteX0" fmla="*/ 14818 w 693964"/>
                  <a:gd name="connsiteY0" fmla="*/ 319618 h 312964"/>
                  <a:gd name="connsiteX1" fmla="*/ 22675 w 693964"/>
                  <a:gd name="connsiteY1" fmla="*/ 317349 h 312964"/>
                  <a:gd name="connsiteX2" fmla="*/ 228273 w 693964"/>
                  <a:gd name="connsiteY2" fmla="*/ 188204 h 312964"/>
                  <a:gd name="connsiteX3" fmla="*/ 414827 w 693964"/>
                  <a:gd name="connsiteY3" fmla="*/ 252358 h 312964"/>
                  <a:gd name="connsiteX4" fmla="*/ 428647 w 693964"/>
                  <a:gd name="connsiteY4" fmla="*/ 250103 h 312964"/>
                  <a:gd name="connsiteX5" fmla="*/ 670424 w 693964"/>
                  <a:gd name="connsiteY5" fmla="*/ 64771 h 312964"/>
                  <a:gd name="connsiteX6" fmla="*/ 658624 w 693964"/>
                  <a:gd name="connsiteY6" fmla="*/ 154083 h 312964"/>
                  <a:gd name="connsiteX7" fmla="*/ 671359 w 693964"/>
                  <a:gd name="connsiteY7" fmla="*/ 170692 h 312964"/>
                  <a:gd name="connsiteX8" fmla="*/ 673318 w 693964"/>
                  <a:gd name="connsiteY8" fmla="*/ 170823 h 312964"/>
                  <a:gd name="connsiteX9" fmla="*/ 687968 w 693964"/>
                  <a:gd name="connsiteY9" fmla="*/ 157957 h 312964"/>
                  <a:gd name="connsiteX10" fmla="*/ 704451 w 693964"/>
                  <a:gd name="connsiteY10" fmla="*/ 33247 h 312964"/>
                  <a:gd name="connsiteX11" fmla="*/ 704066 w 693964"/>
                  <a:gd name="connsiteY11" fmla="*/ 27466 h 312964"/>
                  <a:gd name="connsiteX12" fmla="*/ 697178 w 693964"/>
                  <a:gd name="connsiteY12" fmla="*/ 18485 h 312964"/>
                  <a:gd name="connsiteX13" fmla="*/ 691710 w 693964"/>
                  <a:gd name="connsiteY13" fmla="*/ 16612 h 312964"/>
                  <a:gd name="connsiteX14" fmla="*/ 566984 w 693964"/>
                  <a:gd name="connsiteY14" fmla="*/ 126 h 312964"/>
                  <a:gd name="connsiteX15" fmla="*/ 550375 w 693964"/>
                  <a:gd name="connsiteY15" fmla="*/ 12861 h 312964"/>
                  <a:gd name="connsiteX16" fmla="*/ 563110 w 693964"/>
                  <a:gd name="connsiteY16" fmla="*/ 29471 h 312964"/>
                  <a:gd name="connsiteX17" fmla="*/ 652418 w 693964"/>
                  <a:gd name="connsiteY17" fmla="*/ 41277 h 312964"/>
                  <a:gd name="connsiteX18" fmla="*/ 416938 w 693964"/>
                  <a:gd name="connsiteY18" fmla="*/ 221777 h 312964"/>
                  <a:gd name="connsiteX19" fmla="*/ 231207 w 693964"/>
                  <a:gd name="connsiteY19" fmla="*/ 157907 h 312964"/>
                  <a:gd name="connsiteX20" fmla="*/ 218523 w 693964"/>
                  <a:gd name="connsiteY20" fmla="*/ 159374 h 312964"/>
                  <a:gd name="connsiteX21" fmla="*/ 6933 w 693964"/>
                  <a:gd name="connsiteY21" fmla="*/ 292284 h 312964"/>
                  <a:gd name="connsiteX22" fmla="*/ 2271 w 693964"/>
                  <a:gd name="connsiteY22" fmla="*/ 312687 h 312964"/>
                  <a:gd name="connsiteX23" fmla="*/ 14818 w 693964"/>
                  <a:gd name="connsiteY23" fmla="*/ 319618 h 3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3964" h="312964">
                    <a:moveTo>
                      <a:pt x="14818" y="319618"/>
                    </a:moveTo>
                    <a:cubicBezTo>
                      <a:pt x="17507" y="319618"/>
                      <a:pt x="20231" y="318889"/>
                      <a:pt x="22675" y="317349"/>
                    </a:cubicBezTo>
                    <a:lnTo>
                      <a:pt x="228273" y="188204"/>
                    </a:lnTo>
                    <a:lnTo>
                      <a:pt x="414827" y="252358"/>
                    </a:lnTo>
                    <a:cubicBezTo>
                      <a:pt x="419511" y="253969"/>
                      <a:pt x="424699" y="253138"/>
                      <a:pt x="428647" y="250103"/>
                    </a:cubicBezTo>
                    <a:lnTo>
                      <a:pt x="670424" y="64771"/>
                    </a:lnTo>
                    <a:lnTo>
                      <a:pt x="658624" y="154083"/>
                    </a:lnTo>
                    <a:cubicBezTo>
                      <a:pt x="657546" y="162185"/>
                      <a:pt x="663249" y="169623"/>
                      <a:pt x="671359" y="170692"/>
                    </a:cubicBezTo>
                    <a:cubicBezTo>
                      <a:pt x="672016" y="170779"/>
                      <a:pt x="672668" y="170823"/>
                      <a:pt x="673318" y="170823"/>
                    </a:cubicBezTo>
                    <a:cubicBezTo>
                      <a:pt x="680625" y="170823"/>
                      <a:pt x="686985" y="165408"/>
                      <a:pt x="687968" y="157957"/>
                    </a:cubicBezTo>
                    <a:lnTo>
                      <a:pt x="704451" y="33247"/>
                    </a:lnTo>
                    <a:cubicBezTo>
                      <a:pt x="704707" y="31328"/>
                      <a:pt x="704575" y="29365"/>
                      <a:pt x="704066" y="27466"/>
                    </a:cubicBezTo>
                    <a:cubicBezTo>
                      <a:pt x="703055" y="23680"/>
                      <a:pt x="700572" y="20446"/>
                      <a:pt x="697178" y="18485"/>
                    </a:cubicBezTo>
                    <a:cubicBezTo>
                      <a:pt x="695479" y="17502"/>
                      <a:pt x="693624" y="16863"/>
                      <a:pt x="691710" y="16612"/>
                    </a:cubicBezTo>
                    <a:lnTo>
                      <a:pt x="566984" y="126"/>
                    </a:lnTo>
                    <a:cubicBezTo>
                      <a:pt x="558976" y="-929"/>
                      <a:pt x="551444" y="4745"/>
                      <a:pt x="550375" y="12861"/>
                    </a:cubicBezTo>
                    <a:cubicBezTo>
                      <a:pt x="549297" y="20964"/>
                      <a:pt x="555000" y="28401"/>
                      <a:pt x="563110" y="29471"/>
                    </a:cubicBezTo>
                    <a:lnTo>
                      <a:pt x="652418" y="41277"/>
                    </a:lnTo>
                    <a:lnTo>
                      <a:pt x="416938" y="221777"/>
                    </a:lnTo>
                    <a:lnTo>
                      <a:pt x="231207" y="157907"/>
                    </a:lnTo>
                    <a:cubicBezTo>
                      <a:pt x="226973" y="156460"/>
                      <a:pt x="222311" y="156982"/>
                      <a:pt x="218523" y="159374"/>
                    </a:cubicBezTo>
                    <a:lnTo>
                      <a:pt x="6933" y="292284"/>
                    </a:lnTo>
                    <a:cubicBezTo>
                      <a:pt x="9" y="296628"/>
                      <a:pt x="-2080" y="305770"/>
                      <a:pt x="2271" y="312687"/>
                    </a:cubicBezTo>
                    <a:cubicBezTo>
                      <a:pt x="5083" y="317169"/>
                      <a:pt x="9896" y="319618"/>
                      <a:pt x="14818" y="319618"/>
                    </a:cubicBezTo>
                    <a:close/>
                  </a:path>
                </a:pathLst>
              </a:custGeom>
              <a:solidFill>
                <a:schemeClr val="accent2"/>
              </a:solid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sp>
          <p:nvSpPr>
            <p:cNvPr id="119" name="Arc 118">
              <a:extLst>
                <a:ext uri="{FF2B5EF4-FFF2-40B4-BE49-F238E27FC236}">
                  <a16:creationId xmlns:a16="http://schemas.microsoft.com/office/drawing/2014/main" id="{60BFA9CE-8FEB-4088-A1AA-6753CAE14DD0}"/>
                </a:ext>
              </a:extLst>
            </p:cNvPr>
            <p:cNvSpPr/>
            <p:nvPr/>
          </p:nvSpPr>
          <p:spPr>
            <a:xfrm>
              <a:off x="5394453" y="2222488"/>
              <a:ext cx="1399958" cy="1399958"/>
            </a:xfrm>
            <a:prstGeom prst="arc">
              <a:avLst>
                <a:gd name="adj1" fmla="val 11193475"/>
                <a:gd name="adj2" fmla="val 21177062"/>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0" name="Arc 119">
              <a:extLst>
                <a:ext uri="{FF2B5EF4-FFF2-40B4-BE49-F238E27FC236}">
                  <a16:creationId xmlns:a16="http://schemas.microsoft.com/office/drawing/2014/main" id="{F23E2CF8-C09D-42EC-AD04-C1498F3032E8}"/>
                </a:ext>
              </a:extLst>
            </p:cNvPr>
            <p:cNvSpPr/>
            <p:nvPr/>
          </p:nvSpPr>
          <p:spPr>
            <a:xfrm>
              <a:off x="5394453" y="2222488"/>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1" name="Oval 120">
              <a:extLst>
                <a:ext uri="{FF2B5EF4-FFF2-40B4-BE49-F238E27FC236}">
                  <a16:creationId xmlns:a16="http://schemas.microsoft.com/office/drawing/2014/main" id="{A268A435-8A5E-4D56-8072-EC0366AFA061}"/>
                </a:ext>
              </a:extLst>
            </p:cNvPr>
            <p:cNvSpPr/>
            <p:nvPr/>
          </p:nvSpPr>
          <p:spPr bwMode="auto">
            <a:xfrm>
              <a:off x="6035019" y="2152804"/>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
        <p:nvSpPr>
          <p:cNvPr id="87" name="Rectangle 86">
            <a:extLst>
              <a:ext uri="{FF2B5EF4-FFF2-40B4-BE49-F238E27FC236}">
                <a16:creationId xmlns:a16="http://schemas.microsoft.com/office/drawing/2014/main" id="{00027215-9403-4FBE-917F-97C5631B4CA5}"/>
              </a:ext>
            </a:extLst>
          </p:cNvPr>
          <p:cNvSpPr/>
          <p:nvPr/>
        </p:nvSpPr>
        <p:spPr bwMode="auto">
          <a:xfrm>
            <a:off x="4546933" y="3494591"/>
            <a:ext cx="2643809" cy="1349418"/>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505050"/>
                </a:solidFill>
                <a:effectLst/>
                <a:uLnTx/>
                <a:uFillTx/>
                <a:latin typeface="Segoe UI"/>
                <a:ea typeface="+mn-ea"/>
                <a:cs typeface="+mn-cs"/>
              </a:rPr>
              <a:t>Help protect your revenue through reduction in losses related to fraudulent returns and discounts</a:t>
            </a:r>
          </a:p>
        </p:txBody>
      </p:sp>
      <p:sp>
        <p:nvSpPr>
          <p:cNvPr id="88" name="Rectangle 87">
            <a:extLst>
              <a:ext uri="{FF2B5EF4-FFF2-40B4-BE49-F238E27FC236}">
                <a16:creationId xmlns:a16="http://schemas.microsoft.com/office/drawing/2014/main" id="{86E5E909-E56E-4BC3-858E-7801BE5F8076}"/>
              </a:ext>
            </a:extLst>
          </p:cNvPr>
          <p:cNvSpPr/>
          <p:nvPr/>
        </p:nvSpPr>
        <p:spPr bwMode="auto">
          <a:xfrm>
            <a:off x="400402" y="3803757"/>
            <a:ext cx="3050647" cy="11175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505050"/>
                </a:solidFill>
                <a:effectLst/>
                <a:uLnTx/>
                <a:uFillTx/>
                <a:latin typeface="Segoe UI"/>
                <a:ea typeface="+mn-ea"/>
                <a:cs typeface="+mn-cs"/>
              </a:rPr>
              <a:t>Enable store managers and investigators to take action by providing them with insights on anomalies with merchandize discounting and returns</a:t>
            </a:r>
          </a:p>
        </p:txBody>
      </p:sp>
      <p:grpSp>
        <p:nvGrpSpPr>
          <p:cNvPr id="89" name="Group 88">
            <a:extLst>
              <a:ext uri="{FF2B5EF4-FFF2-40B4-BE49-F238E27FC236}">
                <a16:creationId xmlns:a16="http://schemas.microsoft.com/office/drawing/2014/main" id="{FD8ACD43-022D-4BB2-9AF5-3F2FDE78D0B7}"/>
              </a:ext>
            </a:extLst>
          </p:cNvPr>
          <p:cNvGrpSpPr/>
          <p:nvPr/>
        </p:nvGrpSpPr>
        <p:grpSpPr>
          <a:xfrm>
            <a:off x="5426595" y="3388662"/>
            <a:ext cx="1043596" cy="118826"/>
            <a:chOff x="5628263" y="3430620"/>
            <a:chExt cx="1043596" cy="118826"/>
          </a:xfrm>
        </p:grpSpPr>
        <p:cxnSp>
          <p:nvCxnSpPr>
            <p:cNvPr id="130" name="Straight Connector 129">
              <a:extLst>
                <a:ext uri="{FF2B5EF4-FFF2-40B4-BE49-F238E27FC236}">
                  <a16:creationId xmlns:a16="http://schemas.microsoft.com/office/drawing/2014/main" id="{D4FA7545-E475-4209-A5C1-340AD4A17B8A}"/>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9B69A5D7-03DF-4F32-9040-1E405646D264}"/>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DED69347-4215-438A-B5BB-51499C087932}"/>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71" name="Group 170">
            <a:extLst>
              <a:ext uri="{FF2B5EF4-FFF2-40B4-BE49-F238E27FC236}">
                <a16:creationId xmlns:a16="http://schemas.microsoft.com/office/drawing/2014/main" id="{FF0E4BB4-12FE-4ED6-8BB7-DE41147C6B16}"/>
              </a:ext>
            </a:extLst>
          </p:cNvPr>
          <p:cNvGrpSpPr/>
          <p:nvPr/>
        </p:nvGrpSpPr>
        <p:grpSpPr>
          <a:xfrm>
            <a:off x="8195894" y="3369587"/>
            <a:ext cx="1043596" cy="118826"/>
            <a:chOff x="5628263" y="3430620"/>
            <a:chExt cx="1043596" cy="118826"/>
          </a:xfrm>
        </p:grpSpPr>
        <p:cxnSp>
          <p:nvCxnSpPr>
            <p:cNvPr id="172" name="Straight Connector 171">
              <a:extLst>
                <a:ext uri="{FF2B5EF4-FFF2-40B4-BE49-F238E27FC236}">
                  <a16:creationId xmlns:a16="http://schemas.microsoft.com/office/drawing/2014/main" id="{DEFDFFD8-D8F0-4F05-BBDB-121684DEC1DC}"/>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65B667DA-5F45-4C4B-8026-A2266A8BCDEE}"/>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4" name="Oval 173">
              <a:extLst>
                <a:ext uri="{FF2B5EF4-FFF2-40B4-BE49-F238E27FC236}">
                  <a16:creationId xmlns:a16="http://schemas.microsoft.com/office/drawing/2014/main" id="{F580363A-ED5C-48A7-B062-AA2FF7536C01}"/>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75" name="Group 174">
            <a:extLst>
              <a:ext uri="{FF2B5EF4-FFF2-40B4-BE49-F238E27FC236}">
                <a16:creationId xmlns:a16="http://schemas.microsoft.com/office/drawing/2014/main" id="{6D44B09E-C141-450F-98DF-0976048FF246}"/>
              </a:ext>
            </a:extLst>
          </p:cNvPr>
          <p:cNvGrpSpPr/>
          <p:nvPr/>
        </p:nvGrpSpPr>
        <p:grpSpPr>
          <a:xfrm>
            <a:off x="1396690" y="3582788"/>
            <a:ext cx="1043596" cy="118826"/>
            <a:chOff x="5628263" y="3430620"/>
            <a:chExt cx="1043596" cy="118826"/>
          </a:xfrm>
        </p:grpSpPr>
        <p:cxnSp>
          <p:nvCxnSpPr>
            <p:cNvPr id="176" name="Straight Connector 175">
              <a:extLst>
                <a:ext uri="{FF2B5EF4-FFF2-40B4-BE49-F238E27FC236}">
                  <a16:creationId xmlns:a16="http://schemas.microsoft.com/office/drawing/2014/main" id="{77AA54C4-590F-4095-961D-42A91435DB6E}"/>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7A72CA2B-177A-4502-8E42-CB78CD86628D}"/>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8" name="Oval 177">
              <a:extLst>
                <a:ext uri="{FF2B5EF4-FFF2-40B4-BE49-F238E27FC236}">
                  <a16:creationId xmlns:a16="http://schemas.microsoft.com/office/drawing/2014/main" id="{34A56273-76EA-4BFD-A8EA-612C2BF81E54}"/>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
        <p:nvSpPr>
          <p:cNvPr id="2" name="Rectangle 1">
            <a:extLst>
              <a:ext uri="{FF2B5EF4-FFF2-40B4-BE49-F238E27FC236}">
                <a16:creationId xmlns:a16="http://schemas.microsoft.com/office/drawing/2014/main" id="{B260ECCD-647E-4F37-8FE5-F73AC861EAB9}"/>
              </a:ext>
            </a:extLst>
          </p:cNvPr>
          <p:cNvSpPr/>
          <p:nvPr/>
        </p:nvSpPr>
        <p:spPr>
          <a:xfrm>
            <a:off x="7313686" y="3510968"/>
            <a:ext cx="2814719" cy="1477328"/>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505050"/>
                </a:solidFill>
                <a:effectLst/>
                <a:uLnTx/>
                <a:uFillTx/>
                <a:latin typeface="Segoe UI"/>
                <a:ea typeface="+mn-ea"/>
                <a:cs typeface="+mn-cs"/>
              </a:rPr>
              <a:t>Help reduce manual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505050"/>
                </a:solidFill>
                <a:effectLst/>
                <a:uLnTx/>
                <a:uFillTx/>
                <a:latin typeface="Segoe UI"/>
                <a:ea typeface="+mn-ea"/>
                <a:cs typeface="+mn-cs"/>
              </a:rPr>
              <a:t>efforts required to determine business entities and functions at risk for losses, and enabling readily consumable reports with actionable insights</a:t>
            </a:r>
          </a:p>
        </p:txBody>
      </p:sp>
    </p:spTree>
    <p:extLst>
      <p:ext uri="{BB962C8B-B14F-4D97-AF65-F5344CB8AC3E}">
        <p14:creationId xmlns:p14="http://schemas.microsoft.com/office/powerpoint/2010/main" val="3501262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9156B650-D98F-4FC6-8C73-C3E8E097C0F4}"/>
              </a:ext>
            </a:extLst>
          </p:cNvPr>
          <p:cNvSpPr/>
          <p:nvPr/>
        </p:nvSpPr>
        <p:spPr bwMode="auto">
          <a:xfrm>
            <a:off x="9445172" y="157617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37" name="Arc 36">
            <a:extLst>
              <a:ext uri="{FF2B5EF4-FFF2-40B4-BE49-F238E27FC236}">
                <a16:creationId xmlns:a16="http://schemas.microsoft.com/office/drawing/2014/main" id="{6F28439D-D22E-4DC3-B2AD-C3A01D0DF42C}"/>
              </a:ext>
            </a:extLst>
          </p:cNvPr>
          <p:cNvSpPr/>
          <p:nvPr/>
        </p:nvSpPr>
        <p:spPr bwMode="auto">
          <a:xfrm>
            <a:off x="3724725" y="157617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38" name="Arc 37">
            <a:extLst>
              <a:ext uri="{FF2B5EF4-FFF2-40B4-BE49-F238E27FC236}">
                <a16:creationId xmlns:a16="http://schemas.microsoft.com/office/drawing/2014/main" id="{A13C7E8D-2761-4055-86E1-19660C201C2F}"/>
              </a:ext>
            </a:extLst>
          </p:cNvPr>
          <p:cNvSpPr/>
          <p:nvPr/>
        </p:nvSpPr>
        <p:spPr bwMode="auto">
          <a:xfrm>
            <a:off x="1038743" y="157617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39" name="Arc 38">
            <a:extLst>
              <a:ext uri="{FF2B5EF4-FFF2-40B4-BE49-F238E27FC236}">
                <a16:creationId xmlns:a16="http://schemas.microsoft.com/office/drawing/2014/main" id="{1F9F3AB0-A41C-472F-943D-D83E5DEABF05}"/>
              </a:ext>
            </a:extLst>
          </p:cNvPr>
          <p:cNvSpPr/>
          <p:nvPr/>
        </p:nvSpPr>
        <p:spPr bwMode="auto">
          <a:xfrm>
            <a:off x="6483821" y="157617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graphicFrame>
        <p:nvGraphicFramePr>
          <p:cNvPr id="13" name="Object 12" hidden="1">
            <a:extLst>
              <a:ext uri="{FF2B5EF4-FFF2-40B4-BE49-F238E27FC236}">
                <a16:creationId xmlns:a16="http://schemas.microsoft.com/office/drawing/2014/main" id="{19FB3569-D1D1-4E2B-80CA-EA1B5806C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3" name="Object 12" hidden="1">
                        <a:extLst>
                          <a:ext uri="{FF2B5EF4-FFF2-40B4-BE49-F238E27FC236}">
                            <a16:creationId xmlns:a16="http://schemas.microsoft.com/office/drawing/2014/main" id="{19FB3569-D1D1-4E2B-80CA-EA1B5806C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2CAA490-EE73-4009-AC1D-B389EA1D4124}"/>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67" name="Group 66">
            <a:extLst>
              <a:ext uri="{FF2B5EF4-FFF2-40B4-BE49-F238E27FC236}">
                <a16:creationId xmlns:a16="http://schemas.microsoft.com/office/drawing/2014/main" id="{D1F0F907-685C-4365-872D-4C94B06A3E84}"/>
              </a:ext>
            </a:extLst>
          </p:cNvPr>
          <p:cNvGrpSpPr/>
          <p:nvPr/>
        </p:nvGrpSpPr>
        <p:grpSpPr>
          <a:xfrm>
            <a:off x="474774" y="-3"/>
            <a:ext cx="11242453" cy="2380344"/>
            <a:chOff x="474774" y="-3"/>
            <a:chExt cx="11242453" cy="2380344"/>
          </a:xfrm>
        </p:grpSpPr>
        <p:sp>
          <p:nvSpPr>
            <p:cNvPr id="68" name="Arrow: Bent 67">
              <a:extLst>
                <a:ext uri="{FF2B5EF4-FFF2-40B4-BE49-F238E27FC236}">
                  <a16:creationId xmlns:a16="http://schemas.microsoft.com/office/drawing/2014/main" id="{3846B551-A441-469D-B3BF-498A8E732713}"/>
                </a:ext>
              </a:extLst>
            </p:cNvPr>
            <p:cNvSpPr/>
            <p:nvPr/>
          </p:nvSpPr>
          <p:spPr bwMode="auto">
            <a:xfrm rot="10800000" flipH="1">
              <a:off x="474774" y="-3"/>
              <a:ext cx="6192726" cy="2380343"/>
            </a:xfrm>
            <a:prstGeom prst="bentArrow">
              <a:avLst>
                <a:gd name="adj1" fmla="val 25000"/>
                <a:gd name="adj2" fmla="val 0"/>
                <a:gd name="adj3" fmla="val 25000"/>
                <a:gd name="adj4" fmla="val 86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753B4DAB-9DBD-4AC2-B4C8-9686AE910600}"/>
                </a:ext>
              </a:extLst>
            </p:cNvPr>
            <p:cNvSpPr/>
            <p:nvPr/>
          </p:nvSpPr>
          <p:spPr bwMode="auto">
            <a:xfrm rot="10800000">
              <a:off x="6477000" y="-2"/>
              <a:ext cx="5240227" cy="2380343"/>
            </a:xfrm>
            <a:prstGeom prst="bentArrow">
              <a:avLst>
                <a:gd name="adj1" fmla="val 25000"/>
                <a:gd name="adj2" fmla="val 0"/>
                <a:gd name="adj3" fmla="val 25000"/>
                <a:gd name="adj4" fmla="val 110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Rectangle 77">
            <a:extLst>
              <a:ext uri="{FF2B5EF4-FFF2-40B4-BE49-F238E27FC236}">
                <a16:creationId xmlns:a16="http://schemas.microsoft.com/office/drawing/2014/main" id="{C9D43DF1-690E-4643-A278-38C15AF2E927}"/>
              </a:ext>
            </a:extLst>
          </p:cNvPr>
          <p:cNvSpPr/>
          <p:nvPr/>
        </p:nvSpPr>
        <p:spPr>
          <a:xfrm>
            <a:off x="3472888" y="3182723"/>
            <a:ext cx="2173724"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t>Business intelligence reporting </a:t>
            </a:r>
          </a:p>
        </p:txBody>
      </p:sp>
      <p:sp>
        <p:nvSpPr>
          <p:cNvPr id="80" name="Rectangle 79">
            <a:extLst>
              <a:ext uri="{FF2B5EF4-FFF2-40B4-BE49-F238E27FC236}">
                <a16:creationId xmlns:a16="http://schemas.microsoft.com/office/drawing/2014/main" id="{C15BF332-F9D2-4D2D-B261-1BA54F0422DB}"/>
              </a:ext>
            </a:extLst>
          </p:cNvPr>
          <p:cNvSpPr/>
          <p:nvPr/>
        </p:nvSpPr>
        <p:spPr>
          <a:xfrm>
            <a:off x="6215759" y="3182723"/>
            <a:ext cx="2206174"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t>Operational</a:t>
            </a:r>
            <a:b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t>efficiency booster</a:t>
            </a:r>
          </a:p>
        </p:txBody>
      </p:sp>
      <p:sp>
        <p:nvSpPr>
          <p:cNvPr id="81" name="Rectangle 80">
            <a:extLst>
              <a:ext uri="{FF2B5EF4-FFF2-40B4-BE49-F238E27FC236}">
                <a16:creationId xmlns:a16="http://schemas.microsoft.com/office/drawing/2014/main" id="{41254011-376D-4B3C-B953-1F2AE1A3DA55}"/>
              </a:ext>
            </a:extLst>
          </p:cNvPr>
          <p:cNvSpPr/>
          <p:nvPr/>
        </p:nvSpPr>
        <p:spPr>
          <a:xfrm>
            <a:off x="8728640" y="3182723"/>
            <a:ext cx="3103115"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t>Enhanced loss prevention system with analysis against fraud </a:t>
            </a:r>
          </a:p>
        </p:txBody>
      </p:sp>
      <p:sp>
        <p:nvSpPr>
          <p:cNvPr id="82" name="Rectangle 81">
            <a:extLst>
              <a:ext uri="{FF2B5EF4-FFF2-40B4-BE49-F238E27FC236}">
                <a16:creationId xmlns:a16="http://schemas.microsoft.com/office/drawing/2014/main" id="{058F6635-21D4-4210-9B58-87C27A10A28C}"/>
              </a:ext>
            </a:extLst>
          </p:cNvPr>
          <p:cNvSpPr/>
          <p:nvPr/>
        </p:nvSpPr>
        <p:spPr>
          <a:xfrm>
            <a:off x="935095" y="3182723"/>
            <a:ext cx="1877347"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lumMod val="75000"/>
                  </a:srgbClr>
                </a:solidFill>
                <a:effectLst/>
                <a:uLnTx/>
                <a:uFillTx/>
                <a:latin typeface="Segoe UI Semibold"/>
                <a:ea typeface="+mn-ea"/>
                <a:cs typeface="Segoe UI Semibold" panose="020B0702040204020203" pitchFamily="34" charset="0"/>
              </a:rPr>
              <a:t>Adaptive AI technology</a:t>
            </a:r>
          </a:p>
        </p:txBody>
      </p:sp>
      <p:cxnSp>
        <p:nvCxnSpPr>
          <p:cNvPr id="174" name="Straight Connector 173">
            <a:extLst>
              <a:ext uri="{FF2B5EF4-FFF2-40B4-BE49-F238E27FC236}">
                <a16:creationId xmlns:a16="http://schemas.microsoft.com/office/drawing/2014/main" id="{AEBFFC31-4111-4928-8284-C5428318EB12}"/>
              </a:ext>
            </a:extLst>
          </p:cNvPr>
          <p:cNvCxnSpPr>
            <a:cxnSpLocks/>
          </p:cNvCxnSpPr>
          <p:nvPr/>
        </p:nvCxnSpPr>
        <p:spPr>
          <a:xfrm>
            <a:off x="5369450" y="1353222"/>
            <a:ext cx="1638300" cy="0"/>
          </a:xfrm>
          <a:prstGeom prst="line">
            <a:avLst/>
          </a:prstGeom>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75" name="Title 2">
            <a:extLst>
              <a:ext uri="{FF2B5EF4-FFF2-40B4-BE49-F238E27FC236}">
                <a16:creationId xmlns:a16="http://schemas.microsoft.com/office/drawing/2014/main" id="{B70881A9-5978-44B2-8F14-434FADC31925}"/>
              </a:ext>
            </a:extLst>
          </p:cNvPr>
          <p:cNvSpPr txBox="1">
            <a:spLocks/>
          </p:cNvSpPr>
          <p:nvPr/>
        </p:nvSpPr>
        <p:spPr>
          <a:xfrm>
            <a:off x="423720" y="457200"/>
            <a:ext cx="10551380" cy="914400"/>
          </a:xfrm>
          <a:prstGeom prst="rect">
            <a:avLst/>
          </a:prstGeom>
        </p:spPr>
        <p:txBody>
          <a:bodyPr vert="horz" wrap="square" lIns="146304" tIns="91440" rIns="146304" bIns="91440" rtlCol="0" anchor="ctr">
            <a:noAutofit/>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pPr marL="0" marR="0" lvl="0" indent="0" defTabSz="91419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How does Dynamics 365 Fraud Protection with loss prevention capability work</a:t>
            </a:r>
          </a:p>
        </p:txBody>
      </p:sp>
      <p:pic>
        <p:nvPicPr>
          <p:cNvPr id="179" name="Picture 178">
            <a:extLst>
              <a:ext uri="{FF2B5EF4-FFF2-40B4-BE49-F238E27FC236}">
                <a16:creationId xmlns:a16="http://schemas.microsoft.com/office/drawing/2014/main" id="{E7CD2652-B8B5-459C-9EF7-62088BF0A6A8}"/>
              </a:ext>
            </a:extLst>
          </p:cNvPr>
          <p:cNvPicPr>
            <a:picLocks noChangeAspect="1"/>
          </p:cNvPicPr>
          <p:nvPr/>
        </p:nvPicPr>
        <p:blipFill rotWithShape="1">
          <a:blip r:embed="rId7"/>
          <a:srcRect l="-4856" t="-43135" r="-8515" b="-37906"/>
          <a:stretch/>
        </p:blipFill>
        <p:spPr>
          <a:xfrm>
            <a:off x="3854903" y="170635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solidFill>
            <a:schemeClr val="bg1"/>
          </a:solidFill>
          <a:ln w="6350">
            <a:solidFill>
              <a:schemeClr val="bg1">
                <a:lumMod val="85000"/>
              </a:schemeClr>
            </a:solidFill>
          </a:ln>
        </p:spPr>
      </p:pic>
      <p:pic>
        <p:nvPicPr>
          <p:cNvPr id="180" name="Picture 179">
            <a:extLst>
              <a:ext uri="{FF2B5EF4-FFF2-40B4-BE49-F238E27FC236}">
                <a16:creationId xmlns:a16="http://schemas.microsoft.com/office/drawing/2014/main" id="{1C7347B9-0AA8-4F6D-AE8A-08D6FD5A80D2}"/>
              </a:ext>
            </a:extLst>
          </p:cNvPr>
          <p:cNvPicPr>
            <a:picLocks noChangeAspect="1"/>
          </p:cNvPicPr>
          <p:nvPr/>
        </p:nvPicPr>
        <p:blipFill rotWithShape="1">
          <a:blip r:embed="rId8"/>
          <a:srcRect l="24024" t="2140" r="15462" b="1597"/>
          <a:stretch/>
        </p:blipFill>
        <p:spPr>
          <a:xfrm>
            <a:off x="9575350" y="170635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p:spPr>
      </p:pic>
      <p:pic>
        <p:nvPicPr>
          <p:cNvPr id="181" name="Picture 180">
            <a:extLst>
              <a:ext uri="{FF2B5EF4-FFF2-40B4-BE49-F238E27FC236}">
                <a16:creationId xmlns:a16="http://schemas.microsoft.com/office/drawing/2014/main" id="{412DAA45-227F-45E6-ADF6-64130C7E7E98}"/>
              </a:ext>
            </a:extLst>
          </p:cNvPr>
          <p:cNvPicPr>
            <a:picLocks noChangeAspect="1"/>
          </p:cNvPicPr>
          <p:nvPr/>
        </p:nvPicPr>
        <p:blipFill rotWithShape="1">
          <a:blip r:embed="rId9"/>
          <a:srcRect l="-4180" t="-35077" r="-5953" b="-39727"/>
          <a:stretch/>
        </p:blipFill>
        <p:spPr>
          <a:xfrm>
            <a:off x="1168921" y="170635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solidFill>
            <a:schemeClr val="bg1"/>
          </a:solidFill>
          <a:ln w="6350">
            <a:solidFill>
              <a:schemeClr val="bg1">
                <a:lumMod val="85000"/>
              </a:schemeClr>
            </a:solidFill>
          </a:ln>
        </p:spPr>
      </p:pic>
      <p:pic>
        <p:nvPicPr>
          <p:cNvPr id="182" name="Picture 181">
            <a:extLst>
              <a:ext uri="{FF2B5EF4-FFF2-40B4-BE49-F238E27FC236}">
                <a16:creationId xmlns:a16="http://schemas.microsoft.com/office/drawing/2014/main" id="{EDE704BA-5D9F-4EBC-98F5-0C0072D0B0F4}"/>
              </a:ext>
            </a:extLst>
          </p:cNvPr>
          <p:cNvPicPr>
            <a:picLocks noChangeAspect="1"/>
          </p:cNvPicPr>
          <p:nvPr/>
        </p:nvPicPr>
        <p:blipFill rotWithShape="1">
          <a:blip r:embed="rId10"/>
          <a:srcRect l="5227" t="1026" r="33230" b="569"/>
          <a:stretch/>
        </p:blipFill>
        <p:spPr>
          <a:xfrm>
            <a:off x="6613999" y="170635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p:spPr>
      </p:pic>
      <p:cxnSp>
        <p:nvCxnSpPr>
          <p:cNvPr id="65" name="Straight Connector 64">
            <a:extLst>
              <a:ext uri="{FF2B5EF4-FFF2-40B4-BE49-F238E27FC236}">
                <a16:creationId xmlns:a16="http://schemas.microsoft.com/office/drawing/2014/main" id="{4AD21279-D668-4304-A511-0EFB26D6DEB9}"/>
              </a:ext>
            </a:extLst>
          </p:cNvPr>
          <p:cNvCxnSpPr>
            <a:cxnSpLocks/>
          </p:cNvCxnSpPr>
          <p:nvPr/>
        </p:nvCxnSpPr>
        <p:spPr>
          <a:xfrm>
            <a:off x="0" y="4020222"/>
            <a:ext cx="12192000" cy="0"/>
          </a:xfrm>
          <a:prstGeom prst="line">
            <a:avLst/>
          </a:prstGeom>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067D4AE-7D9B-49F2-844A-308583F9C01F}"/>
              </a:ext>
            </a:extLst>
          </p:cNvPr>
          <p:cNvSpPr/>
          <p:nvPr/>
        </p:nvSpPr>
        <p:spPr>
          <a:xfrm>
            <a:off x="566214" y="4301327"/>
            <a:ext cx="2468880" cy="1169551"/>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ontinuously learns and adapts from patterns and equips store managers with tools to optimize fraud controls. </a:t>
            </a:r>
          </a:p>
        </p:txBody>
      </p:sp>
      <p:sp>
        <p:nvSpPr>
          <p:cNvPr id="25" name="Rectangle 24">
            <a:extLst>
              <a:ext uri="{FF2B5EF4-FFF2-40B4-BE49-F238E27FC236}">
                <a16:creationId xmlns:a16="http://schemas.microsoft.com/office/drawing/2014/main" id="{44C72CAC-A7BD-40F7-8D7B-9C7A121DD1B8}"/>
              </a:ext>
            </a:extLst>
          </p:cNvPr>
          <p:cNvSpPr/>
          <p:nvPr/>
        </p:nvSpPr>
        <p:spPr>
          <a:xfrm>
            <a:off x="3325310" y="4301327"/>
            <a:ext cx="2468880" cy="1384995"/>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Enables store managers and investigators to take action by providing them with insights on anomalies with merchandize discounting and returns. </a:t>
            </a:r>
          </a:p>
        </p:txBody>
      </p:sp>
      <p:sp>
        <p:nvSpPr>
          <p:cNvPr id="26" name="Rectangle 25">
            <a:extLst>
              <a:ext uri="{FF2B5EF4-FFF2-40B4-BE49-F238E27FC236}">
                <a16:creationId xmlns:a16="http://schemas.microsoft.com/office/drawing/2014/main" id="{C74E9D9A-BE4E-4172-8853-5C9D6CA8F589}"/>
              </a:ext>
            </a:extLst>
          </p:cNvPr>
          <p:cNvSpPr/>
          <p:nvPr/>
        </p:nvSpPr>
        <p:spPr>
          <a:xfrm>
            <a:off x="6084406" y="4301327"/>
            <a:ext cx="2468880" cy="1169551"/>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elps increase operational efficiency by reducing manual effort required to determine the business entities and functions that may be at risk. </a:t>
            </a:r>
          </a:p>
        </p:txBody>
      </p:sp>
      <p:sp>
        <p:nvSpPr>
          <p:cNvPr id="27" name="Rectangle 26">
            <a:extLst>
              <a:ext uri="{FF2B5EF4-FFF2-40B4-BE49-F238E27FC236}">
                <a16:creationId xmlns:a16="http://schemas.microsoft.com/office/drawing/2014/main" id="{BC6060BB-2DD6-4593-8F99-B955877C0C94}"/>
              </a:ext>
            </a:extLst>
          </p:cNvPr>
          <p:cNvSpPr/>
          <p:nvPr/>
        </p:nvSpPr>
        <p:spPr>
          <a:xfrm>
            <a:off x="8961120" y="4301327"/>
            <a:ext cx="2753018" cy="1169551"/>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elps fraud management system react quickly to dynamic fraud and purchase patterns, providing actionable insights to help reduce fraudulent returns and discounts. </a:t>
            </a:r>
          </a:p>
        </p:txBody>
      </p:sp>
      <p:cxnSp>
        <p:nvCxnSpPr>
          <p:cNvPr id="28" name="Straight Connector 27">
            <a:extLst>
              <a:ext uri="{FF2B5EF4-FFF2-40B4-BE49-F238E27FC236}">
                <a16:creationId xmlns:a16="http://schemas.microsoft.com/office/drawing/2014/main" id="{6D3F022D-1A69-4A4A-81DB-E56E7EA852B2}"/>
              </a:ext>
            </a:extLst>
          </p:cNvPr>
          <p:cNvCxnSpPr>
            <a:cxnSpLocks/>
          </p:cNvCxnSpPr>
          <p:nvPr/>
        </p:nvCxnSpPr>
        <p:spPr>
          <a:xfrm>
            <a:off x="3180202" y="4244350"/>
            <a:ext cx="0"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FA79D57-B7A7-4B98-AC02-EB50EF98F0D5}"/>
              </a:ext>
            </a:extLst>
          </p:cNvPr>
          <p:cNvCxnSpPr>
            <a:cxnSpLocks/>
          </p:cNvCxnSpPr>
          <p:nvPr/>
        </p:nvCxnSpPr>
        <p:spPr>
          <a:xfrm>
            <a:off x="5939298" y="4244350"/>
            <a:ext cx="0"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9E747F4-A457-43F8-9D29-C661A1C384DB}"/>
              </a:ext>
            </a:extLst>
          </p:cNvPr>
          <p:cNvCxnSpPr>
            <a:cxnSpLocks/>
          </p:cNvCxnSpPr>
          <p:nvPr/>
        </p:nvCxnSpPr>
        <p:spPr>
          <a:xfrm>
            <a:off x="8698394" y="4244350"/>
            <a:ext cx="0"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9F3CF3B4-934F-4E77-9D9C-B6F62CF925AF}"/>
              </a:ext>
            </a:extLst>
          </p:cNvPr>
          <p:cNvSpPr/>
          <p:nvPr/>
        </p:nvSpPr>
        <p:spPr bwMode="auto">
          <a:xfrm>
            <a:off x="1762965" y="3919582"/>
            <a:ext cx="192024" cy="192024"/>
          </a:xfrm>
          <a:prstGeom prst="ellipse">
            <a:avLst/>
          </a:pr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2" name="Oval 31">
            <a:extLst>
              <a:ext uri="{FF2B5EF4-FFF2-40B4-BE49-F238E27FC236}">
                <a16:creationId xmlns:a16="http://schemas.microsoft.com/office/drawing/2014/main" id="{6CE6C3CB-F5D4-49F8-87C3-95D8CCC2C1CE}"/>
              </a:ext>
            </a:extLst>
          </p:cNvPr>
          <p:cNvSpPr/>
          <p:nvPr/>
        </p:nvSpPr>
        <p:spPr bwMode="auto">
          <a:xfrm>
            <a:off x="4463738" y="3919582"/>
            <a:ext cx="192024" cy="192024"/>
          </a:xfrm>
          <a:prstGeom prst="ellipse">
            <a:avLst/>
          </a:pr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3" name="Oval 32">
            <a:extLst>
              <a:ext uri="{FF2B5EF4-FFF2-40B4-BE49-F238E27FC236}">
                <a16:creationId xmlns:a16="http://schemas.microsoft.com/office/drawing/2014/main" id="{29BF929E-D3EC-447F-A312-7467A3DD1453}"/>
              </a:ext>
            </a:extLst>
          </p:cNvPr>
          <p:cNvSpPr/>
          <p:nvPr/>
        </p:nvSpPr>
        <p:spPr bwMode="auto">
          <a:xfrm>
            <a:off x="7222834" y="3919582"/>
            <a:ext cx="192024" cy="192024"/>
          </a:xfrm>
          <a:prstGeom prst="ellipse">
            <a:avLst/>
          </a:pr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4" name="Oval 33">
            <a:extLst>
              <a:ext uri="{FF2B5EF4-FFF2-40B4-BE49-F238E27FC236}">
                <a16:creationId xmlns:a16="http://schemas.microsoft.com/office/drawing/2014/main" id="{12BAB857-4A87-4FCD-808D-E422F6550E3A}"/>
              </a:ext>
            </a:extLst>
          </p:cNvPr>
          <p:cNvSpPr/>
          <p:nvPr/>
        </p:nvSpPr>
        <p:spPr bwMode="auto">
          <a:xfrm>
            <a:off x="10184185" y="3919582"/>
            <a:ext cx="192024" cy="192024"/>
          </a:xfrm>
          <a:prstGeom prst="ellipse">
            <a:avLst/>
          </a:pr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7E9A0689-9C40-4E67-8433-EC3E425B4719}"/>
              </a:ext>
            </a:extLst>
          </p:cNvPr>
          <p:cNvSpPr/>
          <p:nvPr/>
        </p:nvSpPr>
        <p:spPr bwMode="auto">
          <a:xfrm>
            <a:off x="0" y="6762535"/>
            <a:ext cx="12192000" cy="954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26286538"/>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128">
            <a:extLst>
              <a:ext uri="{FF2B5EF4-FFF2-40B4-BE49-F238E27FC236}">
                <a16:creationId xmlns:a16="http://schemas.microsoft.com/office/drawing/2014/main" id="{9C5890E8-75B7-4FD2-8ABE-5E46E79F002F}"/>
              </a:ext>
            </a:extLst>
          </p:cNvPr>
          <p:cNvGrpSpPr>
            <a:grpSpLocks noChangeAspect="1"/>
          </p:cNvGrpSpPr>
          <p:nvPr/>
        </p:nvGrpSpPr>
        <p:grpSpPr>
          <a:xfrm>
            <a:off x="4199861" y="2692595"/>
            <a:ext cx="1716784" cy="1716784"/>
            <a:chOff x="2364229" y="3829100"/>
            <a:chExt cx="685800" cy="685800"/>
          </a:xfrm>
        </p:grpSpPr>
        <p:sp>
          <p:nvSpPr>
            <p:cNvPr id="130" name="Oval 129">
              <a:extLst>
                <a:ext uri="{FF2B5EF4-FFF2-40B4-BE49-F238E27FC236}">
                  <a16:creationId xmlns:a16="http://schemas.microsoft.com/office/drawing/2014/main" id="{6F93E2FB-7A8F-4165-8BD2-994749343274}"/>
                </a:ext>
              </a:extLst>
            </p:cNvPr>
            <p:cNvSpPr/>
            <p:nvPr/>
          </p:nvSpPr>
          <p:spPr bwMode="auto">
            <a:xfrm>
              <a:off x="2364229" y="3829100"/>
              <a:ext cx="685800" cy="685800"/>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aphic 99">
              <a:extLst>
                <a:ext uri="{FF2B5EF4-FFF2-40B4-BE49-F238E27FC236}">
                  <a16:creationId xmlns:a16="http://schemas.microsoft.com/office/drawing/2014/main" id="{2E9AED12-D460-4906-A3A8-84ACC9421299}"/>
                </a:ext>
              </a:extLst>
            </p:cNvPr>
            <p:cNvGrpSpPr/>
            <p:nvPr/>
          </p:nvGrpSpPr>
          <p:grpSpPr>
            <a:xfrm>
              <a:off x="2456057" y="3988430"/>
              <a:ext cx="502145" cy="367147"/>
              <a:chOff x="3223667" y="1717208"/>
              <a:chExt cx="914400" cy="668569"/>
            </a:xfrm>
            <a:solidFill>
              <a:srgbClr val="3C3C41">
                <a:lumMod val="50000"/>
              </a:srgbClr>
            </a:solidFill>
          </p:grpSpPr>
          <p:sp>
            <p:nvSpPr>
              <p:cNvPr id="132" name="Freeform: Shape 131">
                <a:extLst>
                  <a:ext uri="{FF2B5EF4-FFF2-40B4-BE49-F238E27FC236}">
                    <a16:creationId xmlns:a16="http://schemas.microsoft.com/office/drawing/2014/main" id="{5FFDB79A-6D25-4892-BD12-45DCE59B84B7}"/>
                  </a:ext>
                </a:extLst>
              </p:cNvPr>
              <p:cNvSpPr/>
              <p:nvPr/>
            </p:nvSpPr>
            <p:spPr>
              <a:xfrm>
                <a:off x="3223667" y="2023827"/>
                <a:ext cx="914400" cy="361950"/>
              </a:xfrm>
              <a:custGeom>
                <a:avLst/>
                <a:gdLst/>
                <a:ahLst/>
                <a:cxnLst/>
                <a:rect l="0" t="0" r="0" b="0"/>
                <a:pathLst>
                  <a:path w="914400" h="361950">
                    <a:moveTo>
                      <a:pt x="900246" y="345967"/>
                    </a:moveTo>
                    <a:lnTo>
                      <a:pt x="793890" y="345967"/>
                    </a:lnTo>
                    <a:lnTo>
                      <a:pt x="793890" y="57998"/>
                    </a:lnTo>
                    <a:cubicBezTo>
                      <a:pt x="791909" y="58331"/>
                      <a:pt x="789918" y="58865"/>
                      <a:pt x="787908" y="58998"/>
                    </a:cubicBezTo>
                    <a:cubicBezTo>
                      <a:pt x="784489" y="59322"/>
                      <a:pt x="780955" y="59531"/>
                      <a:pt x="777440" y="59531"/>
                    </a:cubicBezTo>
                    <a:cubicBezTo>
                      <a:pt x="743026" y="59531"/>
                      <a:pt x="707831" y="41872"/>
                      <a:pt x="672741" y="7144"/>
                    </a:cubicBezTo>
                    <a:cubicBezTo>
                      <a:pt x="657997" y="24022"/>
                      <a:pt x="620020" y="60970"/>
                      <a:pt x="568823" y="62617"/>
                    </a:cubicBezTo>
                    <a:cubicBezTo>
                      <a:pt x="567604" y="62856"/>
                      <a:pt x="566290" y="62856"/>
                      <a:pt x="564985" y="62856"/>
                    </a:cubicBezTo>
                    <a:cubicBezTo>
                      <a:pt x="528133" y="62856"/>
                      <a:pt x="492604" y="43901"/>
                      <a:pt x="459172" y="7163"/>
                    </a:cubicBezTo>
                    <a:cubicBezTo>
                      <a:pt x="425748" y="43901"/>
                      <a:pt x="390211" y="62856"/>
                      <a:pt x="353358" y="62856"/>
                    </a:cubicBezTo>
                    <a:cubicBezTo>
                      <a:pt x="352149" y="62856"/>
                      <a:pt x="350834" y="62856"/>
                      <a:pt x="349606" y="62617"/>
                    </a:cubicBezTo>
                    <a:cubicBezTo>
                      <a:pt x="298399" y="60970"/>
                      <a:pt x="260356" y="24022"/>
                      <a:pt x="245574" y="7144"/>
                    </a:cubicBezTo>
                    <a:cubicBezTo>
                      <a:pt x="210588" y="41891"/>
                      <a:pt x="175403" y="59531"/>
                      <a:pt x="140980" y="59531"/>
                    </a:cubicBezTo>
                    <a:cubicBezTo>
                      <a:pt x="137436" y="59531"/>
                      <a:pt x="133902" y="59322"/>
                      <a:pt x="130397" y="58998"/>
                    </a:cubicBezTo>
                    <a:cubicBezTo>
                      <a:pt x="128407" y="58855"/>
                      <a:pt x="126425" y="58331"/>
                      <a:pt x="124549" y="57998"/>
                    </a:cubicBezTo>
                    <a:lnTo>
                      <a:pt x="124549" y="345929"/>
                    </a:lnTo>
                    <a:lnTo>
                      <a:pt x="16193" y="345929"/>
                    </a:lnTo>
                    <a:cubicBezTo>
                      <a:pt x="11106" y="345929"/>
                      <a:pt x="7144" y="349891"/>
                      <a:pt x="7144" y="355121"/>
                    </a:cubicBezTo>
                    <a:cubicBezTo>
                      <a:pt x="7144" y="359950"/>
                      <a:pt x="11106" y="364274"/>
                      <a:pt x="16193" y="364274"/>
                    </a:cubicBezTo>
                    <a:lnTo>
                      <a:pt x="900236" y="364274"/>
                    </a:lnTo>
                    <a:cubicBezTo>
                      <a:pt x="905313" y="364274"/>
                      <a:pt x="909523" y="359950"/>
                      <a:pt x="909523" y="355121"/>
                    </a:cubicBezTo>
                    <a:cubicBezTo>
                      <a:pt x="909523" y="349910"/>
                      <a:pt x="905323" y="345967"/>
                      <a:pt x="900246" y="345967"/>
                    </a:cubicBezTo>
                    <a:close/>
                    <a:moveTo>
                      <a:pt x="166821" y="236706"/>
                    </a:moveTo>
                    <a:lnTo>
                      <a:pt x="166821" y="218294"/>
                    </a:lnTo>
                    <a:lnTo>
                      <a:pt x="166821" y="102127"/>
                    </a:lnTo>
                    <a:cubicBezTo>
                      <a:pt x="166916" y="97403"/>
                      <a:pt x="168907" y="85258"/>
                      <a:pt x="184671" y="85258"/>
                    </a:cubicBezTo>
                    <a:lnTo>
                      <a:pt x="550964" y="85258"/>
                    </a:lnTo>
                    <a:cubicBezTo>
                      <a:pt x="556384" y="85658"/>
                      <a:pt x="566633" y="88659"/>
                      <a:pt x="566633" y="104975"/>
                    </a:cubicBezTo>
                    <a:lnTo>
                      <a:pt x="566633" y="218294"/>
                    </a:lnTo>
                    <a:lnTo>
                      <a:pt x="566633" y="236706"/>
                    </a:lnTo>
                    <a:lnTo>
                      <a:pt x="566633" y="246545"/>
                    </a:lnTo>
                    <a:cubicBezTo>
                      <a:pt x="566633" y="246545"/>
                      <a:pt x="566633" y="264833"/>
                      <a:pt x="548650" y="264833"/>
                    </a:cubicBezTo>
                    <a:lnTo>
                      <a:pt x="186004" y="264833"/>
                    </a:lnTo>
                    <a:cubicBezTo>
                      <a:pt x="168459" y="264833"/>
                      <a:pt x="166907" y="252384"/>
                      <a:pt x="166811" y="248745"/>
                    </a:cubicBezTo>
                    <a:lnTo>
                      <a:pt x="166811" y="236706"/>
                    </a:lnTo>
                    <a:close/>
                    <a:moveTo>
                      <a:pt x="733187" y="345967"/>
                    </a:moveTo>
                    <a:lnTo>
                      <a:pt x="733187" y="103556"/>
                    </a:lnTo>
                    <a:lnTo>
                      <a:pt x="617010" y="103556"/>
                    </a:lnTo>
                    <a:lnTo>
                      <a:pt x="617010" y="345967"/>
                    </a:lnTo>
                    <a:lnTo>
                      <a:pt x="598608" y="345967"/>
                    </a:lnTo>
                    <a:lnTo>
                      <a:pt x="598608" y="112728"/>
                    </a:lnTo>
                    <a:cubicBezTo>
                      <a:pt x="598608" y="89668"/>
                      <a:pt x="609952" y="85801"/>
                      <a:pt x="615601" y="85258"/>
                    </a:cubicBezTo>
                    <a:lnTo>
                      <a:pt x="732882" y="85258"/>
                    </a:lnTo>
                    <a:cubicBezTo>
                      <a:pt x="732882" y="85258"/>
                      <a:pt x="751513" y="84468"/>
                      <a:pt x="751513" y="108976"/>
                    </a:cubicBezTo>
                    <a:lnTo>
                      <a:pt x="751513" y="345967"/>
                    </a:lnTo>
                    <a:lnTo>
                      <a:pt x="733187" y="345967"/>
                    </a:lnTo>
                    <a:close/>
                    <a:moveTo>
                      <a:pt x="630803" y="233629"/>
                    </a:moveTo>
                    <a:cubicBezTo>
                      <a:pt x="630803" y="225352"/>
                      <a:pt x="637432" y="218646"/>
                      <a:pt x="645919" y="218646"/>
                    </a:cubicBezTo>
                    <a:cubicBezTo>
                      <a:pt x="654196" y="218646"/>
                      <a:pt x="660940" y="225352"/>
                      <a:pt x="660940" y="233629"/>
                    </a:cubicBezTo>
                    <a:cubicBezTo>
                      <a:pt x="660940" y="241916"/>
                      <a:pt x="654196" y="248745"/>
                      <a:pt x="645919" y="248745"/>
                    </a:cubicBezTo>
                    <a:cubicBezTo>
                      <a:pt x="637451" y="248745"/>
                      <a:pt x="630803" y="241916"/>
                      <a:pt x="630803" y="23362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3" name="Freeform: Shape 132">
                <a:extLst>
                  <a:ext uri="{FF2B5EF4-FFF2-40B4-BE49-F238E27FC236}">
                    <a16:creationId xmlns:a16="http://schemas.microsoft.com/office/drawing/2014/main" id="{C426F0EE-39A2-4C29-95AD-4985EBD089C1}"/>
                  </a:ext>
                </a:extLst>
              </p:cNvPr>
              <p:cNvSpPr/>
              <p:nvPr/>
            </p:nvSpPr>
            <p:spPr>
              <a:xfrm>
                <a:off x="3483262" y="2019417"/>
                <a:ext cx="180975" cy="47625"/>
              </a:xfrm>
              <a:custGeom>
                <a:avLst/>
                <a:gdLst/>
                <a:ahLst/>
                <a:cxnLst/>
                <a:rect l="0" t="0" r="0" b="0"/>
                <a:pathLst>
                  <a:path w="180975" h="47625">
                    <a:moveTo>
                      <a:pt x="90764" y="48939"/>
                    </a:moveTo>
                    <a:cubicBezTo>
                      <a:pt x="121558" y="50073"/>
                      <a:pt x="150343" y="35938"/>
                      <a:pt x="178794" y="7144"/>
                    </a:cubicBezTo>
                    <a:lnTo>
                      <a:pt x="7144" y="7144"/>
                    </a:lnTo>
                    <a:cubicBezTo>
                      <a:pt x="23270" y="23470"/>
                      <a:pt x="53483" y="47511"/>
                      <a:pt x="90764"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4" name="Freeform: Shape 133">
                <a:extLst>
                  <a:ext uri="{FF2B5EF4-FFF2-40B4-BE49-F238E27FC236}">
                    <a16:creationId xmlns:a16="http://schemas.microsoft.com/office/drawing/2014/main" id="{C9799981-E490-4C56-BD8D-F16443085C6B}"/>
                  </a:ext>
                </a:extLst>
              </p:cNvPr>
              <p:cNvSpPr/>
              <p:nvPr/>
            </p:nvSpPr>
            <p:spPr>
              <a:xfrm>
                <a:off x="3476523" y="1717208"/>
                <a:ext cx="200025" cy="295275"/>
              </a:xfrm>
              <a:custGeom>
                <a:avLst/>
                <a:gdLst/>
                <a:ahLst/>
                <a:cxnLst/>
                <a:rect l="0" t="0" r="0" b="0"/>
                <a:pathLst>
                  <a:path w="200025" h="295275">
                    <a:moveTo>
                      <a:pt x="21608" y="290913"/>
                    </a:moveTo>
                    <a:lnTo>
                      <a:pt x="184466" y="290913"/>
                    </a:lnTo>
                    <a:cubicBezTo>
                      <a:pt x="184466" y="290913"/>
                      <a:pt x="197258" y="287255"/>
                      <a:pt x="197258" y="274920"/>
                    </a:cubicBezTo>
                    <a:lnTo>
                      <a:pt x="197258" y="29556"/>
                    </a:lnTo>
                    <a:cubicBezTo>
                      <a:pt x="196953" y="22698"/>
                      <a:pt x="194724" y="7144"/>
                      <a:pt x="179494" y="7144"/>
                    </a:cubicBezTo>
                    <a:lnTo>
                      <a:pt x="70719" y="7144"/>
                    </a:lnTo>
                    <a:cubicBezTo>
                      <a:pt x="66308" y="7696"/>
                      <a:pt x="57803" y="11563"/>
                      <a:pt x="53850" y="32852"/>
                    </a:cubicBezTo>
                    <a:lnTo>
                      <a:pt x="7177" y="276911"/>
                    </a:lnTo>
                    <a:cubicBezTo>
                      <a:pt x="7158" y="276911"/>
                      <a:pt x="5853" y="290913"/>
                      <a:pt x="21608" y="290913"/>
                    </a:cubicBezTo>
                    <a:close/>
                    <a:moveTo>
                      <a:pt x="69395" y="38491"/>
                    </a:moveTo>
                    <a:cubicBezTo>
                      <a:pt x="70023" y="34414"/>
                      <a:pt x="74014" y="31661"/>
                      <a:pt x="78110" y="32433"/>
                    </a:cubicBezTo>
                    <a:cubicBezTo>
                      <a:pt x="82282" y="33204"/>
                      <a:pt x="84949" y="37176"/>
                      <a:pt x="84301" y="41138"/>
                    </a:cubicBezTo>
                    <a:lnTo>
                      <a:pt x="55412" y="202016"/>
                    </a:lnTo>
                    <a:cubicBezTo>
                      <a:pt x="54621" y="206197"/>
                      <a:pt x="50659" y="208740"/>
                      <a:pt x="46573" y="208074"/>
                    </a:cubicBezTo>
                    <a:cubicBezTo>
                      <a:pt x="42505" y="207416"/>
                      <a:pt x="39724" y="203340"/>
                      <a:pt x="40515" y="199253"/>
                    </a:cubicBezTo>
                    <a:lnTo>
                      <a:pt x="69395" y="38491"/>
                    </a:lnTo>
                    <a:close/>
                    <a:moveTo>
                      <a:pt x="36400" y="221523"/>
                    </a:moveTo>
                    <a:cubicBezTo>
                      <a:pt x="37276" y="217332"/>
                      <a:pt x="41134" y="214579"/>
                      <a:pt x="45220" y="215332"/>
                    </a:cubicBezTo>
                    <a:cubicBezTo>
                      <a:pt x="49297" y="216094"/>
                      <a:pt x="52173" y="220085"/>
                      <a:pt x="51297" y="224266"/>
                    </a:cubicBezTo>
                    <a:lnTo>
                      <a:pt x="48192" y="242021"/>
                    </a:lnTo>
                    <a:cubicBezTo>
                      <a:pt x="47430" y="246002"/>
                      <a:pt x="43477" y="248755"/>
                      <a:pt x="39400" y="248117"/>
                    </a:cubicBezTo>
                    <a:cubicBezTo>
                      <a:pt x="35200" y="247326"/>
                      <a:pt x="32552" y="243478"/>
                      <a:pt x="33209" y="239297"/>
                    </a:cubicBezTo>
                    <a:lnTo>
                      <a:pt x="36400" y="221523"/>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5" name="Freeform: Shape 134">
                <a:extLst>
                  <a:ext uri="{FF2B5EF4-FFF2-40B4-BE49-F238E27FC236}">
                    <a16:creationId xmlns:a16="http://schemas.microsoft.com/office/drawing/2014/main" id="{EBEB99F4-6F6E-42E2-A7A1-DDCEA4109664}"/>
                  </a:ext>
                </a:extLst>
              </p:cNvPr>
              <p:cNvSpPr/>
              <p:nvPr/>
            </p:nvSpPr>
            <p:spPr>
              <a:xfrm>
                <a:off x="3280367" y="1717227"/>
                <a:ext cx="238125" cy="295275"/>
              </a:xfrm>
              <a:custGeom>
                <a:avLst/>
                <a:gdLst/>
                <a:ahLst/>
                <a:cxnLst/>
                <a:rect l="0" t="0" r="0" b="0"/>
                <a:pathLst>
                  <a:path w="238125" h="295275">
                    <a:moveTo>
                      <a:pt x="25368" y="290894"/>
                    </a:moveTo>
                    <a:lnTo>
                      <a:pt x="169681" y="290894"/>
                    </a:lnTo>
                    <a:cubicBezTo>
                      <a:pt x="169681" y="290894"/>
                      <a:pt x="181816" y="291656"/>
                      <a:pt x="184807" y="276892"/>
                    </a:cubicBezTo>
                    <a:lnTo>
                      <a:pt x="232803" y="25127"/>
                    </a:lnTo>
                    <a:cubicBezTo>
                      <a:pt x="232803" y="24689"/>
                      <a:pt x="234223" y="7810"/>
                      <a:pt x="218678" y="7144"/>
                    </a:cubicBezTo>
                    <a:lnTo>
                      <a:pt x="123485" y="7144"/>
                    </a:lnTo>
                    <a:cubicBezTo>
                      <a:pt x="118932" y="7144"/>
                      <a:pt x="106273" y="8573"/>
                      <a:pt x="101978" y="20288"/>
                    </a:cubicBezTo>
                    <a:lnTo>
                      <a:pt x="7299" y="280521"/>
                    </a:lnTo>
                    <a:cubicBezTo>
                      <a:pt x="6499" y="284845"/>
                      <a:pt x="8261" y="290894"/>
                      <a:pt x="25368" y="290894"/>
                    </a:cubicBezTo>
                    <a:close/>
                    <a:moveTo>
                      <a:pt x="113722" y="37700"/>
                    </a:moveTo>
                    <a:cubicBezTo>
                      <a:pt x="114941" y="33728"/>
                      <a:pt x="119151" y="31318"/>
                      <a:pt x="123104" y="32518"/>
                    </a:cubicBezTo>
                    <a:cubicBezTo>
                      <a:pt x="127181" y="33823"/>
                      <a:pt x="129400" y="37929"/>
                      <a:pt x="128286" y="41881"/>
                    </a:cubicBezTo>
                    <a:lnTo>
                      <a:pt x="81184" y="198453"/>
                    </a:lnTo>
                    <a:cubicBezTo>
                      <a:pt x="80060" y="202416"/>
                      <a:pt x="75669" y="204740"/>
                      <a:pt x="71669" y="203521"/>
                    </a:cubicBezTo>
                    <a:cubicBezTo>
                      <a:pt x="67707" y="202216"/>
                      <a:pt x="65478" y="198130"/>
                      <a:pt x="66611" y="194139"/>
                    </a:cubicBezTo>
                    <a:lnTo>
                      <a:pt x="113722" y="37700"/>
                    </a:lnTo>
                    <a:close/>
                    <a:moveTo>
                      <a:pt x="60239" y="215646"/>
                    </a:moveTo>
                    <a:cubicBezTo>
                      <a:pt x="61344" y="211579"/>
                      <a:pt x="65516" y="209464"/>
                      <a:pt x="69716" y="210569"/>
                    </a:cubicBezTo>
                    <a:cubicBezTo>
                      <a:pt x="73688" y="211788"/>
                      <a:pt x="75908" y="216075"/>
                      <a:pt x="74679" y="220075"/>
                    </a:cubicBezTo>
                    <a:lnTo>
                      <a:pt x="69497" y="237373"/>
                    </a:lnTo>
                    <a:cubicBezTo>
                      <a:pt x="68269" y="241364"/>
                      <a:pt x="64068" y="243669"/>
                      <a:pt x="60106" y="242459"/>
                    </a:cubicBezTo>
                    <a:cubicBezTo>
                      <a:pt x="55915" y="241230"/>
                      <a:pt x="53724" y="237030"/>
                      <a:pt x="54934" y="233086"/>
                    </a:cubicBezTo>
                    <a:lnTo>
                      <a:pt x="60239" y="215646"/>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6" name="Freeform: Shape 135">
                <a:extLst>
                  <a:ext uri="{FF2B5EF4-FFF2-40B4-BE49-F238E27FC236}">
                    <a16:creationId xmlns:a16="http://schemas.microsoft.com/office/drawing/2014/main" id="{F37AFEFB-BEC4-4282-BD3C-2CB9EE9F7A39}"/>
                  </a:ext>
                </a:extLst>
              </p:cNvPr>
              <p:cNvSpPr/>
              <p:nvPr/>
            </p:nvSpPr>
            <p:spPr>
              <a:xfrm>
                <a:off x="3282275" y="2019398"/>
                <a:ext cx="171450" cy="47625"/>
              </a:xfrm>
              <a:custGeom>
                <a:avLst/>
                <a:gdLst/>
                <a:ahLst/>
                <a:cxnLst/>
                <a:rect l="0" t="0" r="0" b="0"/>
                <a:pathLst>
                  <a:path w="171450" h="47625">
                    <a:moveTo>
                      <a:pt x="73885" y="45110"/>
                    </a:moveTo>
                    <a:cubicBezTo>
                      <a:pt x="103251" y="48168"/>
                      <a:pt x="133798" y="35281"/>
                      <a:pt x="165125" y="7144"/>
                    </a:cubicBezTo>
                    <a:lnTo>
                      <a:pt x="7144" y="7144"/>
                    </a:lnTo>
                    <a:cubicBezTo>
                      <a:pt x="19698" y="21374"/>
                      <a:pt x="42872" y="42015"/>
                      <a:pt x="73885"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7" name="Freeform: Shape 136">
                <a:extLst>
                  <a:ext uri="{FF2B5EF4-FFF2-40B4-BE49-F238E27FC236}">
                    <a16:creationId xmlns:a16="http://schemas.microsoft.com/office/drawing/2014/main" id="{E74BC8A8-41A1-446E-9F3A-3FF0D0E08F31}"/>
                  </a:ext>
                </a:extLst>
              </p:cNvPr>
              <p:cNvSpPr/>
              <p:nvPr/>
            </p:nvSpPr>
            <p:spPr>
              <a:xfrm>
                <a:off x="3684954" y="1717227"/>
                <a:ext cx="200025" cy="295275"/>
              </a:xfrm>
              <a:custGeom>
                <a:avLst/>
                <a:gdLst/>
                <a:ahLst/>
                <a:cxnLst/>
                <a:rect l="0" t="0" r="0" b="0"/>
                <a:pathLst>
                  <a:path w="200025" h="295275">
                    <a:moveTo>
                      <a:pt x="25356" y="290894"/>
                    </a:moveTo>
                    <a:cubicBezTo>
                      <a:pt x="45091" y="290894"/>
                      <a:pt x="186214" y="290894"/>
                      <a:pt x="186214" y="290894"/>
                    </a:cubicBezTo>
                    <a:cubicBezTo>
                      <a:pt x="186214" y="290894"/>
                      <a:pt x="199234" y="288588"/>
                      <a:pt x="197129" y="277206"/>
                    </a:cubicBezTo>
                    <a:lnTo>
                      <a:pt x="197129" y="277111"/>
                    </a:lnTo>
                    <a:lnTo>
                      <a:pt x="148809" y="24032"/>
                    </a:lnTo>
                    <a:cubicBezTo>
                      <a:pt x="146628" y="16516"/>
                      <a:pt x="141646" y="7144"/>
                      <a:pt x="130388" y="7144"/>
                    </a:cubicBezTo>
                    <a:lnTo>
                      <a:pt x="20717" y="7144"/>
                    </a:lnTo>
                    <a:cubicBezTo>
                      <a:pt x="16202" y="7582"/>
                      <a:pt x="7144" y="11449"/>
                      <a:pt x="7144" y="32966"/>
                    </a:cubicBezTo>
                    <a:lnTo>
                      <a:pt x="7144" y="276025"/>
                    </a:lnTo>
                    <a:cubicBezTo>
                      <a:pt x="7144" y="279635"/>
                      <a:pt x="8687" y="290894"/>
                      <a:pt x="25356" y="290894"/>
                    </a:cubicBezTo>
                    <a:close/>
                    <a:moveTo>
                      <a:pt x="28651" y="249755"/>
                    </a:moveTo>
                    <a:cubicBezTo>
                      <a:pt x="24574" y="249755"/>
                      <a:pt x="21174" y="246440"/>
                      <a:pt x="21174" y="242364"/>
                    </a:cubicBezTo>
                    <a:lnTo>
                      <a:pt x="21174" y="224066"/>
                    </a:lnTo>
                    <a:cubicBezTo>
                      <a:pt x="21174" y="219989"/>
                      <a:pt x="24441" y="216665"/>
                      <a:pt x="28651" y="216560"/>
                    </a:cubicBezTo>
                    <a:cubicBezTo>
                      <a:pt x="32833" y="216665"/>
                      <a:pt x="36376" y="219980"/>
                      <a:pt x="36281" y="224066"/>
                    </a:cubicBezTo>
                    <a:lnTo>
                      <a:pt x="36376" y="242154"/>
                    </a:lnTo>
                    <a:cubicBezTo>
                      <a:pt x="36376" y="246440"/>
                      <a:pt x="32966" y="249755"/>
                      <a:pt x="28651" y="249755"/>
                    </a:cubicBezTo>
                    <a:close/>
                    <a:moveTo>
                      <a:pt x="28442" y="30642"/>
                    </a:moveTo>
                    <a:cubicBezTo>
                      <a:pt x="32614" y="30642"/>
                      <a:pt x="35938" y="34052"/>
                      <a:pt x="35938" y="38252"/>
                    </a:cubicBezTo>
                    <a:lnTo>
                      <a:pt x="36281" y="201530"/>
                    </a:lnTo>
                    <a:cubicBezTo>
                      <a:pt x="36281" y="205730"/>
                      <a:pt x="32842" y="209140"/>
                      <a:pt x="28651" y="209140"/>
                    </a:cubicBezTo>
                    <a:cubicBezTo>
                      <a:pt x="24441" y="209140"/>
                      <a:pt x="21174" y="205730"/>
                      <a:pt x="21174" y="201530"/>
                    </a:cubicBezTo>
                    <a:lnTo>
                      <a:pt x="20907" y="38252"/>
                    </a:lnTo>
                    <a:cubicBezTo>
                      <a:pt x="20688" y="34052"/>
                      <a:pt x="24136" y="30642"/>
                      <a:pt x="28442" y="30642"/>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8" name="Freeform: Shape 137">
                <a:extLst>
                  <a:ext uri="{FF2B5EF4-FFF2-40B4-BE49-F238E27FC236}">
                    <a16:creationId xmlns:a16="http://schemas.microsoft.com/office/drawing/2014/main" id="{6449E8C1-044C-44D6-BDB1-72AA76AD0479}"/>
                  </a:ext>
                </a:extLst>
              </p:cNvPr>
              <p:cNvSpPr/>
              <p:nvPr/>
            </p:nvSpPr>
            <p:spPr>
              <a:xfrm>
                <a:off x="3696526" y="2019417"/>
                <a:ext cx="180975" cy="47625"/>
              </a:xfrm>
              <a:custGeom>
                <a:avLst/>
                <a:gdLst/>
                <a:ahLst/>
                <a:cxnLst/>
                <a:rect l="0" t="0" r="0" b="0"/>
                <a:pathLst>
                  <a:path w="180975" h="47625">
                    <a:moveTo>
                      <a:pt x="95183" y="48939"/>
                    </a:moveTo>
                    <a:cubicBezTo>
                      <a:pt x="132474" y="47520"/>
                      <a:pt x="162697" y="23460"/>
                      <a:pt x="178803" y="7144"/>
                    </a:cubicBezTo>
                    <a:lnTo>
                      <a:pt x="7144" y="7144"/>
                    </a:lnTo>
                    <a:cubicBezTo>
                      <a:pt x="35519" y="35928"/>
                      <a:pt x="64637" y="50063"/>
                      <a:pt x="95183"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39" name="Freeform: Shape 138">
                <a:extLst>
                  <a:ext uri="{FF2B5EF4-FFF2-40B4-BE49-F238E27FC236}">
                    <a16:creationId xmlns:a16="http://schemas.microsoft.com/office/drawing/2014/main" id="{41B6BB64-C8D8-422B-B7A5-3A6F90CA498F}"/>
                  </a:ext>
                </a:extLst>
              </p:cNvPr>
              <p:cNvSpPr/>
              <p:nvPr/>
            </p:nvSpPr>
            <p:spPr>
              <a:xfrm>
                <a:off x="3845757" y="1717237"/>
                <a:ext cx="228600" cy="295275"/>
              </a:xfrm>
              <a:custGeom>
                <a:avLst/>
                <a:gdLst/>
                <a:ahLst/>
                <a:cxnLst/>
                <a:rect l="0" t="0" r="0" b="0"/>
                <a:pathLst>
                  <a:path w="228600" h="295275">
                    <a:moveTo>
                      <a:pt x="54748" y="275444"/>
                    </a:moveTo>
                    <a:cubicBezTo>
                      <a:pt x="54748" y="275796"/>
                      <a:pt x="57729" y="290903"/>
                      <a:pt x="76589" y="290903"/>
                    </a:cubicBezTo>
                    <a:lnTo>
                      <a:pt x="218378" y="290903"/>
                    </a:lnTo>
                    <a:cubicBezTo>
                      <a:pt x="218378" y="290903"/>
                      <a:pt x="236380" y="291665"/>
                      <a:pt x="227407" y="266852"/>
                    </a:cubicBezTo>
                    <a:lnTo>
                      <a:pt x="138815" y="23365"/>
                    </a:lnTo>
                    <a:cubicBezTo>
                      <a:pt x="138815" y="23365"/>
                      <a:pt x="138815" y="23365"/>
                      <a:pt x="138692" y="23365"/>
                    </a:cubicBezTo>
                    <a:cubicBezTo>
                      <a:pt x="134167" y="10687"/>
                      <a:pt x="126452" y="7696"/>
                      <a:pt x="121728" y="7144"/>
                    </a:cubicBezTo>
                    <a:lnTo>
                      <a:pt x="16000" y="7144"/>
                    </a:lnTo>
                    <a:cubicBezTo>
                      <a:pt x="11733" y="7582"/>
                      <a:pt x="4303" y="11449"/>
                      <a:pt x="8275" y="32966"/>
                    </a:cubicBezTo>
                    <a:lnTo>
                      <a:pt x="54748" y="275444"/>
                    </a:lnTo>
                    <a:close/>
                    <a:moveTo>
                      <a:pt x="77265" y="221275"/>
                    </a:moveTo>
                    <a:lnTo>
                      <a:pt x="80665" y="239058"/>
                    </a:lnTo>
                    <a:cubicBezTo>
                      <a:pt x="81446" y="243145"/>
                      <a:pt x="78694" y="246993"/>
                      <a:pt x="74607" y="247783"/>
                    </a:cubicBezTo>
                    <a:cubicBezTo>
                      <a:pt x="70407" y="248669"/>
                      <a:pt x="66444" y="246012"/>
                      <a:pt x="65673" y="241935"/>
                    </a:cubicBezTo>
                    <a:lnTo>
                      <a:pt x="62349" y="224047"/>
                    </a:lnTo>
                    <a:cubicBezTo>
                      <a:pt x="61577" y="219980"/>
                      <a:pt x="64349" y="216094"/>
                      <a:pt x="68435" y="215227"/>
                    </a:cubicBezTo>
                    <a:cubicBezTo>
                      <a:pt x="72483" y="214436"/>
                      <a:pt x="76493" y="217170"/>
                      <a:pt x="77265" y="221275"/>
                    </a:cubicBezTo>
                    <a:close/>
                    <a:moveTo>
                      <a:pt x="33678" y="32509"/>
                    </a:moveTo>
                    <a:cubicBezTo>
                      <a:pt x="37755" y="31728"/>
                      <a:pt x="41727" y="34500"/>
                      <a:pt x="42613" y="38681"/>
                    </a:cubicBezTo>
                    <a:lnTo>
                      <a:pt x="73055" y="199082"/>
                    </a:lnTo>
                    <a:cubicBezTo>
                      <a:pt x="73693" y="203159"/>
                      <a:pt x="71074" y="207226"/>
                      <a:pt x="66978" y="207893"/>
                    </a:cubicBezTo>
                    <a:cubicBezTo>
                      <a:pt x="62901" y="208683"/>
                      <a:pt x="58939" y="205911"/>
                      <a:pt x="58148" y="201949"/>
                    </a:cubicBezTo>
                    <a:lnTo>
                      <a:pt x="27573" y="41415"/>
                    </a:lnTo>
                    <a:cubicBezTo>
                      <a:pt x="26925" y="37481"/>
                      <a:pt x="29583" y="33395"/>
                      <a:pt x="33678" y="3250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40" name="Freeform: Shape 139">
                <a:extLst>
                  <a:ext uri="{FF2B5EF4-FFF2-40B4-BE49-F238E27FC236}">
                    <a16:creationId xmlns:a16="http://schemas.microsoft.com/office/drawing/2014/main" id="{938D456F-BD9D-4969-977E-3084865B6013}"/>
                  </a:ext>
                </a:extLst>
              </p:cNvPr>
              <p:cNvSpPr/>
              <p:nvPr/>
            </p:nvSpPr>
            <p:spPr>
              <a:xfrm>
                <a:off x="3568493" y="2117706"/>
                <a:ext cx="27432" cy="154330"/>
              </a:xfrm>
              <a:custGeom>
                <a:avLst/>
                <a:gdLst/>
                <a:ahLst/>
                <a:cxnLst/>
                <a:rect l="0" t="0" r="0" b="0"/>
                <a:pathLst>
                  <a:path w="180975" h="123825">
                    <a:moveTo>
                      <a:pt x="7144" y="7144"/>
                    </a:moveTo>
                    <a:lnTo>
                      <a:pt x="179365" y="7144"/>
                    </a:lnTo>
                    <a:lnTo>
                      <a:pt x="179365" y="121891"/>
                    </a:lnTo>
                    <a:lnTo>
                      <a:pt x="7144" y="121891"/>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41" name="Freeform: Shape 140">
                <a:extLst>
                  <a:ext uri="{FF2B5EF4-FFF2-40B4-BE49-F238E27FC236}">
                    <a16:creationId xmlns:a16="http://schemas.microsoft.com/office/drawing/2014/main" id="{AAD4904F-3AC8-42CC-9C2C-8E323B028987}"/>
                  </a:ext>
                </a:extLst>
              </p:cNvPr>
              <p:cNvSpPr/>
              <p:nvPr/>
            </p:nvSpPr>
            <p:spPr>
              <a:xfrm>
                <a:off x="3911096" y="2019398"/>
                <a:ext cx="171450" cy="47625"/>
              </a:xfrm>
              <a:custGeom>
                <a:avLst/>
                <a:gdLst/>
                <a:ahLst/>
                <a:cxnLst/>
                <a:rect l="0" t="0" r="0" b="0"/>
                <a:pathLst>
                  <a:path w="171450" h="47625">
                    <a:moveTo>
                      <a:pt x="98412" y="45110"/>
                    </a:moveTo>
                    <a:cubicBezTo>
                      <a:pt x="129530" y="42015"/>
                      <a:pt x="152657" y="21374"/>
                      <a:pt x="165259" y="7144"/>
                    </a:cubicBezTo>
                    <a:lnTo>
                      <a:pt x="7144" y="7144"/>
                    </a:lnTo>
                    <a:cubicBezTo>
                      <a:pt x="38586" y="35281"/>
                      <a:pt x="69275" y="48168"/>
                      <a:pt x="98412"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grpSp>
      </p:grpSp>
      <p:sp>
        <p:nvSpPr>
          <p:cNvPr id="2" name="Title 1">
            <a:extLst>
              <a:ext uri="{FF2B5EF4-FFF2-40B4-BE49-F238E27FC236}">
                <a16:creationId xmlns:a16="http://schemas.microsoft.com/office/drawing/2014/main" id="{87AD9FCD-915E-4F4E-B9C4-876833923C61}"/>
              </a:ext>
            </a:extLst>
          </p:cNvPr>
          <p:cNvSpPr>
            <a:spLocks noGrp="1"/>
          </p:cNvSpPr>
          <p:nvPr>
            <p:ph type="title"/>
          </p:nvPr>
        </p:nvSpPr>
        <p:spPr>
          <a:xfrm>
            <a:off x="586740" y="503758"/>
            <a:ext cx="11018520" cy="553998"/>
          </a:xfrm>
        </p:spPr>
        <p:txBody>
          <a:bodyPr>
            <a:noAutofit/>
          </a:bodyPr>
          <a:lstStyle/>
          <a:p>
            <a:r>
              <a:rPr lang="en-US" sz="2600"/>
              <a:t>How Dynamics 365 Fraud Protection with loss prevention capability works?</a:t>
            </a:r>
          </a:p>
        </p:txBody>
      </p:sp>
      <p:sp>
        <p:nvSpPr>
          <p:cNvPr id="62" name="Rectangle 61">
            <a:extLst>
              <a:ext uri="{FF2B5EF4-FFF2-40B4-BE49-F238E27FC236}">
                <a16:creationId xmlns:a16="http://schemas.microsoft.com/office/drawing/2014/main" id="{08D65DF6-6E21-4C59-9D8B-1103E22890E1}"/>
              </a:ext>
            </a:extLst>
          </p:cNvPr>
          <p:cNvSpPr/>
          <p:nvPr/>
        </p:nvSpPr>
        <p:spPr bwMode="auto">
          <a:xfrm>
            <a:off x="3009525" y="1465485"/>
            <a:ext cx="3142396" cy="3113314"/>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fontAlgn="base"/>
            <a:endParaRPr lang="en-US" sz="1100" b="1" kern="0">
              <a:latin typeface="+mj-lt"/>
            </a:endParaRPr>
          </a:p>
        </p:txBody>
      </p:sp>
      <p:sp>
        <p:nvSpPr>
          <p:cNvPr id="63" name="Rectangle 62">
            <a:extLst>
              <a:ext uri="{FF2B5EF4-FFF2-40B4-BE49-F238E27FC236}">
                <a16:creationId xmlns:a16="http://schemas.microsoft.com/office/drawing/2014/main" id="{6A97C628-A900-4E39-A95D-122F8C5672D6}"/>
              </a:ext>
            </a:extLst>
          </p:cNvPr>
          <p:cNvSpPr/>
          <p:nvPr/>
        </p:nvSpPr>
        <p:spPr bwMode="auto">
          <a:xfrm>
            <a:off x="8477641" y="1465485"/>
            <a:ext cx="3142396" cy="3113314"/>
          </a:xfrm>
          <a:prstGeom prst="rect">
            <a:avLst/>
          </a:prstGeom>
          <a:noFill/>
          <a:ln w="12700" cap="flat" cmpd="sng" algn="ctr">
            <a:solidFill>
              <a:schemeClr val="bg1">
                <a:lumMod val="85000"/>
              </a:schemeClr>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fontAlgn="base"/>
            <a:endParaRPr lang="en-US" sz="1100" b="1" kern="0">
              <a:latin typeface="+mj-lt"/>
            </a:endParaRPr>
          </a:p>
        </p:txBody>
      </p:sp>
      <p:sp>
        <p:nvSpPr>
          <p:cNvPr id="64" name="TextBox 63">
            <a:extLst>
              <a:ext uri="{FF2B5EF4-FFF2-40B4-BE49-F238E27FC236}">
                <a16:creationId xmlns:a16="http://schemas.microsoft.com/office/drawing/2014/main" id="{90F6FEE3-9044-4E86-B0EC-B8BB1575405A}"/>
              </a:ext>
            </a:extLst>
          </p:cNvPr>
          <p:cNvSpPr txBox="1"/>
          <p:nvPr/>
        </p:nvSpPr>
        <p:spPr>
          <a:xfrm>
            <a:off x="588263" y="3182778"/>
            <a:ext cx="1638624" cy="492443"/>
          </a:xfrm>
          <a:prstGeom prst="rect">
            <a:avLst/>
          </a:prstGeom>
          <a:noFill/>
        </p:spPr>
        <p:txBody>
          <a:bodyPr wrap="square" lIns="0" tIns="0" rIns="0" bIns="0"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panose="020B0502040204020203" pitchFamily="34" charset="0"/>
                <a:cs typeface="Segoe UI" panose="020B0502040204020203" pitchFamily="34" charset="0"/>
              </a:rPr>
              <a:t>Returns &amp;</a:t>
            </a:r>
            <a:br>
              <a:rPr lang="en-US" sz="1600">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Discounts</a:t>
            </a:r>
          </a:p>
        </p:txBody>
      </p:sp>
      <p:sp>
        <p:nvSpPr>
          <p:cNvPr id="65" name="TextBox 64">
            <a:extLst>
              <a:ext uri="{FF2B5EF4-FFF2-40B4-BE49-F238E27FC236}">
                <a16:creationId xmlns:a16="http://schemas.microsoft.com/office/drawing/2014/main" id="{517048DC-4905-47B0-AE8D-18446A208B6E}"/>
              </a:ext>
            </a:extLst>
          </p:cNvPr>
          <p:cNvSpPr txBox="1"/>
          <p:nvPr/>
        </p:nvSpPr>
        <p:spPr>
          <a:xfrm>
            <a:off x="612231" y="1200257"/>
            <a:ext cx="1638624" cy="492443"/>
          </a:xfrm>
          <a:prstGeom prst="rect">
            <a:avLst/>
          </a:prstGeom>
          <a:noFill/>
        </p:spPr>
        <p:txBody>
          <a:bodyPr wrap="square" lIns="0" tIns="0" rIns="0" bIns="0" rtlCol="0" anchor="ct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panose="020B0502040204020203" pitchFamily="34" charset="0"/>
                <a:cs typeface="Segoe UI" panose="020B0502040204020203" pitchFamily="34" charset="0"/>
              </a:rPr>
              <a:t>Merchant’s</a:t>
            </a:r>
            <a:br>
              <a:rPr lang="en-US" sz="1600">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customer</a:t>
            </a:r>
          </a:p>
        </p:txBody>
      </p:sp>
      <p:sp>
        <p:nvSpPr>
          <p:cNvPr id="67" name="Rectangle 66">
            <a:extLst>
              <a:ext uri="{FF2B5EF4-FFF2-40B4-BE49-F238E27FC236}">
                <a16:creationId xmlns:a16="http://schemas.microsoft.com/office/drawing/2014/main" id="{C917AB45-F889-4327-B3A5-A5BAF56DC6E7}"/>
              </a:ext>
            </a:extLst>
          </p:cNvPr>
          <p:cNvSpPr/>
          <p:nvPr/>
        </p:nvSpPr>
        <p:spPr bwMode="auto">
          <a:xfrm>
            <a:off x="3009525" y="5096346"/>
            <a:ext cx="3142396" cy="540143"/>
          </a:xfrm>
          <a:prstGeom prst="rect">
            <a:avLst/>
          </a:prstGeom>
          <a:noFill/>
          <a:ln w="1270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fontAlgn="base">
              <a:defRPr/>
            </a:pPr>
            <a:r>
              <a:rPr lang="en-US" sz="1600" b="1" kern="0">
                <a:latin typeface="+mj-lt"/>
              </a:rPr>
              <a:t>Fraud Investigation</a:t>
            </a:r>
          </a:p>
        </p:txBody>
      </p:sp>
      <p:cxnSp>
        <p:nvCxnSpPr>
          <p:cNvPr id="68" name="Connector: Elbow 67">
            <a:extLst>
              <a:ext uri="{FF2B5EF4-FFF2-40B4-BE49-F238E27FC236}">
                <a16:creationId xmlns:a16="http://schemas.microsoft.com/office/drawing/2014/main" id="{BC1CB755-476C-4ED2-AC86-358DC5FDB713}"/>
              </a:ext>
            </a:extLst>
          </p:cNvPr>
          <p:cNvCxnSpPr>
            <a:cxnSpLocks/>
            <a:stCxn id="62" idx="1"/>
            <a:endCxn id="158" idx="4"/>
          </p:cNvCxnSpPr>
          <p:nvPr/>
        </p:nvCxnSpPr>
        <p:spPr>
          <a:xfrm rot="10800000">
            <a:off x="1427679" y="2605546"/>
            <a:ext cx="1581846" cy="416597"/>
          </a:xfrm>
          <a:prstGeom prst="bentConnector2">
            <a:avLst/>
          </a:prstGeom>
          <a:noFill/>
          <a:ln w="19050" cap="flat" cmpd="sng" algn="ctr">
            <a:solidFill>
              <a:srgbClr val="1A1A1A"/>
            </a:solidFill>
            <a:prstDash val="solid"/>
            <a:headEnd type="triangle" w="lg" len="med"/>
            <a:tailEnd type="triangle" w="lg" len="med"/>
          </a:ln>
          <a:effectLst/>
        </p:spPr>
      </p:cxnSp>
      <p:cxnSp>
        <p:nvCxnSpPr>
          <p:cNvPr id="69" name="Straight Arrow Connector 68">
            <a:extLst>
              <a:ext uri="{FF2B5EF4-FFF2-40B4-BE49-F238E27FC236}">
                <a16:creationId xmlns:a16="http://schemas.microsoft.com/office/drawing/2014/main" id="{D4352AAF-BCE1-4F20-8721-5185E40D4D45}"/>
              </a:ext>
            </a:extLst>
          </p:cNvPr>
          <p:cNvCxnSpPr>
            <a:cxnSpLocks/>
          </p:cNvCxnSpPr>
          <p:nvPr/>
        </p:nvCxnSpPr>
        <p:spPr>
          <a:xfrm>
            <a:off x="6151921" y="2260142"/>
            <a:ext cx="2325720" cy="0"/>
          </a:xfrm>
          <a:prstGeom prst="straightConnector1">
            <a:avLst/>
          </a:prstGeom>
          <a:noFill/>
          <a:ln w="19050" cap="flat" cmpd="sng" algn="ctr">
            <a:solidFill>
              <a:srgbClr val="1A1A1A"/>
            </a:solidFill>
            <a:prstDash val="solid"/>
            <a:headEnd type="none"/>
            <a:tailEnd type="triangle" w="lg" len="med"/>
          </a:ln>
          <a:effectLst/>
        </p:spPr>
      </p:cxnSp>
      <p:cxnSp>
        <p:nvCxnSpPr>
          <p:cNvPr id="70" name="Straight Arrow Connector 69">
            <a:extLst>
              <a:ext uri="{FF2B5EF4-FFF2-40B4-BE49-F238E27FC236}">
                <a16:creationId xmlns:a16="http://schemas.microsoft.com/office/drawing/2014/main" id="{DBE7B64D-032A-4ED7-9590-9F3BD25DEE9B}"/>
              </a:ext>
            </a:extLst>
          </p:cNvPr>
          <p:cNvCxnSpPr>
            <a:cxnSpLocks/>
          </p:cNvCxnSpPr>
          <p:nvPr/>
        </p:nvCxnSpPr>
        <p:spPr>
          <a:xfrm flipH="1">
            <a:off x="6151921" y="3784142"/>
            <a:ext cx="2325720" cy="0"/>
          </a:xfrm>
          <a:prstGeom prst="straightConnector1">
            <a:avLst/>
          </a:prstGeom>
          <a:noFill/>
          <a:ln w="19050" cap="flat" cmpd="sng" algn="ctr">
            <a:solidFill>
              <a:srgbClr val="1A1A1A"/>
            </a:solidFill>
            <a:prstDash val="solid"/>
            <a:headEnd type="none" w="lg" len="med"/>
            <a:tailEnd type="triangle" w="lg" len="med"/>
          </a:ln>
          <a:effectLst/>
        </p:spPr>
      </p:cxnSp>
      <p:sp>
        <p:nvSpPr>
          <p:cNvPr id="71" name="TextBox 70">
            <a:extLst>
              <a:ext uri="{FF2B5EF4-FFF2-40B4-BE49-F238E27FC236}">
                <a16:creationId xmlns:a16="http://schemas.microsoft.com/office/drawing/2014/main" id="{0A12D97A-5EC2-468C-8965-89642F151061}"/>
              </a:ext>
            </a:extLst>
          </p:cNvPr>
          <p:cNvSpPr txBox="1"/>
          <p:nvPr/>
        </p:nvSpPr>
        <p:spPr>
          <a:xfrm>
            <a:off x="6400895" y="3471295"/>
            <a:ext cx="1763231" cy="625694"/>
          </a:xfrm>
          <a:prstGeom prst="rect">
            <a:avLst/>
          </a:prstGeom>
          <a:solidFill>
            <a:srgbClr val="30E5D0">
              <a:lumMod val="75000"/>
            </a:srgbClr>
          </a:solidFill>
          <a:ln>
            <a:noFill/>
          </a:ln>
        </p:spPr>
        <p:txBody>
          <a:bodyPr wrap="none" lIns="89617" tIns="44808" rIns="89617" bIns="44808"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solidFill>
                  <a:schemeClr val="bg1"/>
                </a:solidFill>
                <a:latin typeface="Segoe UI" panose="020B0502040204020203" pitchFamily="34" charset="0"/>
                <a:cs typeface="Segoe UI" panose="020B0502040204020203" pitchFamily="34" charset="0"/>
              </a:rPr>
              <a:t>Anomaly</a:t>
            </a:r>
            <a:br>
              <a:rPr lang="en-US" sz="1600">
                <a:solidFill>
                  <a:schemeClr val="bg1"/>
                </a:solidFill>
                <a:latin typeface="Segoe UI" panose="020B0502040204020203" pitchFamily="34" charset="0"/>
                <a:cs typeface="Segoe UI" panose="020B0502040204020203" pitchFamily="34" charset="0"/>
              </a:rPr>
            </a:br>
            <a:r>
              <a:rPr lang="en-US" sz="1600">
                <a:solidFill>
                  <a:schemeClr val="bg1"/>
                </a:solidFill>
                <a:latin typeface="Segoe UI" panose="020B0502040204020203" pitchFamily="34" charset="0"/>
                <a:cs typeface="Segoe UI" panose="020B0502040204020203" pitchFamily="34" charset="0"/>
              </a:rPr>
              <a:t>reporting</a:t>
            </a:r>
          </a:p>
        </p:txBody>
      </p:sp>
      <p:sp>
        <p:nvSpPr>
          <p:cNvPr id="72" name="TextBox 71">
            <a:extLst>
              <a:ext uri="{FF2B5EF4-FFF2-40B4-BE49-F238E27FC236}">
                <a16:creationId xmlns:a16="http://schemas.microsoft.com/office/drawing/2014/main" id="{819EE1B7-4B05-4B76-8249-6D0EC8CFFC78}"/>
              </a:ext>
            </a:extLst>
          </p:cNvPr>
          <p:cNvSpPr txBox="1"/>
          <p:nvPr/>
        </p:nvSpPr>
        <p:spPr>
          <a:xfrm>
            <a:off x="6400895" y="1948539"/>
            <a:ext cx="1763231" cy="625694"/>
          </a:xfrm>
          <a:prstGeom prst="rect">
            <a:avLst/>
          </a:prstGeom>
          <a:solidFill>
            <a:srgbClr val="30E5D0">
              <a:lumMod val="75000"/>
            </a:srgbClr>
          </a:solidFill>
          <a:ln>
            <a:noFill/>
          </a:ln>
        </p:spPr>
        <p:txBody>
          <a:bodyPr wrap="square" lIns="89617" tIns="44808" rIns="89617" bIns="44808"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solidFill>
                  <a:schemeClr val="bg1"/>
                </a:solidFill>
                <a:latin typeface="Segoe UI" panose="020B0502040204020203" pitchFamily="34" charset="0"/>
                <a:cs typeface="Segoe UI" panose="020B0502040204020203" pitchFamily="34" charset="0"/>
              </a:rPr>
              <a:t>Transaction &amp; sales data</a:t>
            </a:r>
          </a:p>
        </p:txBody>
      </p:sp>
      <p:sp>
        <p:nvSpPr>
          <p:cNvPr id="74" name="TextBox 73">
            <a:extLst>
              <a:ext uri="{FF2B5EF4-FFF2-40B4-BE49-F238E27FC236}">
                <a16:creationId xmlns:a16="http://schemas.microsoft.com/office/drawing/2014/main" id="{02167414-A857-4501-B077-ECEE4EC63057}"/>
              </a:ext>
            </a:extLst>
          </p:cNvPr>
          <p:cNvSpPr txBox="1"/>
          <p:nvPr/>
        </p:nvSpPr>
        <p:spPr>
          <a:xfrm>
            <a:off x="3130809" y="3547605"/>
            <a:ext cx="869317" cy="861774"/>
          </a:xfrm>
          <a:prstGeom prst="rect">
            <a:avLst/>
          </a:prstGeom>
          <a:noFill/>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043">
              <a:defRPr/>
            </a:pPr>
            <a:r>
              <a:rPr lang="en-US" sz="1400">
                <a:latin typeface="Segoe UI"/>
                <a:cs typeface="Segoe UI Semibold" panose="020B0702040204020203" pitchFamily="34" charset="0"/>
              </a:rPr>
              <a:t>DFP Customer:  Retail Merchant</a:t>
            </a:r>
          </a:p>
        </p:txBody>
      </p:sp>
      <p:sp>
        <p:nvSpPr>
          <p:cNvPr id="75" name="TextBox 74">
            <a:extLst>
              <a:ext uri="{FF2B5EF4-FFF2-40B4-BE49-F238E27FC236}">
                <a16:creationId xmlns:a16="http://schemas.microsoft.com/office/drawing/2014/main" id="{D9478F12-7C9A-4440-BBAA-91C3CBE37D1C}"/>
              </a:ext>
            </a:extLst>
          </p:cNvPr>
          <p:cNvSpPr txBox="1"/>
          <p:nvPr/>
        </p:nvSpPr>
        <p:spPr>
          <a:xfrm>
            <a:off x="4125975" y="1790084"/>
            <a:ext cx="1601951" cy="430887"/>
          </a:xfrm>
          <a:prstGeom prst="rect">
            <a:avLst/>
          </a:prstGeom>
          <a:noFill/>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043">
              <a:defRPr/>
            </a:pPr>
            <a:r>
              <a:rPr lang="en-US" sz="1400">
                <a:latin typeface="Segoe UI"/>
                <a:cs typeface="Segoe UI Semibold" panose="020B0702040204020203" pitchFamily="34" charset="0"/>
              </a:rPr>
              <a:t>Retail Employee/ Point of sale</a:t>
            </a:r>
          </a:p>
        </p:txBody>
      </p:sp>
      <p:cxnSp>
        <p:nvCxnSpPr>
          <p:cNvPr id="77" name="Straight Arrow Connector 76">
            <a:extLst>
              <a:ext uri="{FF2B5EF4-FFF2-40B4-BE49-F238E27FC236}">
                <a16:creationId xmlns:a16="http://schemas.microsoft.com/office/drawing/2014/main" id="{50D9854F-3FC0-4DF9-AAA1-8B343E56ABAF}"/>
              </a:ext>
            </a:extLst>
          </p:cNvPr>
          <p:cNvCxnSpPr>
            <a:cxnSpLocks/>
            <a:stCxn id="62" idx="2"/>
            <a:endCxn id="67" idx="0"/>
          </p:cNvCxnSpPr>
          <p:nvPr/>
        </p:nvCxnSpPr>
        <p:spPr>
          <a:xfrm>
            <a:off x="4580723" y="4578799"/>
            <a:ext cx="0" cy="517547"/>
          </a:xfrm>
          <a:prstGeom prst="straightConnector1">
            <a:avLst/>
          </a:prstGeom>
          <a:noFill/>
          <a:ln w="19050" cap="flat" cmpd="sng" algn="ctr">
            <a:solidFill>
              <a:srgbClr val="1A1A1A"/>
            </a:solidFill>
            <a:prstDash val="solid"/>
            <a:headEnd type="none"/>
            <a:tailEnd type="triangle" w="lg" len="med"/>
          </a:ln>
          <a:effectLst/>
        </p:spPr>
      </p:cxnSp>
      <p:pic>
        <p:nvPicPr>
          <p:cNvPr id="78" name="Picture 2" descr="http://www.848.co/wp-content/uploads/2015/02/Azure-Icon.fw_.png">
            <a:extLst>
              <a:ext uri="{FF2B5EF4-FFF2-40B4-BE49-F238E27FC236}">
                <a16:creationId xmlns:a16="http://schemas.microsoft.com/office/drawing/2014/main" id="{37AE6466-F812-48C4-A082-5B0CA0BAF4D1}"/>
              </a:ext>
            </a:extLst>
          </p:cNvPr>
          <p:cNvPicPr>
            <a:picLocks noChangeAspect="1" noChangeArrowheads="1"/>
          </p:cNvPicPr>
          <p:nvPr/>
        </p:nvPicPr>
        <p:blipFill>
          <a:blip r:embed="rId3" cstate="print">
            <a:duotone>
              <a:prstClr val="black"/>
              <a:srgbClr val="30E5D0">
                <a:tint val="45000"/>
                <a:satMod val="400000"/>
              </a:srgbClr>
            </a:duotone>
            <a:extLst>
              <a:ext uri="{28A0092B-C50C-407E-A947-70E740481C1C}">
                <a14:useLocalDpi xmlns:a14="http://schemas.microsoft.com/office/drawing/2010/main" val="0"/>
              </a:ext>
            </a:extLst>
          </a:blip>
          <a:srcRect/>
          <a:stretch>
            <a:fillRect/>
          </a:stretch>
        </p:blipFill>
        <p:spPr bwMode="auto">
          <a:xfrm>
            <a:off x="9534936" y="2105135"/>
            <a:ext cx="1027806" cy="102780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85A7898F-A3DC-42C7-ABCA-16822025A588}"/>
              </a:ext>
            </a:extLst>
          </p:cNvPr>
          <p:cNvPicPr>
            <a:picLocks noChangeAspect="1"/>
          </p:cNvPicPr>
          <p:nvPr/>
        </p:nvPicPr>
        <p:blipFill>
          <a:blip r:embed="rId4">
            <a:duotone>
              <a:prstClr val="black"/>
              <a:srgbClr val="30E5D0">
                <a:tint val="45000"/>
                <a:satMod val="400000"/>
              </a:srgbClr>
            </a:duotone>
          </a:blip>
          <a:stretch>
            <a:fillRect/>
          </a:stretch>
        </p:blipFill>
        <p:spPr>
          <a:xfrm>
            <a:off x="8897606" y="3242660"/>
            <a:ext cx="771425" cy="769942"/>
          </a:xfrm>
          <a:prstGeom prst="rect">
            <a:avLst/>
          </a:prstGeom>
        </p:spPr>
      </p:pic>
      <p:pic>
        <p:nvPicPr>
          <p:cNvPr id="80" name="Picture 79">
            <a:extLst>
              <a:ext uri="{FF2B5EF4-FFF2-40B4-BE49-F238E27FC236}">
                <a16:creationId xmlns:a16="http://schemas.microsoft.com/office/drawing/2014/main" id="{D73FEFF0-5997-4FB5-AA49-668FAF544BAE}"/>
              </a:ext>
            </a:extLst>
          </p:cNvPr>
          <p:cNvPicPr>
            <a:picLocks noChangeAspect="1"/>
          </p:cNvPicPr>
          <p:nvPr/>
        </p:nvPicPr>
        <p:blipFill>
          <a:blip r:embed="rId4">
            <a:duotone>
              <a:prstClr val="black"/>
              <a:srgbClr val="30E5D0">
                <a:tint val="45000"/>
                <a:satMod val="400000"/>
              </a:srgbClr>
            </a:duotone>
          </a:blip>
          <a:stretch>
            <a:fillRect/>
          </a:stretch>
        </p:blipFill>
        <p:spPr>
          <a:xfrm>
            <a:off x="10102508" y="3006926"/>
            <a:ext cx="1243801" cy="1241410"/>
          </a:xfrm>
          <a:prstGeom prst="rect">
            <a:avLst/>
          </a:prstGeom>
        </p:spPr>
      </p:pic>
      <p:cxnSp>
        <p:nvCxnSpPr>
          <p:cNvPr id="81" name="Straight Connector 80">
            <a:extLst>
              <a:ext uri="{FF2B5EF4-FFF2-40B4-BE49-F238E27FC236}">
                <a16:creationId xmlns:a16="http://schemas.microsoft.com/office/drawing/2014/main" id="{7B3837A2-01EF-4ED1-B09D-2AD5B3E93E69}"/>
              </a:ext>
            </a:extLst>
          </p:cNvPr>
          <p:cNvCxnSpPr>
            <a:cxnSpLocks/>
          </p:cNvCxnSpPr>
          <p:nvPr/>
        </p:nvCxnSpPr>
        <p:spPr>
          <a:xfrm>
            <a:off x="9669031" y="3627630"/>
            <a:ext cx="447754" cy="2"/>
          </a:xfrm>
          <a:prstGeom prst="line">
            <a:avLst/>
          </a:prstGeom>
          <a:noFill/>
          <a:ln w="19050" cap="flat" cmpd="sng" algn="ctr">
            <a:solidFill>
              <a:schemeClr val="accent4"/>
            </a:solidFill>
            <a:prstDash val="sysDot"/>
            <a:headEnd type="none" w="lg" len="med"/>
            <a:tailEnd type="none" w="lg" len="med"/>
          </a:ln>
          <a:effectLst/>
        </p:spPr>
      </p:cxnSp>
      <p:cxnSp>
        <p:nvCxnSpPr>
          <p:cNvPr id="82" name="Straight Connector 81">
            <a:extLst>
              <a:ext uri="{FF2B5EF4-FFF2-40B4-BE49-F238E27FC236}">
                <a16:creationId xmlns:a16="http://schemas.microsoft.com/office/drawing/2014/main" id="{3CDFB771-1CA6-4DFC-ADD1-A70A957E84BA}"/>
              </a:ext>
            </a:extLst>
          </p:cNvPr>
          <p:cNvCxnSpPr>
            <a:cxnSpLocks/>
            <a:stCxn id="79" idx="0"/>
            <a:endCxn id="78" idx="1"/>
          </p:cNvCxnSpPr>
          <p:nvPr/>
        </p:nvCxnSpPr>
        <p:spPr>
          <a:xfrm flipV="1">
            <a:off x="9283319" y="2619038"/>
            <a:ext cx="251617" cy="623622"/>
          </a:xfrm>
          <a:prstGeom prst="line">
            <a:avLst/>
          </a:prstGeom>
          <a:noFill/>
          <a:ln w="19050" cap="flat" cmpd="sng" algn="ctr">
            <a:solidFill>
              <a:schemeClr val="accent4"/>
            </a:solidFill>
            <a:prstDash val="sysDot"/>
            <a:headEnd type="none" w="lg" len="med"/>
            <a:tailEnd type="none" w="lg" len="med"/>
          </a:ln>
          <a:effectLst/>
        </p:spPr>
      </p:cxnSp>
      <p:cxnSp>
        <p:nvCxnSpPr>
          <p:cNvPr id="83" name="Straight Connector 82">
            <a:extLst>
              <a:ext uri="{FF2B5EF4-FFF2-40B4-BE49-F238E27FC236}">
                <a16:creationId xmlns:a16="http://schemas.microsoft.com/office/drawing/2014/main" id="{0388B4C5-2DA8-4ACF-86EA-AABBD1B076DB}"/>
              </a:ext>
            </a:extLst>
          </p:cNvPr>
          <p:cNvCxnSpPr>
            <a:cxnSpLocks/>
            <a:stCxn id="80" idx="0"/>
          </p:cNvCxnSpPr>
          <p:nvPr/>
        </p:nvCxnSpPr>
        <p:spPr>
          <a:xfrm flipH="1" flipV="1">
            <a:off x="10553007" y="2801162"/>
            <a:ext cx="171402" cy="205764"/>
          </a:xfrm>
          <a:prstGeom prst="line">
            <a:avLst/>
          </a:prstGeom>
          <a:noFill/>
          <a:ln w="19050" cap="flat" cmpd="sng" algn="ctr">
            <a:solidFill>
              <a:schemeClr val="accent4"/>
            </a:solidFill>
            <a:prstDash val="sysDot"/>
            <a:headEnd type="none" w="lg" len="med"/>
            <a:tailEnd type="none" w="lg" len="med"/>
          </a:ln>
          <a:effectLst/>
        </p:spPr>
      </p:cxnSp>
      <p:sp>
        <p:nvSpPr>
          <p:cNvPr id="84" name="Rectangle 83">
            <a:extLst>
              <a:ext uri="{FF2B5EF4-FFF2-40B4-BE49-F238E27FC236}">
                <a16:creationId xmlns:a16="http://schemas.microsoft.com/office/drawing/2014/main" id="{A68D6BFA-979C-4C7E-92BC-721D97F34691}"/>
              </a:ext>
            </a:extLst>
          </p:cNvPr>
          <p:cNvSpPr/>
          <p:nvPr/>
        </p:nvSpPr>
        <p:spPr>
          <a:xfrm rot="604075">
            <a:off x="9975697" y="2942820"/>
            <a:ext cx="1437275" cy="1342634"/>
          </a:xfrm>
          <a:prstGeom prst="rect">
            <a:avLst/>
          </a:prstGeom>
          <a:noFill/>
        </p:spPr>
        <p:txBody>
          <a:bodyPr spcFirstLastPara="1" wrap="none" lIns="89630" tIns="44814" rIns="89630" bIns="44814" numCol="1" anchor="ctr">
            <a:prstTxWarp prst="textCircle">
              <a:avLst/>
            </a:prstTxWarp>
            <a:spAutoFit/>
          </a:bodyPr>
          <a:lstStyle/>
          <a:p>
            <a:pPr algn="ctr" defTabSz="896181">
              <a:defRPr/>
            </a:pPr>
            <a:r>
              <a:rPr lang="en-US" sz="1000" kern="0">
                <a:latin typeface="Segoe UI Semibold"/>
              </a:rPr>
              <a:t>         Fraud</a:t>
            </a:r>
            <a:r>
              <a:rPr lang="en-US" sz="1000" kern="0">
                <a:ln w="0"/>
                <a:effectLst>
                  <a:outerShdw blurRad="38100" dist="19050" dir="2700000" algn="tl" rotWithShape="0">
                    <a:srgbClr val="000000">
                      <a:alpha val="40000"/>
                    </a:srgbClr>
                  </a:outerShdw>
                </a:effectLst>
                <a:latin typeface="Segoe UI"/>
              </a:rPr>
              <a:t> </a:t>
            </a:r>
            <a:r>
              <a:rPr lang="en-US" sz="1000" kern="0">
                <a:ln w="0"/>
                <a:effectLst>
                  <a:outerShdw blurRad="38100" dist="19050" dir="2700000" algn="tl" rotWithShape="0">
                    <a:srgbClr val="000000">
                      <a:alpha val="40000"/>
                    </a:srgbClr>
                  </a:outerShdw>
                </a:effectLst>
                <a:latin typeface="Segoe UI Semibold"/>
              </a:rPr>
              <a:t>P</a:t>
            </a:r>
            <a:r>
              <a:rPr lang="en-US" sz="1000" kern="0">
                <a:latin typeface="Segoe UI Semibold"/>
              </a:rPr>
              <a:t>rotection loss prevention</a:t>
            </a:r>
          </a:p>
        </p:txBody>
      </p:sp>
      <p:sp>
        <p:nvSpPr>
          <p:cNvPr id="85" name="TextBox 84">
            <a:extLst>
              <a:ext uri="{FF2B5EF4-FFF2-40B4-BE49-F238E27FC236}">
                <a16:creationId xmlns:a16="http://schemas.microsoft.com/office/drawing/2014/main" id="{AAC25C7A-9DFF-4E8D-955D-6C61F7C6E39E}"/>
              </a:ext>
            </a:extLst>
          </p:cNvPr>
          <p:cNvSpPr txBox="1"/>
          <p:nvPr/>
        </p:nvSpPr>
        <p:spPr>
          <a:xfrm>
            <a:off x="8477641" y="1584177"/>
            <a:ext cx="3142396" cy="492443"/>
          </a:xfrm>
          <a:prstGeom prst="rect">
            <a:avLst/>
          </a:prstGeom>
          <a:noFill/>
        </p:spPr>
        <p:txBody>
          <a:bodyPr wrap="square" lIns="0" tIns="0" rIns="0" bIns="0" rtlCol="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3">
              <a:defRPr/>
            </a:pPr>
            <a:r>
              <a:rPr lang="en-US" sz="1600">
                <a:latin typeface="Segoe UI Semibold"/>
                <a:cs typeface="Segoe UI Semibold" panose="020B0702040204020203" pitchFamily="34" charset="0"/>
              </a:rPr>
              <a:t>Dynamics 365 Fraud Protection loss prevention</a:t>
            </a:r>
          </a:p>
        </p:txBody>
      </p:sp>
      <p:grpSp>
        <p:nvGrpSpPr>
          <p:cNvPr id="157" name="Group 156">
            <a:extLst>
              <a:ext uri="{FF2B5EF4-FFF2-40B4-BE49-F238E27FC236}">
                <a16:creationId xmlns:a16="http://schemas.microsoft.com/office/drawing/2014/main" id="{615A23C1-84BA-4E00-8E32-FD85563EBF18}"/>
              </a:ext>
            </a:extLst>
          </p:cNvPr>
          <p:cNvGrpSpPr>
            <a:grpSpLocks noChangeAspect="1"/>
          </p:cNvGrpSpPr>
          <p:nvPr/>
        </p:nvGrpSpPr>
        <p:grpSpPr>
          <a:xfrm>
            <a:off x="1016065" y="1782317"/>
            <a:ext cx="823228" cy="823228"/>
            <a:chOff x="-611105" y="3071485"/>
            <a:chExt cx="832288" cy="832288"/>
          </a:xfrm>
        </p:grpSpPr>
        <p:sp>
          <p:nvSpPr>
            <p:cNvPr id="158" name="Oval 157">
              <a:extLst>
                <a:ext uri="{FF2B5EF4-FFF2-40B4-BE49-F238E27FC236}">
                  <a16:creationId xmlns:a16="http://schemas.microsoft.com/office/drawing/2014/main" id="{65C14A28-2BA1-4258-9B27-A566DBD6E34F}"/>
                </a:ext>
              </a:extLst>
            </p:cNvPr>
            <p:cNvSpPr/>
            <p:nvPr/>
          </p:nvSpPr>
          <p:spPr bwMode="auto">
            <a:xfrm>
              <a:off x="-611105" y="3071485"/>
              <a:ext cx="832288" cy="832288"/>
            </a:xfrm>
            <a:prstGeom prst="ellipse">
              <a:avLst/>
            </a:prstGeom>
            <a:noFill/>
            <a:ln w="28575" cap="flat" cmpd="sng" algn="ctr">
              <a:solidFill>
                <a:srgbClr val="EBEBEB">
                  <a:lumMod val="50000"/>
                </a:srgbClr>
              </a:solidFill>
              <a:prstDash val="solid"/>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175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6AD43C1E-607D-42C3-8438-E835995D05E8}"/>
                </a:ext>
              </a:extLst>
            </p:cNvPr>
            <p:cNvGrpSpPr/>
            <p:nvPr/>
          </p:nvGrpSpPr>
          <p:grpSpPr>
            <a:xfrm>
              <a:off x="-438445" y="3226719"/>
              <a:ext cx="496835" cy="528821"/>
              <a:chOff x="988993" y="2218276"/>
              <a:chExt cx="496906" cy="528896"/>
            </a:xfrm>
          </p:grpSpPr>
          <p:sp>
            <p:nvSpPr>
              <p:cNvPr id="160" name="Freeform: Shape 159">
                <a:extLst>
                  <a:ext uri="{FF2B5EF4-FFF2-40B4-BE49-F238E27FC236}">
                    <a16:creationId xmlns:a16="http://schemas.microsoft.com/office/drawing/2014/main" id="{3F3EFE6E-15E6-4304-A826-74942482AD20}"/>
                  </a:ext>
                </a:extLst>
              </p:cNvPr>
              <p:cNvSpPr/>
              <p:nvPr/>
            </p:nvSpPr>
            <p:spPr>
              <a:xfrm>
                <a:off x="991863" y="2510615"/>
                <a:ext cx="394312" cy="218388"/>
              </a:xfrm>
              <a:custGeom>
                <a:avLst/>
                <a:gdLst/>
                <a:ahLst/>
                <a:cxnLst/>
                <a:rect l="0" t="0" r="0" b="0"/>
                <a:pathLst>
                  <a:path w="619125" h="342900">
                    <a:moveTo>
                      <a:pt x="86477" y="338061"/>
                    </a:moveTo>
                    <a:lnTo>
                      <a:pt x="539791" y="338061"/>
                    </a:lnTo>
                    <a:cubicBezTo>
                      <a:pt x="558527" y="338061"/>
                      <a:pt x="573777" y="322783"/>
                      <a:pt x="573777" y="304048"/>
                    </a:cubicBezTo>
                    <a:lnTo>
                      <a:pt x="619144" y="40748"/>
                    </a:lnTo>
                    <a:cubicBezTo>
                      <a:pt x="619106" y="22393"/>
                      <a:pt x="603837" y="7144"/>
                      <a:pt x="585111" y="7144"/>
                    </a:cubicBezTo>
                    <a:lnTo>
                      <a:pt x="41148" y="7144"/>
                    </a:lnTo>
                    <a:cubicBezTo>
                      <a:pt x="22393" y="7144"/>
                      <a:pt x="7144" y="22403"/>
                      <a:pt x="7144" y="41138"/>
                    </a:cubicBezTo>
                    <a:lnTo>
                      <a:pt x="52435" y="303667"/>
                    </a:lnTo>
                    <a:cubicBezTo>
                      <a:pt x="52473" y="322774"/>
                      <a:pt x="67723" y="338061"/>
                      <a:pt x="86477" y="338061"/>
                    </a:cubicBezTo>
                    <a:close/>
                    <a:moveTo>
                      <a:pt x="313115" y="151762"/>
                    </a:moveTo>
                    <a:cubicBezTo>
                      <a:pt x="322116" y="151762"/>
                      <a:pt x="329413" y="159077"/>
                      <a:pt x="329413" y="168050"/>
                    </a:cubicBezTo>
                    <a:cubicBezTo>
                      <a:pt x="329413" y="177079"/>
                      <a:pt x="322107" y="184356"/>
                      <a:pt x="313115" y="184356"/>
                    </a:cubicBezTo>
                    <a:cubicBezTo>
                      <a:pt x="304124" y="184356"/>
                      <a:pt x="296818" y="177079"/>
                      <a:pt x="296818" y="168050"/>
                    </a:cubicBezTo>
                    <a:cubicBezTo>
                      <a:pt x="296818" y="159077"/>
                      <a:pt x="304124" y="151762"/>
                      <a:pt x="313115" y="151762"/>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1" name="Freeform: Shape 160">
                <a:extLst>
                  <a:ext uri="{FF2B5EF4-FFF2-40B4-BE49-F238E27FC236}">
                    <a16:creationId xmlns:a16="http://schemas.microsoft.com/office/drawing/2014/main" id="{0AC81FD3-FD1D-4F02-9D5A-45DB44F80EDA}"/>
                  </a:ext>
                </a:extLst>
              </p:cNvPr>
              <p:cNvSpPr/>
              <p:nvPr/>
            </p:nvSpPr>
            <p:spPr>
              <a:xfrm>
                <a:off x="1037791" y="2223468"/>
                <a:ext cx="306993" cy="288815"/>
              </a:xfrm>
              <a:custGeom>
                <a:avLst/>
                <a:gdLst>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31901 w 482022"/>
                  <a:gd name="connsiteY14" fmla="*/ 203616 h 491728"/>
                  <a:gd name="connsiteX15" fmla="*/ 411870 w 482022"/>
                  <a:gd name="connsiteY15" fmla="*/ 139903 h 491728"/>
                  <a:gd name="connsiteX16" fmla="*/ 242897 w 482022"/>
                  <a:gd name="connsiteY16" fmla="*/ 0 h 491728"/>
                  <a:gd name="connsiteX17" fmla="*/ 73895 w 482022"/>
                  <a:gd name="connsiteY17" fmla="*/ 139903 h 491728"/>
                  <a:gd name="connsiteX18" fmla="*/ 53854 w 482022"/>
                  <a:gd name="connsiteY18" fmla="*/ 203625 h 491728"/>
                  <a:gd name="connsiteX19" fmla="*/ 80191 w 482022"/>
                  <a:gd name="connsiteY19" fmla="*/ 269300 h 491728"/>
                  <a:gd name="connsiteX20" fmla="*/ 91697 w 482022"/>
                  <a:gd name="connsiteY20" fmla="*/ 262633 h 491728"/>
                  <a:gd name="connsiteX21" fmla="*/ 108432 w 482022"/>
                  <a:gd name="connsiteY21" fmla="*/ 277749 h 491728"/>
                  <a:gd name="connsiteX22" fmla="*/ 57588 w 482022"/>
                  <a:gd name="connsiteY22" fmla="*/ 377542 h 491728"/>
                  <a:gd name="connsiteX23" fmla="*/ 92316 w 482022"/>
                  <a:gd name="connsiteY23" fmla="*/ 376152 h 491728"/>
                  <a:gd name="connsiteX24" fmla="*/ 0 w 482022"/>
                  <a:gd name="connsiteY24" fmla="*/ 491728 h 491728"/>
                  <a:gd name="connsiteX25" fmla="*/ 482022 w 482022"/>
                  <a:gd name="connsiteY25" fmla="*/ 491728 h 491728"/>
                  <a:gd name="connsiteX26" fmla="*/ 372542 w 482022"/>
                  <a:gd name="connsiteY26" fmla="*/ 369646 h 491728"/>
                  <a:gd name="connsiteX27" fmla="*/ 278320 w 482022"/>
                  <a:gd name="connsiteY27" fmla="*/ 411946 h 491728"/>
                  <a:gd name="connsiteX28" fmla="*/ 241011 w 482022"/>
                  <a:gd name="connsiteY28" fmla="*/ 472545 h 491728"/>
                  <a:gd name="connsiteX29" fmla="*/ 203720 w 482022"/>
                  <a:gd name="connsiteY29" fmla="*/ 411946 h 491728"/>
                  <a:gd name="connsiteX30" fmla="*/ 147237 w 482022"/>
                  <a:gd name="connsiteY30" fmla="*/ 377542 h 491728"/>
                  <a:gd name="connsiteX31" fmla="*/ 192424 w 482022"/>
                  <a:gd name="connsiteY31" fmla="*/ 391315 h 491728"/>
                  <a:gd name="connsiteX32" fmla="*/ 171878 w 482022"/>
                  <a:gd name="connsiteY32" fmla="*/ 345500 h 491728"/>
                  <a:gd name="connsiteX33" fmla="*/ 241001 w 482022"/>
                  <a:gd name="connsiteY33" fmla="*/ 376656 h 491728"/>
                  <a:gd name="connsiteX34" fmla="*/ 308781 w 482022"/>
                  <a:gd name="connsiteY34" fmla="*/ 346853 h 491728"/>
                  <a:gd name="connsiteX35" fmla="*/ 294465 w 482022"/>
                  <a:gd name="connsiteY35" fmla="*/ 376656 h 491728"/>
                  <a:gd name="connsiteX36" fmla="*/ 338471 w 482022"/>
                  <a:gd name="connsiteY36" fmla="*/ 367150 h 491728"/>
                  <a:gd name="connsiteX37" fmla="*/ 278320 w 482022"/>
                  <a:gd name="connsiteY37" fmla="*/ 411946 h 491728"/>
                  <a:gd name="connsiteX38" fmla="*/ 348091 w 482022"/>
                  <a:gd name="connsiteY38" fmla="*/ 217798 h 491728"/>
                  <a:gd name="connsiteX39" fmla="*/ 328126 w 482022"/>
                  <a:gd name="connsiteY39" fmla="*/ 293008 h 491728"/>
                  <a:gd name="connsiteX40" fmla="*/ 241011 w 482022"/>
                  <a:gd name="connsiteY40" fmla="*/ 357797 h 491728"/>
                  <a:gd name="connsiteX41" fmla="*/ 156610 w 482022"/>
                  <a:gd name="connsiteY41" fmla="*/ 298189 h 491728"/>
                  <a:gd name="connsiteX42" fmla="*/ 187414 w 482022"/>
                  <a:gd name="connsiteY42" fmla="*/ 301399 h 491728"/>
                  <a:gd name="connsiteX43" fmla="*/ 197824 w 482022"/>
                  <a:gd name="connsiteY43" fmla="*/ 300942 h 491728"/>
                  <a:gd name="connsiteX44" fmla="*/ 217713 w 482022"/>
                  <a:gd name="connsiteY44" fmla="*/ 309000 h 491728"/>
                  <a:gd name="connsiteX45" fmla="*/ 234400 w 482022"/>
                  <a:gd name="connsiteY45" fmla="*/ 285340 h 491728"/>
                  <a:gd name="connsiteX46" fmla="*/ 210731 w 482022"/>
                  <a:gd name="connsiteY46" fmla="*/ 268671 h 491728"/>
                  <a:gd name="connsiteX47" fmla="*/ 195491 w 482022"/>
                  <a:gd name="connsiteY47" fmla="*/ 280606 h 491728"/>
                  <a:gd name="connsiteX48" fmla="*/ 145847 w 482022"/>
                  <a:gd name="connsiteY48" fmla="*/ 274120 h 491728"/>
                  <a:gd name="connsiteX49" fmla="*/ 134264 w 482022"/>
                  <a:gd name="connsiteY49" fmla="*/ 221627 h 491728"/>
                  <a:gd name="connsiteX50" fmla="*/ 203073 w 482022"/>
                  <a:gd name="connsiteY50" fmla="*/ 204321 h 491728"/>
                  <a:gd name="connsiteX51" fmla="*/ 306648 w 482022"/>
                  <a:gd name="connsiteY51" fmla="*/ 147733 h 491728"/>
                  <a:gd name="connsiteX52" fmla="*/ 307495 w 482022"/>
                  <a:gd name="connsiteY52" fmla="*/ 147142 h 491728"/>
                  <a:gd name="connsiteX53" fmla="*/ 309981 w 482022"/>
                  <a:gd name="connsiteY53" fmla="*/ 151104 h 491728"/>
                  <a:gd name="connsiteX54" fmla="*/ 305495 w 482022"/>
                  <a:gd name="connsiteY54" fmla="*/ 196358 h 491728"/>
                  <a:gd name="connsiteX55" fmla="*/ 341947 w 482022"/>
                  <a:gd name="connsiteY55" fmla="*/ 200996 h 491728"/>
                  <a:gd name="connsiteX56" fmla="*/ 342614 w 482022"/>
                  <a:gd name="connsiteY56" fmla="*/ 200996 h 491728"/>
                  <a:gd name="connsiteX57" fmla="*/ 349282 w 482022"/>
                  <a:gd name="connsiteY57" fmla="*/ 202225 h 491728"/>
                  <a:gd name="connsiteX58" fmla="*/ 348091 w 482022"/>
                  <a:gd name="connsiteY58" fmla="*/ 217798 h 491728"/>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11870 w 482022"/>
                  <a:gd name="connsiteY14" fmla="*/ 139903 h 491728"/>
                  <a:gd name="connsiteX15" fmla="*/ 242897 w 482022"/>
                  <a:gd name="connsiteY15" fmla="*/ 0 h 491728"/>
                  <a:gd name="connsiteX16" fmla="*/ 73895 w 482022"/>
                  <a:gd name="connsiteY16" fmla="*/ 139903 h 491728"/>
                  <a:gd name="connsiteX17" fmla="*/ 53854 w 482022"/>
                  <a:gd name="connsiteY17" fmla="*/ 203625 h 491728"/>
                  <a:gd name="connsiteX18" fmla="*/ 80191 w 482022"/>
                  <a:gd name="connsiteY18" fmla="*/ 269300 h 491728"/>
                  <a:gd name="connsiteX19" fmla="*/ 91697 w 482022"/>
                  <a:gd name="connsiteY19" fmla="*/ 262633 h 491728"/>
                  <a:gd name="connsiteX20" fmla="*/ 108432 w 482022"/>
                  <a:gd name="connsiteY20" fmla="*/ 277749 h 491728"/>
                  <a:gd name="connsiteX21" fmla="*/ 57588 w 482022"/>
                  <a:gd name="connsiteY21" fmla="*/ 377542 h 491728"/>
                  <a:gd name="connsiteX22" fmla="*/ 92316 w 482022"/>
                  <a:gd name="connsiteY22" fmla="*/ 376152 h 491728"/>
                  <a:gd name="connsiteX23" fmla="*/ 0 w 482022"/>
                  <a:gd name="connsiteY23" fmla="*/ 491728 h 491728"/>
                  <a:gd name="connsiteX24" fmla="*/ 482022 w 482022"/>
                  <a:gd name="connsiteY24" fmla="*/ 491728 h 491728"/>
                  <a:gd name="connsiteX25" fmla="*/ 372542 w 482022"/>
                  <a:gd name="connsiteY25" fmla="*/ 369646 h 491728"/>
                  <a:gd name="connsiteX26" fmla="*/ 278320 w 482022"/>
                  <a:gd name="connsiteY26" fmla="*/ 411946 h 491728"/>
                  <a:gd name="connsiteX27" fmla="*/ 241011 w 482022"/>
                  <a:gd name="connsiteY27" fmla="*/ 472545 h 491728"/>
                  <a:gd name="connsiteX28" fmla="*/ 203720 w 482022"/>
                  <a:gd name="connsiteY28" fmla="*/ 411946 h 491728"/>
                  <a:gd name="connsiteX29" fmla="*/ 147237 w 482022"/>
                  <a:gd name="connsiteY29" fmla="*/ 377542 h 491728"/>
                  <a:gd name="connsiteX30" fmla="*/ 192424 w 482022"/>
                  <a:gd name="connsiteY30" fmla="*/ 391315 h 491728"/>
                  <a:gd name="connsiteX31" fmla="*/ 171878 w 482022"/>
                  <a:gd name="connsiteY31" fmla="*/ 345500 h 491728"/>
                  <a:gd name="connsiteX32" fmla="*/ 241001 w 482022"/>
                  <a:gd name="connsiteY32" fmla="*/ 376656 h 491728"/>
                  <a:gd name="connsiteX33" fmla="*/ 308781 w 482022"/>
                  <a:gd name="connsiteY33" fmla="*/ 346853 h 491728"/>
                  <a:gd name="connsiteX34" fmla="*/ 294465 w 482022"/>
                  <a:gd name="connsiteY34" fmla="*/ 376656 h 491728"/>
                  <a:gd name="connsiteX35" fmla="*/ 338471 w 482022"/>
                  <a:gd name="connsiteY35" fmla="*/ 367150 h 491728"/>
                  <a:gd name="connsiteX36" fmla="*/ 278320 w 482022"/>
                  <a:gd name="connsiteY36" fmla="*/ 411946 h 491728"/>
                  <a:gd name="connsiteX37" fmla="*/ 348091 w 482022"/>
                  <a:gd name="connsiteY37" fmla="*/ 217798 h 491728"/>
                  <a:gd name="connsiteX38" fmla="*/ 328126 w 482022"/>
                  <a:gd name="connsiteY38" fmla="*/ 293008 h 491728"/>
                  <a:gd name="connsiteX39" fmla="*/ 241011 w 482022"/>
                  <a:gd name="connsiteY39" fmla="*/ 357797 h 491728"/>
                  <a:gd name="connsiteX40" fmla="*/ 156610 w 482022"/>
                  <a:gd name="connsiteY40" fmla="*/ 298189 h 491728"/>
                  <a:gd name="connsiteX41" fmla="*/ 187414 w 482022"/>
                  <a:gd name="connsiteY41" fmla="*/ 301399 h 491728"/>
                  <a:gd name="connsiteX42" fmla="*/ 197824 w 482022"/>
                  <a:gd name="connsiteY42" fmla="*/ 300942 h 491728"/>
                  <a:gd name="connsiteX43" fmla="*/ 217713 w 482022"/>
                  <a:gd name="connsiteY43" fmla="*/ 309000 h 491728"/>
                  <a:gd name="connsiteX44" fmla="*/ 234400 w 482022"/>
                  <a:gd name="connsiteY44" fmla="*/ 285340 h 491728"/>
                  <a:gd name="connsiteX45" fmla="*/ 210731 w 482022"/>
                  <a:gd name="connsiteY45" fmla="*/ 268671 h 491728"/>
                  <a:gd name="connsiteX46" fmla="*/ 195491 w 482022"/>
                  <a:gd name="connsiteY46" fmla="*/ 280606 h 491728"/>
                  <a:gd name="connsiteX47" fmla="*/ 145847 w 482022"/>
                  <a:gd name="connsiteY47" fmla="*/ 274120 h 491728"/>
                  <a:gd name="connsiteX48" fmla="*/ 134264 w 482022"/>
                  <a:gd name="connsiteY48" fmla="*/ 221627 h 491728"/>
                  <a:gd name="connsiteX49" fmla="*/ 203073 w 482022"/>
                  <a:gd name="connsiteY49" fmla="*/ 204321 h 491728"/>
                  <a:gd name="connsiteX50" fmla="*/ 306648 w 482022"/>
                  <a:gd name="connsiteY50" fmla="*/ 147733 h 491728"/>
                  <a:gd name="connsiteX51" fmla="*/ 307495 w 482022"/>
                  <a:gd name="connsiteY51" fmla="*/ 147142 h 491728"/>
                  <a:gd name="connsiteX52" fmla="*/ 309981 w 482022"/>
                  <a:gd name="connsiteY52" fmla="*/ 151104 h 491728"/>
                  <a:gd name="connsiteX53" fmla="*/ 305495 w 482022"/>
                  <a:gd name="connsiteY53" fmla="*/ 196358 h 491728"/>
                  <a:gd name="connsiteX54" fmla="*/ 341947 w 482022"/>
                  <a:gd name="connsiteY54" fmla="*/ 200996 h 491728"/>
                  <a:gd name="connsiteX55" fmla="*/ 342614 w 482022"/>
                  <a:gd name="connsiteY55" fmla="*/ 200996 h 491728"/>
                  <a:gd name="connsiteX56" fmla="*/ 349282 w 482022"/>
                  <a:gd name="connsiteY56" fmla="*/ 202225 h 491728"/>
                  <a:gd name="connsiteX57" fmla="*/ 348091 w 482022"/>
                  <a:gd name="connsiteY57" fmla="*/ 217798 h 491728"/>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85515 w 482022"/>
                  <a:gd name="connsiteY12" fmla="*/ 162164 h 492805"/>
                  <a:gd name="connsiteX13" fmla="*/ 379228 w 482022"/>
                  <a:gd name="connsiteY13" fmla="*/ 204693 h 492805"/>
                  <a:gd name="connsiteX14" fmla="*/ 242897 w 482022"/>
                  <a:gd name="connsiteY14" fmla="*/ 1077 h 492805"/>
                  <a:gd name="connsiteX15" fmla="*/ 73895 w 482022"/>
                  <a:gd name="connsiteY15" fmla="*/ 140980 h 492805"/>
                  <a:gd name="connsiteX16" fmla="*/ 53854 w 482022"/>
                  <a:gd name="connsiteY16" fmla="*/ 204702 h 492805"/>
                  <a:gd name="connsiteX17" fmla="*/ 80191 w 482022"/>
                  <a:gd name="connsiteY17" fmla="*/ 270377 h 492805"/>
                  <a:gd name="connsiteX18" fmla="*/ 91697 w 482022"/>
                  <a:gd name="connsiteY18" fmla="*/ 263710 h 492805"/>
                  <a:gd name="connsiteX19" fmla="*/ 108432 w 482022"/>
                  <a:gd name="connsiteY19" fmla="*/ 278826 h 492805"/>
                  <a:gd name="connsiteX20" fmla="*/ 57588 w 482022"/>
                  <a:gd name="connsiteY20" fmla="*/ 378619 h 492805"/>
                  <a:gd name="connsiteX21" fmla="*/ 92316 w 482022"/>
                  <a:gd name="connsiteY21" fmla="*/ 377229 h 492805"/>
                  <a:gd name="connsiteX22" fmla="*/ 0 w 482022"/>
                  <a:gd name="connsiteY22" fmla="*/ 492805 h 492805"/>
                  <a:gd name="connsiteX23" fmla="*/ 482022 w 482022"/>
                  <a:gd name="connsiteY23" fmla="*/ 492805 h 492805"/>
                  <a:gd name="connsiteX24" fmla="*/ 372542 w 482022"/>
                  <a:gd name="connsiteY24" fmla="*/ 370723 h 492805"/>
                  <a:gd name="connsiteX25" fmla="*/ 278320 w 482022"/>
                  <a:gd name="connsiteY25" fmla="*/ 413023 h 492805"/>
                  <a:gd name="connsiteX26" fmla="*/ 241011 w 482022"/>
                  <a:gd name="connsiteY26" fmla="*/ 473622 h 492805"/>
                  <a:gd name="connsiteX27" fmla="*/ 203720 w 482022"/>
                  <a:gd name="connsiteY27" fmla="*/ 413023 h 492805"/>
                  <a:gd name="connsiteX28" fmla="*/ 147237 w 482022"/>
                  <a:gd name="connsiteY28" fmla="*/ 378619 h 492805"/>
                  <a:gd name="connsiteX29" fmla="*/ 192424 w 482022"/>
                  <a:gd name="connsiteY29" fmla="*/ 392392 h 492805"/>
                  <a:gd name="connsiteX30" fmla="*/ 171878 w 482022"/>
                  <a:gd name="connsiteY30" fmla="*/ 346577 h 492805"/>
                  <a:gd name="connsiteX31" fmla="*/ 241001 w 482022"/>
                  <a:gd name="connsiteY31" fmla="*/ 377733 h 492805"/>
                  <a:gd name="connsiteX32" fmla="*/ 308781 w 482022"/>
                  <a:gd name="connsiteY32" fmla="*/ 347930 h 492805"/>
                  <a:gd name="connsiteX33" fmla="*/ 294465 w 482022"/>
                  <a:gd name="connsiteY33" fmla="*/ 377733 h 492805"/>
                  <a:gd name="connsiteX34" fmla="*/ 338471 w 482022"/>
                  <a:gd name="connsiteY34" fmla="*/ 368227 h 492805"/>
                  <a:gd name="connsiteX35" fmla="*/ 278320 w 482022"/>
                  <a:gd name="connsiteY35" fmla="*/ 413023 h 492805"/>
                  <a:gd name="connsiteX36" fmla="*/ 348091 w 482022"/>
                  <a:gd name="connsiteY36" fmla="*/ 218875 h 492805"/>
                  <a:gd name="connsiteX37" fmla="*/ 328126 w 482022"/>
                  <a:gd name="connsiteY37" fmla="*/ 294085 h 492805"/>
                  <a:gd name="connsiteX38" fmla="*/ 241011 w 482022"/>
                  <a:gd name="connsiteY38" fmla="*/ 358874 h 492805"/>
                  <a:gd name="connsiteX39" fmla="*/ 156610 w 482022"/>
                  <a:gd name="connsiteY39" fmla="*/ 299266 h 492805"/>
                  <a:gd name="connsiteX40" fmla="*/ 187414 w 482022"/>
                  <a:gd name="connsiteY40" fmla="*/ 302476 h 492805"/>
                  <a:gd name="connsiteX41" fmla="*/ 197824 w 482022"/>
                  <a:gd name="connsiteY41" fmla="*/ 302019 h 492805"/>
                  <a:gd name="connsiteX42" fmla="*/ 217713 w 482022"/>
                  <a:gd name="connsiteY42" fmla="*/ 310077 h 492805"/>
                  <a:gd name="connsiteX43" fmla="*/ 234400 w 482022"/>
                  <a:gd name="connsiteY43" fmla="*/ 286417 h 492805"/>
                  <a:gd name="connsiteX44" fmla="*/ 210731 w 482022"/>
                  <a:gd name="connsiteY44" fmla="*/ 269748 h 492805"/>
                  <a:gd name="connsiteX45" fmla="*/ 195491 w 482022"/>
                  <a:gd name="connsiteY45" fmla="*/ 281683 h 492805"/>
                  <a:gd name="connsiteX46" fmla="*/ 145847 w 482022"/>
                  <a:gd name="connsiteY46" fmla="*/ 275197 h 492805"/>
                  <a:gd name="connsiteX47" fmla="*/ 134264 w 482022"/>
                  <a:gd name="connsiteY47" fmla="*/ 222704 h 492805"/>
                  <a:gd name="connsiteX48" fmla="*/ 203073 w 482022"/>
                  <a:gd name="connsiteY48" fmla="*/ 205398 h 492805"/>
                  <a:gd name="connsiteX49" fmla="*/ 306648 w 482022"/>
                  <a:gd name="connsiteY49" fmla="*/ 148810 h 492805"/>
                  <a:gd name="connsiteX50" fmla="*/ 307495 w 482022"/>
                  <a:gd name="connsiteY50" fmla="*/ 148219 h 492805"/>
                  <a:gd name="connsiteX51" fmla="*/ 309981 w 482022"/>
                  <a:gd name="connsiteY51" fmla="*/ 152181 h 492805"/>
                  <a:gd name="connsiteX52" fmla="*/ 305495 w 482022"/>
                  <a:gd name="connsiteY52" fmla="*/ 197435 h 492805"/>
                  <a:gd name="connsiteX53" fmla="*/ 341947 w 482022"/>
                  <a:gd name="connsiteY53" fmla="*/ 202073 h 492805"/>
                  <a:gd name="connsiteX54" fmla="*/ 342614 w 482022"/>
                  <a:gd name="connsiteY54" fmla="*/ 202073 h 492805"/>
                  <a:gd name="connsiteX55" fmla="*/ 349282 w 482022"/>
                  <a:gd name="connsiteY55" fmla="*/ 203302 h 492805"/>
                  <a:gd name="connsiteX56" fmla="*/ 348091 w 482022"/>
                  <a:gd name="connsiteY56" fmla="*/ 218875 h 492805"/>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79228 w 482022"/>
                  <a:gd name="connsiteY12" fmla="*/ 204693 h 492805"/>
                  <a:gd name="connsiteX13" fmla="*/ 242897 w 482022"/>
                  <a:gd name="connsiteY13" fmla="*/ 1077 h 492805"/>
                  <a:gd name="connsiteX14" fmla="*/ 73895 w 482022"/>
                  <a:gd name="connsiteY14" fmla="*/ 140980 h 492805"/>
                  <a:gd name="connsiteX15" fmla="*/ 53854 w 482022"/>
                  <a:gd name="connsiteY15" fmla="*/ 204702 h 492805"/>
                  <a:gd name="connsiteX16" fmla="*/ 80191 w 482022"/>
                  <a:gd name="connsiteY16" fmla="*/ 270377 h 492805"/>
                  <a:gd name="connsiteX17" fmla="*/ 91697 w 482022"/>
                  <a:gd name="connsiteY17" fmla="*/ 263710 h 492805"/>
                  <a:gd name="connsiteX18" fmla="*/ 108432 w 482022"/>
                  <a:gd name="connsiteY18" fmla="*/ 278826 h 492805"/>
                  <a:gd name="connsiteX19" fmla="*/ 57588 w 482022"/>
                  <a:gd name="connsiteY19" fmla="*/ 378619 h 492805"/>
                  <a:gd name="connsiteX20" fmla="*/ 92316 w 482022"/>
                  <a:gd name="connsiteY20" fmla="*/ 377229 h 492805"/>
                  <a:gd name="connsiteX21" fmla="*/ 0 w 482022"/>
                  <a:gd name="connsiteY21" fmla="*/ 492805 h 492805"/>
                  <a:gd name="connsiteX22" fmla="*/ 482022 w 482022"/>
                  <a:gd name="connsiteY22" fmla="*/ 492805 h 492805"/>
                  <a:gd name="connsiteX23" fmla="*/ 372542 w 482022"/>
                  <a:gd name="connsiteY23" fmla="*/ 370723 h 492805"/>
                  <a:gd name="connsiteX24" fmla="*/ 278320 w 482022"/>
                  <a:gd name="connsiteY24" fmla="*/ 413023 h 492805"/>
                  <a:gd name="connsiteX25" fmla="*/ 241011 w 482022"/>
                  <a:gd name="connsiteY25" fmla="*/ 473622 h 492805"/>
                  <a:gd name="connsiteX26" fmla="*/ 203720 w 482022"/>
                  <a:gd name="connsiteY26" fmla="*/ 413023 h 492805"/>
                  <a:gd name="connsiteX27" fmla="*/ 147237 w 482022"/>
                  <a:gd name="connsiteY27" fmla="*/ 378619 h 492805"/>
                  <a:gd name="connsiteX28" fmla="*/ 192424 w 482022"/>
                  <a:gd name="connsiteY28" fmla="*/ 392392 h 492805"/>
                  <a:gd name="connsiteX29" fmla="*/ 171878 w 482022"/>
                  <a:gd name="connsiteY29" fmla="*/ 346577 h 492805"/>
                  <a:gd name="connsiteX30" fmla="*/ 241001 w 482022"/>
                  <a:gd name="connsiteY30" fmla="*/ 377733 h 492805"/>
                  <a:gd name="connsiteX31" fmla="*/ 308781 w 482022"/>
                  <a:gd name="connsiteY31" fmla="*/ 347930 h 492805"/>
                  <a:gd name="connsiteX32" fmla="*/ 294465 w 482022"/>
                  <a:gd name="connsiteY32" fmla="*/ 377733 h 492805"/>
                  <a:gd name="connsiteX33" fmla="*/ 338471 w 482022"/>
                  <a:gd name="connsiteY33" fmla="*/ 368227 h 492805"/>
                  <a:gd name="connsiteX34" fmla="*/ 278320 w 482022"/>
                  <a:gd name="connsiteY34" fmla="*/ 413023 h 492805"/>
                  <a:gd name="connsiteX35" fmla="*/ 348091 w 482022"/>
                  <a:gd name="connsiteY35" fmla="*/ 218875 h 492805"/>
                  <a:gd name="connsiteX36" fmla="*/ 328126 w 482022"/>
                  <a:gd name="connsiteY36" fmla="*/ 294085 h 492805"/>
                  <a:gd name="connsiteX37" fmla="*/ 241011 w 482022"/>
                  <a:gd name="connsiteY37" fmla="*/ 358874 h 492805"/>
                  <a:gd name="connsiteX38" fmla="*/ 156610 w 482022"/>
                  <a:gd name="connsiteY38" fmla="*/ 299266 h 492805"/>
                  <a:gd name="connsiteX39" fmla="*/ 187414 w 482022"/>
                  <a:gd name="connsiteY39" fmla="*/ 302476 h 492805"/>
                  <a:gd name="connsiteX40" fmla="*/ 197824 w 482022"/>
                  <a:gd name="connsiteY40" fmla="*/ 302019 h 492805"/>
                  <a:gd name="connsiteX41" fmla="*/ 217713 w 482022"/>
                  <a:gd name="connsiteY41" fmla="*/ 310077 h 492805"/>
                  <a:gd name="connsiteX42" fmla="*/ 234400 w 482022"/>
                  <a:gd name="connsiteY42" fmla="*/ 286417 h 492805"/>
                  <a:gd name="connsiteX43" fmla="*/ 210731 w 482022"/>
                  <a:gd name="connsiteY43" fmla="*/ 269748 h 492805"/>
                  <a:gd name="connsiteX44" fmla="*/ 195491 w 482022"/>
                  <a:gd name="connsiteY44" fmla="*/ 281683 h 492805"/>
                  <a:gd name="connsiteX45" fmla="*/ 145847 w 482022"/>
                  <a:gd name="connsiteY45" fmla="*/ 275197 h 492805"/>
                  <a:gd name="connsiteX46" fmla="*/ 134264 w 482022"/>
                  <a:gd name="connsiteY46" fmla="*/ 222704 h 492805"/>
                  <a:gd name="connsiteX47" fmla="*/ 203073 w 482022"/>
                  <a:gd name="connsiteY47" fmla="*/ 205398 h 492805"/>
                  <a:gd name="connsiteX48" fmla="*/ 306648 w 482022"/>
                  <a:gd name="connsiteY48" fmla="*/ 148810 h 492805"/>
                  <a:gd name="connsiteX49" fmla="*/ 307495 w 482022"/>
                  <a:gd name="connsiteY49" fmla="*/ 148219 h 492805"/>
                  <a:gd name="connsiteX50" fmla="*/ 309981 w 482022"/>
                  <a:gd name="connsiteY50" fmla="*/ 152181 h 492805"/>
                  <a:gd name="connsiteX51" fmla="*/ 305495 w 482022"/>
                  <a:gd name="connsiteY51" fmla="*/ 197435 h 492805"/>
                  <a:gd name="connsiteX52" fmla="*/ 341947 w 482022"/>
                  <a:gd name="connsiteY52" fmla="*/ 202073 h 492805"/>
                  <a:gd name="connsiteX53" fmla="*/ 342614 w 482022"/>
                  <a:gd name="connsiteY53" fmla="*/ 202073 h 492805"/>
                  <a:gd name="connsiteX54" fmla="*/ 349282 w 482022"/>
                  <a:gd name="connsiteY54" fmla="*/ 203302 h 492805"/>
                  <a:gd name="connsiteX55" fmla="*/ 348091 w 482022"/>
                  <a:gd name="connsiteY55" fmla="*/ 218875 h 492805"/>
                  <a:gd name="connsiteX0" fmla="*/ 372542 w 482022"/>
                  <a:gd name="connsiteY0" fmla="*/ 339486 h 461568"/>
                  <a:gd name="connsiteX1" fmla="*/ 424453 w 482022"/>
                  <a:gd name="connsiteY1" fmla="*/ 347373 h 461568"/>
                  <a:gd name="connsiteX2" fmla="*/ 370684 w 482022"/>
                  <a:gd name="connsiteY2" fmla="*/ 208108 h 461568"/>
                  <a:gd name="connsiteX3" fmla="*/ 241135 w 482022"/>
                  <a:gd name="connsiteY3" fmla="*/ 8187 h 461568"/>
                  <a:gd name="connsiteX4" fmla="*/ 241011 w 482022"/>
                  <a:gd name="connsiteY4" fmla="*/ 8521 h 461568"/>
                  <a:gd name="connsiteX5" fmla="*/ 240906 w 482022"/>
                  <a:gd name="connsiteY5" fmla="*/ 8187 h 461568"/>
                  <a:gd name="connsiteX6" fmla="*/ 111337 w 482022"/>
                  <a:gd name="connsiteY6" fmla="*/ 208108 h 461568"/>
                  <a:gd name="connsiteX7" fmla="*/ 110852 w 482022"/>
                  <a:gd name="connsiteY7" fmla="*/ 223129 h 461568"/>
                  <a:gd name="connsiteX8" fmla="*/ 101546 w 482022"/>
                  <a:gd name="connsiteY8" fmla="*/ 211718 h 461568"/>
                  <a:gd name="connsiteX9" fmla="*/ 106508 w 482022"/>
                  <a:gd name="connsiteY9" fmla="*/ 173456 h 461568"/>
                  <a:gd name="connsiteX10" fmla="*/ 100231 w 482022"/>
                  <a:gd name="connsiteY10" fmla="*/ 130936 h 461568"/>
                  <a:gd name="connsiteX11" fmla="*/ 242887 w 482022"/>
                  <a:gd name="connsiteY11" fmla="*/ 548 h 461568"/>
                  <a:gd name="connsiteX12" fmla="*/ 379228 w 482022"/>
                  <a:gd name="connsiteY12" fmla="*/ 173456 h 461568"/>
                  <a:gd name="connsiteX13" fmla="*/ 73895 w 482022"/>
                  <a:gd name="connsiteY13" fmla="*/ 109743 h 461568"/>
                  <a:gd name="connsiteX14" fmla="*/ 53854 w 482022"/>
                  <a:gd name="connsiteY14" fmla="*/ 173465 h 461568"/>
                  <a:gd name="connsiteX15" fmla="*/ 80191 w 482022"/>
                  <a:gd name="connsiteY15" fmla="*/ 239140 h 461568"/>
                  <a:gd name="connsiteX16" fmla="*/ 91697 w 482022"/>
                  <a:gd name="connsiteY16" fmla="*/ 232473 h 461568"/>
                  <a:gd name="connsiteX17" fmla="*/ 108432 w 482022"/>
                  <a:gd name="connsiteY17" fmla="*/ 247589 h 461568"/>
                  <a:gd name="connsiteX18" fmla="*/ 57588 w 482022"/>
                  <a:gd name="connsiteY18" fmla="*/ 347382 h 461568"/>
                  <a:gd name="connsiteX19" fmla="*/ 92316 w 482022"/>
                  <a:gd name="connsiteY19" fmla="*/ 345992 h 461568"/>
                  <a:gd name="connsiteX20" fmla="*/ 0 w 482022"/>
                  <a:gd name="connsiteY20" fmla="*/ 461568 h 461568"/>
                  <a:gd name="connsiteX21" fmla="*/ 482022 w 482022"/>
                  <a:gd name="connsiteY21" fmla="*/ 461568 h 461568"/>
                  <a:gd name="connsiteX22" fmla="*/ 372542 w 482022"/>
                  <a:gd name="connsiteY22" fmla="*/ 339486 h 461568"/>
                  <a:gd name="connsiteX23" fmla="*/ 278320 w 482022"/>
                  <a:gd name="connsiteY23" fmla="*/ 381786 h 461568"/>
                  <a:gd name="connsiteX24" fmla="*/ 241011 w 482022"/>
                  <a:gd name="connsiteY24" fmla="*/ 442385 h 461568"/>
                  <a:gd name="connsiteX25" fmla="*/ 203720 w 482022"/>
                  <a:gd name="connsiteY25" fmla="*/ 381786 h 461568"/>
                  <a:gd name="connsiteX26" fmla="*/ 147237 w 482022"/>
                  <a:gd name="connsiteY26" fmla="*/ 347382 h 461568"/>
                  <a:gd name="connsiteX27" fmla="*/ 192424 w 482022"/>
                  <a:gd name="connsiteY27" fmla="*/ 361155 h 461568"/>
                  <a:gd name="connsiteX28" fmla="*/ 171878 w 482022"/>
                  <a:gd name="connsiteY28" fmla="*/ 315340 h 461568"/>
                  <a:gd name="connsiteX29" fmla="*/ 241001 w 482022"/>
                  <a:gd name="connsiteY29" fmla="*/ 346496 h 461568"/>
                  <a:gd name="connsiteX30" fmla="*/ 308781 w 482022"/>
                  <a:gd name="connsiteY30" fmla="*/ 316693 h 461568"/>
                  <a:gd name="connsiteX31" fmla="*/ 294465 w 482022"/>
                  <a:gd name="connsiteY31" fmla="*/ 346496 h 461568"/>
                  <a:gd name="connsiteX32" fmla="*/ 338471 w 482022"/>
                  <a:gd name="connsiteY32" fmla="*/ 336990 h 461568"/>
                  <a:gd name="connsiteX33" fmla="*/ 278320 w 482022"/>
                  <a:gd name="connsiteY33" fmla="*/ 381786 h 461568"/>
                  <a:gd name="connsiteX34" fmla="*/ 348091 w 482022"/>
                  <a:gd name="connsiteY34" fmla="*/ 187638 h 461568"/>
                  <a:gd name="connsiteX35" fmla="*/ 328126 w 482022"/>
                  <a:gd name="connsiteY35" fmla="*/ 262848 h 461568"/>
                  <a:gd name="connsiteX36" fmla="*/ 241011 w 482022"/>
                  <a:gd name="connsiteY36" fmla="*/ 327637 h 461568"/>
                  <a:gd name="connsiteX37" fmla="*/ 156610 w 482022"/>
                  <a:gd name="connsiteY37" fmla="*/ 268029 h 461568"/>
                  <a:gd name="connsiteX38" fmla="*/ 187414 w 482022"/>
                  <a:gd name="connsiteY38" fmla="*/ 271239 h 461568"/>
                  <a:gd name="connsiteX39" fmla="*/ 197824 w 482022"/>
                  <a:gd name="connsiteY39" fmla="*/ 270782 h 461568"/>
                  <a:gd name="connsiteX40" fmla="*/ 217713 w 482022"/>
                  <a:gd name="connsiteY40" fmla="*/ 278840 h 461568"/>
                  <a:gd name="connsiteX41" fmla="*/ 234400 w 482022"/>
                  <a:gd name="connsiteY41" fmla="*/ 255180 h 461568"/>
                  <a:gd name="connsiteX42" fmla="*/ 210731 w 482022"/>
                  <a:gd name="connsiteY42" fmla="*/ 238511 h 461568"/>
                  <a:gd name="connsiteX43" fmla="*/ 195491 w 482022"/>
                  <a:gd name="connsiteY43" fmla="*/ 250446 h 461568"/>
                  <a:gd name="connsiteX44" fmla="*/ 145847 w 482022"/>
                  <a:gd name="connsiteY44" fmla="*/ 243960 h 461568"/>
                  <a:gd name="connsiteX45" fmla="*/ 134264 w 482022"/>
                  <a:gd name="connsiteY45" fmla="*/ 191467 h 461568"/>
                  <a:gd name="connsiteX46" fmla="*/ 203073 w 482022"/>
                  <a:gd name="connsiteY46" fmla="*/ 174161 h 461568"/>
                  <a:gd name="connsiteX47" fmla="*/ 306648 w 482022"/>
                  <a:gd name="connsiteY47" fmla="*/ 117573 h 461568"/>
                  <a:gd name="connsiteX48" fmla="*/ 307495 w 482022"/>
                  <a:gd name="connsiteY48" fmla="*/ 116982 h 461568"/>
                  <a:gd name="connsiteX49" fmla="*/ 309981 w 482022"/>
                  <a:gd name="connsiteY49" fmla="*/ 120944 h 461568"/>
                  <a:gd name="connsiteX50" fmla="*/ 305495 w 482022"/>
                  <a:gd name="connsiteY50" fmla="*/ 166198 h 461568"/>
                  <a:gd name="connsiteX51" fmla="*/ 341947 w 482022"/>
                  <a:gd name="connsiteY51" fmla="*/ 170836 h 461568"/>
                  <a:gd name="connsiteX52" fmla="*/ 342614 w 482022"/>
                  <a:gd name="connsiteY52" fmla="*/ 170836 h 461568"/>
                  <a:gd name="connsiteX53" fmla="*/ 349282 w 482022"/>
                  <a:gd name="connsiteY53" fmla="*/ 172065 h 461568"/>
                  <a:gd name="connsiteX54" fmla="*/ 348091 w 482022"/>
                  <a:gd name="connsiteY54" fmla="*/ 187638 h 461568"/>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73895 w 482022"/>
                  <a:gd name="connsiteY12" fmla="*/ 101655 h 453480"/>
                  <a:gd name="connsiteX13" fmla="*/ 53854 w 482022"/>
                  <a:gd name="connsiteY13" fmla="*/ 165377 h 453480"/>
                  <a:gd name="connsiteX14" fmla="*/ 80191 w 482022"/>
                  <a:gd name="connsiteY14" fmla="*/ 231052 h 453480"/>
                  <a:gd name="connsiteX15" fmla="*/ 91697 w 482022"/>
                  <a:gd name="connsiteY15" fmla="*/ 224385 h 453480"/>
                  <a:gd name="connsiteX16" fmla="*/ 108432 w 482022"/>
                  <a:gd name="connsiteY16" fmla="*/ 239501 h 453480"/>
                  <a:gd name="connsiteX17" fmla="*/ 57588 w 482022"/>
                  <a:gd name="connsiteY17" fmla="*/ 339294 h 453480"/>
                  <a:gd name="connsiteX18" fmla="*/ 92316 w 482022"/>
                  <a:gd name="connsiteY18" fmla="*/ 337904 h 453480"/>
                  <a:gd name="connsiteX19" fmla="*/ 0 w 482022"/>
                  <a:gd name="connsiteY19" fmla="*/ 453480 h 453480"/>
                  <a:gd name="connsiteX20" fmla="*/ 482022 w 482022"/>
                  <a:gd name="connsiteY20" fmla="*/ 453480 h 453480"/>
                  <a:gd name="connsiteX21" fmla="*/ 372542 w 482022"/>
                  <a:gd name="connsiteY21" fmla="*/ 331398 h 453480"/>
                  <a:gd name="connsiteX22" fmla="*/ 278320 w 482022"/>
                  <a:gd name="connsiteY22" fmla="*/ 373698 h 453480"/>
                  <a:gd name="connsiteX23" fmla="*/ 241011 w 482022"/>
                  <a:gd name="connsiteY23" fmla="*/ 434297 h 453480"/>
                  <a:gd name="connsiteX24" fmla="*/ 203720 w 482022"/>
                  <a:gd name="connsiteY24" fmla="*/ 373698 h 453480"/>
                  <a:gd name="connsiteX25" fmla="*/ 147237 w 482022"/>
                  <a:gd name="connsiteY25" fmla="*/ 339294 h 453480"/>
                  <a:gd name="connsiteX26" fmla="*/ 192424 w 482022"/>
                  <a:gd name="connsiteY26" fmla="*/ 353067 h 453480"/>
                  <a:gd name="connsiteX27" fmla="*/ 171878 w 482022"/>
                  <a:gd name="connsiteY27" fmla="*/ 307252 h 453480"/>
                  <a:gd name="connsiteX28" fmla="*/ 241001 w 482022"/>
                  <a:gd name="connsiteY28" fmla="*/ 338408 h 453480"/>
                  <a:gd name="connsiteX29" fmla="*/ 308781 w 482022"/>
                  <a:gd name="connsiteY29" fmla="*/ 308605 h 453480"/>
                  <a:gd name="connsiteX30" fmla="*/ 294465 w 482022"/>
                  <a:gd name="connsiteY30" fmla="*/ 338408 h 453480"/>
                  <a:gd name="connsiteX31" fmla="*/ 338471 w 482022"/>
                  <a:gd name="connsiteY31" fmla="*/ 328902 h 453480"/>
                  <a:gd name="connsiteX32" fmla="*/ 278320 w 482022"/>
                  <a:gd name="connsiteY32" fmla="*/ 373698 h 453480"/>
                  <a:gd name="connsiteX33" fmla="*/ 348091 w 482022"/>
                  <a:gd name="connsiteY33" fmla="*/ 179550 h 453480"/>
                  <a:gd name="connsiteX34" fmla="*/ 328126 w 482022"/>
                  <a:gd name="connsiteY34" fmla="*/ 254760 h 453480"/>
                  <a:gd name="connsiteX35" fmla="*/ 241011 w 482022"/>
                  <a:gd name="connsiteY35" fmla="*/ 319549 h 453480"/>
                  <a:gd name="connsiteX36" fmla="*/ 156610 w 482022"/>
                  <a:gd name="connsiteY36" fmla="*/ 259941 h 453480"/>
                  <a:gd name="connsiteX37" fmla="*/ 187414 w 482022"/>
                  <a:gd name="connsiteY37" fmla="*/ 263151 h 453480"/>
                  <a:gd name="connsiteX38" fmla="*/ 197824 w 482022"/>
                  <a:gd name="connsiteY38" fmla="*/ 262694 h 453480"/>
                  <a:gd name="connsiteX39" fmla="*/ 217713 w 482022"/>
                  <a:gd name="connsiteY39" fmla="*/ 270752 h 453480"/>
                  <a:gd name="connsiteX40" fmla="*/ 234400 w 482022"/>
                  <a:gd name="connsiteY40" fmla="*/ 247092 h 453480"/>
                  <a:gd name="connsiteX41" fmla="*/ 210731 w 482022"/>
                  <a:gd name="connsiteY41" fmla="*/ 230423 h 453480"/>
                  <a:gd name="connsiteX42" fmla="*/ 195491 w 482022"/>
                  <a:gd name="connsiteY42" fmla="*/ 242358 h 453480"/>
                  <a:gd name="connsiteX43" fmla="*/ 145847 w 482022"/>
                  <a:gd name="connsiteY43" fmla="*/ 235872 h 453480"/>
                  <a:gd name="connsiteX44" fmla="*/ 134264 w 482022"/>
                  <a:gd name="connsiteY44" fmla="*/ 183379 h 453480"/>
                  <a:gd name="connsiteX45" fmla="*/ 203073 w 482022"/>
                  <a:gd name="connsiteY45" fmla="*/ 166073 h 453480"/>
                  <a:gd name="connsiteX46" fmla="*/ 306648 w 482022"/>
                  <a:gd name="connsiteY46" fmla="*/ 109485 h 453480"/>
                  <a:gd name="connsiteX47" fmla="*/ 307495 w 482022"/>
                  <a:gd name="connsiteY47" fmla="*/ 108894 h 453480"/>
                  <a:gd name="connsiteX48" fmla="*/ 309981 w 482022"/>
                  <a:gd name="connsiteY48" fmla="*/ 112856 h 453480"/>
                  <a:gd name="connsiteX49" fmla="*/ 305495 w 482022"/>
                  <a:gd name="connsiteY49" fmla="*/ 158110 h 453480"/>
                  <a:gd name="connsiteX50" fmla="*/ 341947 w 482022"/>
                  <a:gd name="connsiteY50" fmla="*/ 162748 h 453480"/>
                  <a:gd name="connsiteX51" fmla="*/ 342614 w 482022"/>
                  <a:gd name="connsiteY51" fmla="*/ 162748 h 453480"/>
                  <a:gd name="connsiteX52" fmla="*/ 349282 w 482022"/>
                  <a:gd name="connsiteY52" fmla="*/ 163977 h 453480"/>
                  <a:gd name="connsiteX53" fmla="*/ 348091 w 482022"/>
                  <a:gd name="connsiteY5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53854 w 482022"/>
                  <a:gd name="connsiteY12" fmla="*/ 165377 h 453480"/>
                  <a:gd name="connsiteX13" fmla="*/ 80191 w 482022"/>
                  <a:gd name="connsiteY13" fmla="*/ 231052 h 453480"/>
                  <a:gd name="connsiteX14" fmla="*/ 91697 w 482022"/>
                  <a:gd name="connsiteY14" fmla="*/ 224385 h 453480"/>
                  <a:gd name="connsiteX15" fmla="*/ 108432 w 482022"/>
                  <a:gd name="connsiteY15" fmla="*/ 239501 h 453480"/>
                  <a:gd name="connsiteX16" fmla="*/ 57588 w 482022"/>
                  <a:gd name="connsiteY16" fmla="*/ 339294 h 453480"/>
                  <a:gd name="connsiteX17" fmla="*/ 92316 w 482022"/>
                  <a:gd name="connsiteY17" fmla="*/ 337904 h 453480"/>
                  <a:gd name="connsiteX18" fmla="*/ 0 w 482022"/>
                  <a:gd name="connsiteY18" fmla="*/ 453480 h 453480"/>
                  <a:gd name="connsiteX19" fmla="*/ 482022 w 482022"/>
                  <a:gd name="connsiteY19" fmla="*/ 453480 h 453480"/>
                  <a:gd name="connsiteX20" fmla="*/ 372542 w 482022"/>
                  <a:gd name="connsiteY20" fmla="*/ 331398 h 453480"/>
                  <a:gd name="connsiteX21" fmla="*/ 278320 w 482022"/>
                  <a:gd name="connsiteY21" fmla="*/ 373698 h 453480"/>
                  <a:gd name="connsiteX22" fmla="*/ 241011 w 482022"/>
                  <a:gd name="connsiteY22" fmla="*/ 434297 h 453480"/>
                  <a:gd name="connsiteX23" fmla="*/ 203720 w 482022"/>
                  <a:gd name="connsiteY23" fmla="*/ 373698 h 453480"/>
                  <a:gd name="connsiteX24" fmla="*/ 147237 w 482022"/>
                  <a:gd name="connsiteY24" fmla="*/ 339294 h 453480"/>
                  <a:gd name="connsiteX25" fmla="*/ 192424 w 482022"/>
                  <a:gd name="connsiteY25" fmla="*/ 353067 h 453480"/>
                  <a:gd name="connsiteX26" fmla="*/ 171878 w 482022"/>
                  <a:gd name="connsiteY26" fmla="*/ 307252 h 453480"/>
                  <a:gd name="connsiteX27" fmla="*/ 241001 w 482022"/>
                  <a:gd name="connsiteY27" fmla="*/ 338408 h 453480"/>
                  <a:gd name="connsiteX28" fmla="*/ 308781 w 482022"/>
                  <a:gd name="connsiteY28" fmla="*/ 308605 h 453480"/>
                  <a:gd name="connsiteX29" fmla="*/ 294465 w 482022"/>
                  <a:gd name="connsiteY29" fmla="*/ 338408 h 453480"/>
                  <a:gd name="connsiteX30" fmla="*/ 338471 w 482022"/>
                  <a:gd name="connsiteY30" fmla="*/ 328902 h 453480"/>
                  <a:gd name="connsiteX31" fmla="*/ 278320 w 482022"/>
                  <a:gd name="connsiteY31" fmla="*/ 373698 h 453480"/>
                  <a:gd name="connsiteX32" fmla="*/ 348091 w 482022"/>
                  <a:gd name="connsiteY32" fmla="*/ 179550 h 453480"/>
                  <a:gd name="connsiteX33" fmla="*/ 328126 w 482022"/>
                  <a:gd name="connsiteY33" fmla="*/ 254760 h 453480"/>
                  <a:gd name="connsiteX34" fmla="*/ 241011 w 482022"/>
                  <a:gd name="connsiteY34" fmla="*/ 319549 h 453480"/>
                  <a:gd name="connsiteX35" fmla="*/ 156610 w 482022"/>
                  <a:gd name="connsiteY35" fmla="*/ 259941 h 453480"/>
                  <a:gd name="connsiteX36" fmla="*/ 187414 w 482022"/>
                  <a:gd name="connsiteY36" fmla="*/ 263151 h 453480"/>
                  <a:gd name="connsiteX37" fmla="*/ 197824 w 482022"/>
                  <a:gd name="connsiteY37" fmla="*/ 262694 h 453480"/>
                  <a:gd name="connsiteX38" fmla="*/ 217713 w 482022"/>
                  <a:gd name="connsiteY38" fmla="*/ 270752 h 453480"/>
                  <a:gd name="connsiteX39" fmla="*/ 234400 w 482022"/>
                  <a:gd name="connsiteY39" fmla="*/ 247092 h 453480"/>
                  <a:gd name="connsiteX40" fmla="*/ 210731 w 482022"/>
                  <a:gd name="connsiteY40" fmla="*/ 230423 h 453480"/>
                  <a:gd name="connsiteX41" fmla="*/ 195491 w 482022"/>
                  <a:gd name="connsiteY41" fmla="*/ 242358 h 453480"/>
                  <a:gd name="connsiteX42" fmla="*/ 145847 w 482022"/>
                  <a:gd name="connsiteY42" fmla="*/ 235872 h 453480"/>
                  <a:gd name="connsiteX43" fmla="*/ 134264 w 482022"/>
                  <a:gd name="connsiteY43" fmla="*/ 183379 h 453480"/>
                  <a:gd name="connsiteX44" fmla="*/ 203073 w 482022"/>
                  <a:gd name="connsiteY44" fmla="*/ 166073 h 453480"/>
                  <a:gd name="connsiteX45" fmla="*/ 306648 w 482022"/>
                  <a:gd name="connsiteY45" fmla="*/ 109485 h 453480"/>
                  <a:gd name="connsiteX46" fmla="*/ 307495 w 482022"/>
                  <a:gd name="connsiteY46" fmla="*/ 108894 h 453480"/>
                  <a:gd name="connsiteX47" fmla="*/ 309981 w 482022"/>
                  <a:gd name="connsiteY47" fmla="*/ 112856 h 453480"/>
                  <a:gd name="connsiteX48" fmla="*/ 305495 w 482022"/>
                  <a:gd name="connsiteY48" fmla="*/ 158110 h 453480"/>
                  <a:gd name="connsiteX49" fmla="*/ 341947 w 482022"/>
                  <a:gd name="connsiteY49" fmla="*/ 162748 h 453480"/>
                  <a:gd name="connsiteX50" fmla="*/ 342614 w 482022"/>
                  <a:gd name="connsiteY50" fmla="*/ 162748 h 453480"/>
                  <a:gd name="connsiteX51" fmla="*/ 349282 w 482022"/>
                  <a:gd name="connsiteY51" fmla="*/ 163977 h 453480"/>
                  <a:gd name="connsiteX52" fmla="*/ 348091 w 482022"/>
                  <a:gd name="connsiteY5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53854 w 482022"/>
                  <a:gd name="connsiteY11" fmla="*/ 165377 h 453480"/>
                  <a:gd name="connsiteX12" fmla="*/ 80191 w 482022"/>
                  <a:gd name="connsiteY12" fmla="*/ 231052 h 453480"/>
                  <a:gd name="connsiteX13" fmla="*/ 91697 w 482022"/>
                  <a:gd name="connsiteY13" fmla="*/ 224385 h 453480"/>
                  <a:gd name="connsiteX14" fmla="*/ 108432 w 482022"/>
                  <a:gd name="connsiteY14" fmla="*/ 239501 h 453480"/>
                  <a:gd name="connsiteX15" fmla="*/ 57588 w 482022"/>
                  <a:gd name="connsiteY15" fmla="*/ 339294 h 453480"/>
                  <a:gd name="connsiteX16" fmla="*/ 92316 w 482022"/>
                  <a:gd name="connsiteY16" fmla="*/ 337904 h 453480"/>
                  <a:gd name="connsiteX17" fmla="*/ 0 w 482022"/>
                  <a:gd name="connsiteY17" fmla="*/ 453480 h 453480"/>
                  <a:gd name="connsiteX18" fmla="*/ 482022 w 482022"/>
                  <a:gd name="connsiteY18" fmla="*/ 453480 h 453480"/>
                  <a:gd name="connsiteX19" fmla="*/ 372542 w 482022"/>
                  <a:gd name="connsiteY19" fmla="*/ 331398 h 453480"/>
                  <a:gd name="connsiteX20" fmla="*/ 278320 w 482022"/>
                  <a:gd name="connsiteY20" fmla="*/ 373698 h 453480"/>
                  <a:gd name="connsiteX21" fmla="*/ 241011 w 482022"/>
                  <a:gd name="connsiteY21" fmla="*/ 434297 h 453480"/>
                  <a:gd name="connsiteX22" fmla="*/ 203720 w 482022"/>
                  <a:gd name="connsiteY22" fmla="*/ 373698 h 453480"/>
                  <a:gd name="connsiteX23" fmla="*/ 147237 w 482022"/>
                  <a:gd name="connsiteY23" fmla="*/ 339294 h 453480"/>
                  <a:gd name="connsiteX24" fmla="*/ 192424 w 482022"/>
                  <a:gd name="connsiteY24" fmla="*/ 353067 h 453480"/>
                  <a:gd name="connsiteX25" fmla="*/ 171878 w 482022"/>
                  <a:gd name="connsiteY25" fmla="*/ 307252 h 453480"/>
                  <a:gd name="connsiteX26" fmla="*/ 241001 w 482022"/>
                  <a:gd name="connsiteY26" fmla="*/ 338408 h 453480"/>
                  <a:gd name="connsiteX27" fmla="*/ 308781 w 482022"/>
                  <a:gd name="connsiteY27" fmla="*/ 308605 h 453480"/>
                  <a:gd name="connsiteX28" fmla="*/ 294465 w 482022"/>
                  <a:gd name="connsiteY28" fmla="*/ 338408 h 453480"/>
                  <a:gd name="connsiteX29" fmla="*/ 338471 w 482022"/>
                  <a:gd name="connsiteY29" fmla="*/ 328902 h 453480"/>
                  <a:gd name="connsiteX30" fmla="*/ 278320 w 482022"/>
                  <a:gd name="connsiteY30" fmla="*/ 373698 h 453480"/>
                  <a:gd name="connsiteX31" fmla="*/ 348091 w 482022"/>
                  <a:gd name="connsiteY31" fmla="*/ 179550 h 453480"/>
                  <a:gd name="connsiteX32" fmla="*/ 328126 w 482022"/>
                  <a:gd name="connsiteY32" fmla="*/ 254760 h 453480"/>
                  <a:gd name="connsiteX33" fmla="*/ 241011 w 482022"/>
                  <a:gd name="connsiteY33" fmla="*/ 319549 h 453480"/>
                  <a:gd name="connsiteX34" fmla="*/ 156610 w 482022"/>
                  <a:gd name="connsiteY34" fmla="*/ 259941 h 453480"/>
                  <a:gd name="connsiteX35" fmla="*/ 187414 w 482022"/>
                  <a:gd name="connsiteY35" fmla="*/ 263151 h 453480"/>
                  <a:gd name="connsiteX36" fmla="*/ 197824 w 482022"/>
                  <a:gd name="connsiteY36" fmla="*/ 262694 h 453480"/>
                  <a:gd name="connsiteX37" fmla="*/ 217713 w 482022"/>
                  <a:gd name="connsiteY37" fmla="*/ 270752 h 453480"/>
                  <a:gd name="connsiteX38" fmla="*/ 234400 w 482022"/>
                  <a:gd name="connsiteY38" fmla="*/ 247092 h 453480"/>
                  <a:gd name="connsiteX39" fmla="*/ 210731 w 482022"/>
                  <a:gd name="connsiteY39" fmla="*/ 230423 h 453480"/>
                  <a:gd name="connsiteX40" fmla="*/ 195491 w 482022"/>
                  <a:gd name="connsiteY40" fmla="*/ 242358 h 453480"/>
                  <a:gd name="connsiteX41" fmla="*/ 145847 w 482022"/>
                  <a:gd name="connsiteY41" fmla="*/ 235872 h 453480"/>
                  <a:gd name="connsiteX42" fmla="*/ 134264 w 482022"/>
                  <a:gd name="connsiteY42" fmla="*/ 183379 h 453480"/>
                  <a:gd name="connsiteX43" fmla="*/ 203073 w 482022"/>
                  <a:gd name="connsiteY43" fmla="*/ 166073 h 453480"/>
                  <a:gd name="connsiteX44" fmla="*/ 306648 w 482022"/>
                  <a:gd name="connsiteY44" fmla="*/ 109485 h 453480"/>
                  <a:gd name="connsiteX45" fmla="*/ 307495 w 482022"/>
                  <a:gd name="connsiteY45" fmla="*/ 108894 h 453480"/>
                  <a:gd name="connsiteX46" fmla="*/ 309981 w 482022"/>
                  <a:gd name="connsiteY46" fmla="*/ 112856 h 453480"/>
                  <a:gd name="connsiteX47" fmla="*/ 305495 w 482022"/>
                  <a:gd name="connsiteY47" fmla="*/ 158110 h 453480"/>
                  <a:gd name="connsiteX48" fmla="*/ 341947 w 482022"/>
                  <a:gd name="connsiteY48" fmla="*/ 162748 h 453480"/>
                  <a:gd name="connsiteX49" fmla="*/ 342614 w 482022"/>
                  <a:gd name="connsiteY49" fmla="*/ 162748 h 453480"/>
                  <a:gd name="connsiteX50" fmla="*/ 349282 w 482022"/>
                  <a:gd name="connsiteY50" fmla="*/ 163977 h 453480"/>
                  <a:gd name="connsiteX51" fmla="*/ 348091 w 482022"/>
                  <a:gd name="connsiteY5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80191 w 482022"/>
                  <a:gd name="connsiteY11" fmla="*/ 231052 h 453480"/>
                  <a:gd name="connsiteX12" fmla="*/ 91697 w 482022"/>
                  <a:gd name="connsiteY12" fmla="*/ 224385 h 453480"/>
                  <a:gd name="connsiteX13" fmla="*/ 108432 w 482022"/>
                  <a:gd name="connsiteY13" fmla="*/ 239501 h 453480"/>
                  <a:gd name="connsiteX14" fmla="*/ 57588 w 482022"/>
                  <a:gd name="connsiteY14" fmla="*/ 339294 h 453480"/>
                  <a:gd name="connsiteX15" fmla="*/ 92316 w 482022"/>
                  <a:gd name="connsiteY15" fmla="*/ 337904 h 453480"/>
                  <a:gd name="connsiteX16" fmla="*/ 0 w 482022"/>
                  <a:gd name="connsiteY16" fmla="*/ 453480 h 453480"/>
                  <a:gd name="connsiteX17" fmla="*/ 482022 w 482022"/>
                  <a:gd name="connsiteY17" fmla="*/ 453480 h 453480"/>
                  <a:gd name="connsiteX18" fmla="*/ 372542 w 482022"/>
                  <a:gd name="connsiteY18" fmla="*/ 331398 h 453480"/>
                  <a:gd name="connsiteX19" fmla="*/ 278320 w 482022"/>
                  <a:gd name="connsiteY19" fmla="*/ 373698 h 453480"/>
                  <a:gd name="connsiteX20" fmla="*/ 241011 w 482022"/>
                  <a:gd name="connsiteY20" fmla="*/ 434297 h 453480"/>
                  <a:gd name="connsiteX21" fmla="*/ 203720 w 482022"/>
                  <a:gd name="connsiteY21" fmla="*/ 373698 h 453480"/>
                  <a:gd name="connsiteX22" fmla="*/ 147237 w 482022"/>
                  <a:gd name="connsiteY22" fmla="*/ 339294 h 453480"/>
                  <a:gd name="connsiteX23" fmla="*/ 192424 w 482022"/>
                  <a:gd name="connsiteY23" fmla="*/ 353067 h 453480"/>
                  <a:gd name="connsiteX24" fmla="*/ 171878 w 482022"/>
                  <a:gd name="connsiteY24" fmla="*/ 307252 h 453480"/>
                  <a:gd name="connsiteX25" fmla="*/ 241001 w 482022"/>
                  <a:gd name="connsiteY25" fmla="*/ 338408 h 453480"/>
                  <a:gd name="connsiteX26" fmla="*/ 308781 w 482022"/>
                  <a:gd name="connsiteY26" fmla="*/ 308605 h 453480"/>
                  <a:gd name="connsiteX27" fmla="*/ 294465 w 482022"/>
                  <a:gd name="connsiteY27" fmla="*/ 338408 h 453480"/>
                  <a:gd name="connsiteX28" fmla="*/ 338471 w 482022"/>
                  <a:gd name="connsiteY28" fmla="*/ 328902 h 453480"/>
                  <a:gd name="connsiteX29" fmla="*/ 278320 w 482022"/>
                  <a:gd name="connsiteY29" fmla="*/ 373698 h 453480"/>
                  <a:gd name="connsiteX30" fmla="*/ 348091 w 482022"/>
                  <a:gd name="connsiteY30" fmla="*/ 179550 h 453480"/>
                  <a:gd name="connsiteX31" fmla="*/ 328126 w 482022"/>
                  <a:gd name="connsiteY31" fmla="*/ 254760 h 453480"/>
                  <a:gd name="connsiteX32" fmla="*/ 241011 w 482022"/>
                  <a:gd name="connsiteY32" fmla="*/ 319549 h 453480"/>
                  <a:gd name="connsiteX33" fmla="*/ 156610 w 482022"/>
                  <a:gd name="connsiteY33" fmla="*/ 259941 h 453480"/>
                  <a:gd name="connsiteX34" fmla="*/ 187414 w 482022"/>
                  <a:gd name="connsiteY34" fmla="*/ 263151 h 453480"/>
                  <a:gd name="connsiteX35" fmla="*/ 197824 w 482022"/>
                  <a:gd name="connsiteY35" fmla="*/ 262694 h 453480"/>
                  <a:gd name="connsiteX36" fmla="*/ 217713 w 482022"/>
                  <a:gd name="connsiteY36" fmla="*/ 270752 h 453480"/>
                  <a:gd name="connsiteX37" fmla="*/ 234400 w 482022"/>
                  <a:gd name="connsiteY37" fmla="*/ 247092 h 453480"/>
                  <a:gd name="connsiteX38" fmla="*/ 210731 w 482022"/>
                  <a:gd name="connsiteY38" fmla="*/ 230423 h 453480"/>
                  <a:gd name="connsiteX39" fmla="*/ 195491 w 482022"/>
                  <a:gd name="connsiteY39" fmla="*/ 242358 h 453480"/>
                  <a:gd name="connsiteX40" fmla="*/ 145847 w 482022"/>
                  <a:gd name="connsiteY40" fmla="*/ 235872 h 453480"/>
                  <a:gd name="connsiteX41" fmla="*/ 134264 w 482022"/>
                  <a:gd name="connsiteY41" fmla="*/ 183379 h 453480"/>
                  <a:gd name="connsiteX42" fmla="*/ 203073 w 482022"/>
                  <a:gd name="connsiteY42" fmla="*/ 166073 h 453480"/>
                  <a:gd name="connsiteX43" fmla="*/ 306648 w 482022"/>
                  <a:gd name="connsiteY43" fmla="*/ 109485 h 453480"/>
                  <a:gd name="connsiteX44" fmla="*/ 307495 w 482022"/>
                  <a:gd name="connsiteY44" fmla="*/ 108894 h 453480"/>
                  <a:gd name="connsiteX45" fmla="*/ 309981 w 482022"/>
                  <a:gd name="connsiteY45" fmla="*/ 112856 h 453480"/>
                  <a:gd name="connsiteX46" fmla="*/ 305495 w 482022"/>
                  <a:gd name="connsiteY46" fmla="*/ 158110 h 453480"/>
                  <a:gd name="connsiteX47" fmla="*/ 341947 w 482022"/>
                  <a:gd name="connsiteY47" fmla="*/ 162748 h 453480"/>
                  <a:gd name="connsiteX48" fmla="*/ 342614 w 482022"/>
                  <a:gd name="connsiteY48" fmla="*/ 162748 h 453480"/>
                  <a:gd name="connsiteX49" fmla="*/ 349282 w 482022"/>
                  <a:gd name="connsiteY49" fmla="*/ 163977 h 453480"/>
                  <a:gd name="connsiteX50" fmla="*/ 348091 w 482022"/>
                  <a:gd name="connsiteY5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379228 w 482022"/>
                  <a:gd name="connsiteY9" fmla="*/ 165368 h 453480"/>
                  <a:gd name="connsiteX10" fmla="*/ 80191 w 482022"/>
                  <a:gd name="connsiteY10" fmla="*/ 231052 h 453480"/>
                  <a:gd name="connsiteX11" fmla="*/ 91697 w 482022"/>
                  <a:gd name="connsiteY11" fmla="*/ 224385 h 453480"/>
                  <a:gd name="connsiteX12" fmla="*/ 108432 w 482022"/>
                  <a:gd name="connsiteY12" fmla="*/ 239501 h 453480"/>
                  <a:gd name="connsiteX13" fmla="*/ 57588 w 482022"/>
                  <a:gd name="connsiteY13" fmla="*/ 339294 h 453480"/>
                  <a:gd name="connsiteX14" fmla="*/ 92316 w 482022"/>
                  <a:gd name="connsiteY14" fmla="*/ 337904 h 453480"/>
                  <a:gd name="connsiteX15" fmla="*/ 0 w 482022"/>
                  <a:gd name="connsiteY15" fmla="*/ 453480 h 453480"/>
                  <a:gd name="connsiteX16" fmla="*/ 482022 w 482022"/>
                  <a:gd name="connsiteY16" fmla="*/ 453480 h 453480"/>
                  <a:gd name="connsiteX17" fmla="*/ 372542 w 482022"/>
                  <a:gd name="connsiteY17" fmla="*/ 331398 h 453480"/>
                  <a:gd name="connsiteX18" fmla="*/ 278320 w 482022"/>
                  <a:gd name="connsiteY18" fmla="*/ 373698 h 453480"/>
                  <a:gd name="connsiteX19" fmla="*/ 241011 w 482022"/>
                  <a:gd name="connsiteY19" fmla="*/ 434297 h 453480"/>
                  <a:gd name="connsiteX20" fmla="*/ 203720 w 482022"/>
                  <a:gd name="connsiteY20" fmla="*/ 373698 h 453480"/>
                  <a:gd name="connsiteX21" fmla="*/ 147237 w 482022"/>
                  <a:gd name="connsiteY21" fmla="*/ 339294 h 453480"/>
                  <a:gd name="connsiteX22" fmla="*/ 192424 w 482022"/>
                  <a:gd name="connsiteY22" fmla="*/ 353067 h 453480"/>
                  <a:gd name="connsiteX23" fmla="*/ 171878 w 482022"/>
                  <a:gd name="connsiteY23" fmla="*/ 307252 h 453480"/>
                  <a:gd name="connsiteX24" fmla="*/ 241001 w 482022"/>
                  <a:gd name="connsiteY24" fmla="*/ 338408 h 453480"/>
                  <a:gd name="connsiteX25" fmla="*/ 308781 w 482022"/>
                  <a:gd name="connsiteY25" fmla="*/ 308605 h 453480"/>
                  <a:gd name="connsiteX26" fmla="*/ 294465 w 482022"/>
                  <a:gd name="connsiteY26" fmla="*/ 338408 h 453480"/>
                  <a:gd name="connsiteX27" fmla="*/ 338471 w 482022"/>
                  <a:gd name="connsiteY27" fmla="*/ 328902 h 453480"/>
                  <a:gd name="connsiteX28" fmla="*/ 278320 w 482022"/>
                  <a:gd name="connsiteY28" fmla="*/ 373698 h 453480"/>
                  <a:gd name="connsiteX29" fmla="*/ 348091 w 482022"/>
                  <a:gd name="connsiteY29" fmla="*/ 179550 h 453480"/>
                  <a:gd name="connsiteX30" fmla="*/ 328126 w 482022"/>
                  <a:gd name="connsiteY30" fmla="*/ 254760 h 453480"/>
                  <a:gd name="connsiteX31" fmla="*/ 241011 w 482022"/>
                  <a:gd name="connsiteY31" fmla="*/ 319549 h 453480"/>
                  <a:gd name="connsiteX32" fmla="*/ 156610 w 482022"/>
                  <a:gd name="connsiteY32" fmla="*/ 259941 h 453480"/>
                  <a:gd name="connsiteX33" fmla="*/ 187414 w 482022"/>
                  <a:gd name="connsiteY33" fmla="*/ 263151 h 453480"/>
                  <a:gd name="connsiteX34" fmla="*/ 197824 w 482022"/>
                  <a:gd name="connsiteY34" fmla="*/ 262694 h 453480"/>
                  <a:gd name="connsiteX35" fmla="*/ 217713 w 482022"/>
                  <a:gd name="connsiteY35" fmla="*/ 270752 h 453480"/>
                  <a:gd name="connsiteX36" fmla="*/ 234400 w 482022"/>
                  <a:gd name="connsiteY36" fmla="*/ 247092 h 453480"/>
                  <a:gd name="connsiteX37" fmla="*/ 210731 w 482022"/>
                  <a:gd name="connsiteY37" fmla="*/ 230423 h 453480"/>
                  <a:gd name="connsiteX38" fmla="*/ 195491 w 482022"/>
                  <a:gd name="connsiteY38" fmla="*/ 242358 h 453480"/>
                  <a:gd name="connsiteX39" fmla="*/ 145847 w 482022"/>
                  <a:gd name="connsiteY39" fmla="*/ 235872 h 453480"/>
                  <a:gd name="connsiteX40" fmla="*/ 134264 w 482022"/>
                  <a:gd name="connsiteY40" fmla="*/ 183379 h 453480"/>
                  <a:gd name="connsiteX41" fmla="*/ 203073 w 482022"/>
                  <a:gd name="connsiteY41" fmla="*/ 166073 h 453480"/>
                  <a:gd name="connsiteX42" fmla="*/ 306648 w 482022"/>
                  <a:gd name="connsiteY42" fmla="*/ 109485 h 453480"/>
                  <a:gd name="connsiteX43" fmla="*/ 307495 w 482022"/>
                  <a:gd name="connsiteY43" fmla="*/ 108894 h 453480"/>
                  <a:gd name="connsiteX44" fmla="*/ 309981 w 482022"/>
                  <a:gd name="connsiteY44" fmla="*/ 112856 h 453480"/>
                  <a:gd name="connsiteX45" fmla="*/ 305495 w 482022"/>
                  <a:gd name="connsiteY45" fmla="*/ 158110 h 453480"/>
                  <a:gd name="connsiteX46" fmla="*/ 341947 w 482022"/>
                  <a:gd name="connsiteY46" fmla="*/ 162748 h 453480"/>
                  <a:gd name="connsiteX47" fmla="*/ 342614 w 482022"/>
                  <a:gd name="connsiteY47" fmla="*/ 162748 h 453480"/>
                  <a:gd name="connsiteX48" fmla="*/ 349282 w 482022"/>
                  <a:gd name="connsiteY48" fmla="*/ 163977 h 453480"/>
                  <a:gd name="connsiteX49" fmla="*/ 348091 w 482022"/>
                  <a:gd name="connsiteY49"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34400 w 482022"/>
                  <a:gd name="connsiteY35" fmla="*/ 247092 h 453480"/>
                  <a:gd name="connsiteX36" fmla="*/ 210731 w 482022"/>
                  <a:gd name="connsiteY36" fmla="*/ 230423 h 453480"/>
                  <a:gd name="connsiteX37" fmla="*/ 195491 w 482022"/>
                  <a:gd name="connsiteY37" fmla="*/ 242358 h 453480"/>
                  <a:gd name="connsiteX38" fmla="*/ 145847 w 482022"/>
                  <a:gd name="connsiteY38" fmla="*/ 235872 h 453480"/>
                  <a:gd name="connsiteX39" fmla="*/ 134264 w 482022"/>
                  <a:gd name="connsiteY39" fmla="*/ 183379 h 453480"/>
                  <a:gd name="connsiteX40" fmla="*/ 203073 w 482022"/>
                  <a:gd name="connsiteY40" fmla="*/ 166073 h 453480"/>
                  <a:gd name="connsiteX41" fmla="*/ 306648 w 482022"/>
                  <a:gd name="connsiteY41" fmla="*/ 109485 h 453480"/>
                  <a:gd name="connsiteX42" fmla="*/ 307495 w 482022"/>
                  <a:gd name="connsiteY42" fmla="*/ 108894 h 453480"/>
                  <a:gd name="connsiteX43" fmla="*/ 309981 w 482022"/>
                  <a:gd name="connsiteY43" fmla="*/ 112856 h 453480"/>
                  <a:gd name="connsiteX44" fmla="*/ 305495 w 482022"/>
                  <a:gd name="connsiteY44" fmla="*/ 158110 h 453480"/>
                  <a:gd name="connsiteX45" fmla="*/ 341947 w 482022"/>
                  <a:gd name="connsiteY45" fmla="*/ 162748 h 453480"/>
                  <a:gd name="connsiteX46" fmla="*/ 342614 w 482022"/>
                  <a:gd name="connsiteY46" fmla="*/ 162748 h 453480"/>
                  <a:gd name="connsiteX47" fmla="*/ 349282 w 482022"/>
                  <a:gd name="connsiteY47" fmla="*/ 163977 h 453480"/>
                  <a:gd name="connsiteX48" fmla="*/ 348091 w 482022"/>
                  <a:gd name="connsiteY48"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10731 w 482022"/>
                  <a:gd name="connsiteY35" fmla="*/ 230423 h 453480"/>
                  <a:gd name="connsiteX36" fmla="*/ 195491 w 482022"/>
                  <a:gd name="connsiteY36" fmla="*/ 242358 h 453480"/>
                  <a:gd name="connsiteX37" fmla="*/ 145847 w 482022"/>
                  <a:gd name="connsiteY37" fmla="*/ 235872 h 453480"/>
                  <a:gd name="connsiteX38" fmla="*/ 134264 w 482022"/>
                  <a:gd name="connsiteY38" fmla="*/ 183379 h 453480"/>
                  <a:gd name="connsiteX39" fmla="*/ 203073 w 482022"/>
                  <a:gd name="connsiteY39" fmla="*/ 166073 h 453480"/>
                  <a:gd name="connsiteX40" fmla="*/ 306648 w 482022"/>
                  <a:gd name="connsiteY40" fmla="*/ 109485 h 453480"/>
                  <a:gd name="connsiteX41" fmla="*/ 307495 w 482022"/>
                  <a:gd name="connsiteY41" fmla="*/ 108894 h 453480"/>
                  <a:gd name="connsiteX42" fmla="*/ 309981 w 482022"/>
                  <a:gd name="connsiteY42" fmla="*/ 112856 h 453480"/>
                  <a:gd name="connsiteX43" fmla="*/ 305495 w 482022"/>
                  <a:gd name="connsiteY43" fmla="*/ 158110 h 453480"/>
                  <a:gd name="connsiteX44" fmla="*/ 341947 w 482022"/>
                  <a:gd name="connsiteY44" fmla="*/ 162748 h 453480"/>
                  <a:gd name="connsiteX45" fmla="*/ 342614 w 482022"/>
                  <a:gd name="connsiteY45" fmla="*/ 162748 h 453480"/>
                  <a:gd name="connsiteX46" fmla="*/ 349282 w 482022"/>
                  <a:gd name="connsiteY46" fmla="*/ 163977 h 453480"/>
                  <a:gd name="connsiteX47" fmla="*/ 348091 w 482022"/>
                  <a:gd name="connsiteY47"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195491 w 482022"/>
                  <a:gd name="connsiteY35" fmla="*/ 242358 h 453480"/>
                  <a:gd name="connsiteX36" fmla="*/ 145847 w 482022"/>
                  <a:gd name="connsiteY36" fmla="*/ 235872 h 453480"/>
                  <a:gd name="connsiteX37" fmla="*/ 134264 w 482022"/>
                  <a:gd name="connsiteY37" fmla="*/ 183379 h 453480"/>
                  <a:gd name="connsiteX38" fmla="*/ 203073 w 482022"/>
                  <a:gd name="connsiteY38" fmla="*/ 166073 h 453480"/>
                  <a:gd name="connsiteX39" fmla="*/ 306648 w 482022"/>
                  <a:gd name="connsiteY39" fmla="*/ 109485 h 453480"/>
                  <a:gd name="connsiteX40" fmla="*/ 307495 w 482022"/>
                  <a:gd name="connsiteY40" fmla="*/ 108894 h 453480"/>
                  <a:gd name="connsiteX41" fmla="*/ 309981 w 482022"/>
                  <a:gd name="connsiteY41" fmla="*/ 112856 h 453480"/>
                  <a:gd name="connsiteX42" fmla="*/ 305495 w 482022"/>
                  <a:gd name="connsiteY42" fmla="*/ 158110 h 453480"/>
                  <a:gd name="connsiteX43" fmla="*/ 341947 w 482022"/>
                  <a:gd name="connsiteY43" fmla="*/ 162748 h 453480"/>
                  <a:gd name="connsiteX44" fmla="*/ 342614 w 482022"/>
                  <a:gd name="connsiteY44" fmla="*/ 162748 h 453480"/>
                  <a:gd name="connsiteX45" fmla="*/ 349282 w 482022"/>
                  <a:gd name="connsiteY45" fmla="*/ 163977 h 453480"/>
                  <a:gd name="connsiteX46" fmla="*/ 348091 w 482022"/>
                  <a:gd name="connsiteY46"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195491 w 482022"/>
                  <a:gd name="connsiteY34" fmla="*/ 242358 h 453480"/>
                  <a:gd name="connsiteX35" fmla="*/ 145847 w 482022"/>
                  <a:gd name="connsiteY35" fmla="*/ 235872 h 453480"/>
                  <a:gd name="connsiteX36" fmla="*/ 134264 w 482022"/>
                  <a:gd name="connsiteY36" fmla="*/ 183379 h 453480"/>
                  <a:gd name="connsiteX37" fmla="*/ 203073 w 482022"/>
                  <a:gd name="connsiteY37" fmla="*/ 166073 h 453480"/>
                  <a:gd name="connsiteX38" fmla="*/ 306648 w 482022"/>
                  <a:gd name="connsiteY38" fmla="*/ 109485 h 453480"/>
                  <a:gd name="connsiteX39" fmla="*/ 307495 w 482022"/>
                  <a:gd name="connsiteY39" fmla="*/ 108894 h 453480"/>
                  <a:gd name="connsiteX40" fmla="*/ 309981 w 482022"/>
                  <a:gd name="connsiteY40" fmla="*/ 112856 h 453480"/>
                  <a:gd name="connsiteX41" fmla="*/ 305495 w 482022"/>
                  <a:gd name="connsiteY41" fmla="*/ 158110 h 453480"/>
                  <a:gd name="connsiteX42" fmla="*/ 341947 w 482022"/>
                  <a:gd name="connsiteY42" fmla="*/ 162748 h 453480"/>
                  <a:gd name="connsiteX43" fmla="*/ 342614 w 482022"/>
                  <a:gd name="connsiteY43" fmla="*/ 162748 h 453480"/>
                  <a:gd name="connsiteX44" fmla="*/ 349282 w 482022"/>
                  <a:gd name="connsiteY44" fmla="*/ 163977 h 453480"/>
                  <a:gd name="connsiteX45" fmla="*/ 348091 w 482022"/>
                  <a:gd name="connsiteY45"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5491 w 482022"/>
                  <a:gd name="connsiteY33" fmla="*/ 242358 h 453480"/>
                  <a:gd name="connsiteX34" fmla="*/ 145847 w 482022"/>
                  <a:gd name="connsiteY34" fmla="*/ 235872 h 453480"/>
                  <a:gd name="connsiteX35" fmla="*/ 134264 w 482022"/>
                  <a:gd name="connsiteY35" fmla="*/ 183379 h 453480"/>
                  <a:gd name="connsiteX36" fmla="*/ 203073 w 482022"/>
                  <a:gd name="connsiteY36" fmla="*/ 166073 h 453480"/>
                  <a:gd name="connsiteX37" fmla="*/ 306648 w 482022"/>
                  <a:gd name="connsiteY37" fmla="*/ 109485 h 453480"/>
                  <a:gd name="connsiteX38" fmla="*/ 307495 w 482022"/>
                  <a:gd name="connsiteY38" fmla="*/ 108894 h 453480"/>
                  <a:gd name="connsiteX39" fmla="*/ 309981 w 482022"/>
                  <a:gd name="connsiteY39" fmla="*/ 112856 h 453480"/>
                  <a:gd name="connsiteX40" fmla="*/ 305495 w 482022"/>
                  <a:gd name="connsiteY40" fmla="*/ 158110 h 453480"/>
                  <a:gd name="connsiteX41" fmla="*/ 341947 w 482022"/>
                  <a:gd name="connsiteY41" fmla="*/ 162748 h 453480"/>
                  <a:gd name="connsiteX42" fmla="*/ 342614 w 482022"/>
                  <a:gd name="connsiteY42" fmla="*/ 162748 h 453480"/>
                  <a:gd name="connsiteX43" fmla="*/ 349282 w 482022"/>
                  <a:gd name="connsiteY43" fmla="*/ 163977 h 453480"/>
                  <a:gd name="connsiteX44" fmla="*/ 348091 w 482022"/>
                  <a:gd name="connsiteY44"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45847 w 482022"/>
                  <a:gd name="connsiteY33" fmla="*/ 235872 h 453480"/>
                  <a:gd name="connsiteX34" fmla="*/ 134264 w 482022"/>
                  <a:gd name="connsiteY34" fmla="*/ 183379 h 453480"/>
                  <a:gd name="connsiteX35" fmla="*/ 203073 w 482022"/>
                  <a:gd name="connsiteY35" fmla="*/ 166073 h 453480"/>
                  <a:gd name="connsiteX36" fmla="*/ 306648 w 482022"/>
                  <a:gd name="connsiteY36" fmla="*/ 109485 h 453480"/>
                  <a:gd name="connsiteX37" fmla="*/ 307495 w 482022"/>
                  <a:gd name="connsiteY37" fmla="*/ 108894 h 453480"/>
                  <a:gd name="connsiteX38" fmla="*/ 309981 w 482022"/>
                  <a:gd name="connsiteY38" fmla="*/ 112856 h 453480"/>
                  <a:gd name="connsiteX39" fmla="*/ 305495 w 482022"/>
                  <a:gd name="connsiteY39" fmla="*/ 158110 h 453480"/>
                  <a:gd name="connsiteX40" fmla="*/ 341947 w 482022"/>
                  <a:gd name="connsiteY40" fmla="*/ 162748 h 453480"/>
                  <a:gd name="connsiteX41" fmla="*/ 342614 w 482022"/>
                  <a:gd name="connsiteY41" fmla="*/ 162748 h 453480"/>
                  <a:gd name="connsiteX42" fmla="*/ 349282 w 482022"/>
                  <a:gd name="connsiteY42" fmla="*/ 163977 h 453480"/>
                  <a:gd name="connsiteX43" fmla="*/ 348091 w 482022"/>
                  <a:gd name="connsiteY4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45847 w 482022"/>
                  <a:gd name="connsiteY32" fmla="*/ 235872 h 453480"/>
                  <a:gd name="connsiteX33" fmla="*/ 134264 w 482022"/>
                  <a:gd name="connsiteY33" fmla="*/ 183379 h 453480"/>
                  <a:gd name="connsiteX34" fmla="*/ 203073 w 482022"/>
                  <a:gd name="connsiteY34" fmla="*/ 166073 h 453480"/>
                  <a:gd name="connsiteX35" fmla="*/ 306648 w 482022"/>
                  <a:gd name="connsiteY35" fmla="*/ 109485 h 453480"/>
                  <a:gd name="connsiteX36" fmla="*/ 307495 w 482022"/>
                  <a:gd name="connsiteY36" fmla="*/ 108894 h 453480"/>
                  <a:gd name="connsiteX37" fmla="*/ 309981 w 482022"/>
                  <a:gd name="connsiteY37" fmla="*/ 112856 h 453480"/>
                  <a:gd name="connsiteX38" fmla="*/ 305495 w 482022"/>
                  <a:gd name="connsiteY38" fmla="*/ 158110 h 453480"/>
                  <a:gd name="connsiteX39" fmla="*/ 341947 w 482022"/>
                  <a:gd name="connsiteY39" fmla="*/ 162748 h 453480"/>
                  <a:gd name="connsiteX40" fmla="*/ 342614 w 482022"/>
                  <a:gd name="connsiteY40" fmla="*/ 162748 h 453480"/>
                  <a:gd name="connsiteX41" fmla="*/ 349282 w 482022"/>
                  <a:gd name="connsiteY41" fmla="*/ 163977 h 453480"/>
                  <a:gd name="connsiteX42" fmla="*/ 348091 w 482022"/>
                  <a:gd name="connsiteY4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91697 w 482022"/>
                  <a:gd name="connsiteY9" fmla="*/ 224385 h 453480"/>
                  <a:gd name="connsiteX10" fmla="*/ 108432 w 482022"/>
                  <a:gd name="connsiteY10" fmla="*/ 239501 h 453480"/>
                  <a:gd name="connsiteX11" fmla="*/ 57588 w 482022"/>
                  <a:gd name="connsiteY11" fmla="*/ 339294 h 453480"/>
                  <a:gd name="connsiteX12" fmla="*/ 92316 w 482022"/>
                  <a:gd name="connsiteY12" fmla="*/ 337904 h 453480"/>
                  <a:gd name="connsiteX13" fmla="*/ 0 w 482022"/>
                  <a:gd name="connsiteY13" fmla="*/ 453480 h 453480"/>
                  <a:gd name="connsiteX14" fmla="*/ 482022 w 482022"/>
                  <a:gd name="connsiteY14" fmla="*/ 453480 h 453480"/>
                  <a:gd name="connsiteX15" fmla="*/ 372542 w 482022"/>
                  <a:gd name="connsiteY15" fmla="*/ 331398 h 453480"/>
                  <a:gd name="connsiteX16" fmla="*/ 278320 w 482022"/>
                  <a:gd name="connsiteY16" fmla="*/ 373698 h 453480"/>
                  <a:gd name="connsiteX17" fmla="*/ 241011 w 482022"/>
                  <a:gd name="connsiteY17" fmla="*/ 434297 h 453480"/>
                  <a:gd name="connsiteX18" fmla="*/ 203720 w 482022"/>
                  <a:gd name="connsiteY18" fmla="*/ 373698 h 453480"/>
                  <a:gd name="connsiteX19" fmla="*/ 147237 w 482022"/>
                  <a:gd name="connsiteY19" fmla="*/ 339294 h 453480"/>
                  <a:gd name="connsiteX20" fmla="*/ 192424 w 482022"/>
                  <a:gd name="connsiteY20" fmla="*/ 353067 h 453480"/>
                  <a:gd name="connsiteX21" fmla="*/ 171878 w 482022"/>
                  <a:gd name="connsiteY21" fmla="*/ 307252 h 453480"/>
                  <a:gd name="connsiteX22" fmla="*/ 241001 w 482022"/>
                  <a:gd name="connsiteY22" fmla="*/ 338408 h 453480"/>
                  <a:gd name="connsiteX23" fmla="*/ 308781 w 482022"/>
                  <a:gd name="connsiteY23" fmla="*/ 308605 h 453480"/>
                  <a:gd name="connsiteX24" fmla="*/ 294465 w 482022"/>
                  <a:gd name="connsiteY24" fmla="*/ 338408 h 453480"/>
                  <a:gd name="connsiteX25" fmla="*/ 338471 w 482022"/>
                  <a:gd name="connsiteY25" fmla="*/ 328902 h 453480"/>
                  <a:gd name="connsiteX26" fmla="*/ 278320 w 482022"/>
                  <a:gd name="connsiteY26" fmla="*/ 373698 h 453480"/>
                  <a:gd name="connsiteX27" fmla="*/ 348091 w 482022"/>
                  <a:gd name="connsiteY27" fmla="*/ 179550 h 453480"/>
                  <a:gd name="connsiteX28" fmla="*/ 328126 w 482022"/>
                  <a:gd name="connsiteY28" fmla="*/ 254760 h 453480"/>
                  <a:gd name="connsiteX29" fmla="*/ 241011 w 482022"/>
                  <a:gd name="connsiteY29" fmla="*/ 319549 h 453480"/>
                  <a:gd name="connsiteX30" fmla="*/ 156610 w 482022"/>
                  <a:gd name="connsiteY30" fmla="*/ 259941 h 453480"/>
                  <a:gd name="connsiteX31" fmla="*/ 145847 w 482022"/>
                  <a:gd name="connsiteY31" fmla="*/ 235872 h 453480"/>
                  <a:gd name="connsiteX32" fmla="*/ 134264 w 482022"/>
                  <a:gd name="connsiteY32" fmla="*/ 183379 h 453480"/>
                  <a:gd name="connsiteX33" fmla="*/ 203073 w 482022"/>
                  <a:gd name="connsiteY33" fmla="*/ 166073 h 453480"/>
                  <a:gd name="connsiteX34" fmla="*/ 306648 w 482022"/>
                  <a:gd name="connsiteY34" fmla="*/ 109485 h 453480"/>
                  <a:gd name="connsiteX35" fmla="*/ 307495 w 482022"/>
                  <a:gd name="connsiteY35" fmla="*/ 108894 h 453480"/>
                  <a:gd name="connsiteX36" fmla="*/ 309981 w 482022"/>
                  <a:gd name="connsiteY36" fmla="*/ 112856 h 453480"/>
                  <a:gd name="connsiteX37" fmla="*/ 305495 w 482022"/>
                  <a:gd name="connsiteY37" fmla="*/ 158110 h 453480"/>
                  <a:gd name="connsiteX38" fmla="*/ 341947 w 482022"/>
                  <a:gd name="connsiteY38" fmla="*/ 162748 h 453480"/>
                  <a:gd name="connsiteX39" fmla="*/ 342614 w 482022"/>
                  <a:gd name="connsiteY39" fmla="*/ 162748 h 453480"/>
                  <a:gd name="connsiteX40" fmla="*/ 349282 w 482022"/>
                  <a:gd name="connsiteY40" fmla="*/ 163977 h 453480"/>
                  <a:gd name="connsiteX41" fmla="*/ 348091 w 482022"/>
                  <a:gd name="connsiteY4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8432 w 482022"/>
                  <a:gd name="connsiteY9" fmla="*/ 239501 h 453480"/>
                  <a:gd name="connsiteX10" fmla="*/ 57588 w 482022"/>
                  <a:gd name="connsiteY10" fmla="*/ 339294 h 453480"/>
                  <a:gd name="connsiteX11" fmla="*/ 92316 w 482022"/>
                  <a:gd name="connsiteY11" fmla="*/ 337904 h 453480"/>
                  <a:gd name="connsiteX12" fmla="*/ 0 w 482022"/>
                  <a:gd name="connsiteY12" fmla="*/ 453480 h 453480"/>
                  <a:gd name="connsiteX13" fmla="*/ 482022 w 482022"/>
                  <a:gd name="connsiteY13" fmla="*/ 453480 h 453480"/>
                  <a:gd name="connsiteX14" fmla="*/ 372542 w 482022"/>
                  <a:gd name="connsiteY14" fmla="*/ 331398 h 453480"/>
                  <a:gd name="connsiteX15" fmla="*/ 278320 w 482022"/>
                  <a:gd name="connsiteY15" fmla="*/ 373698 h 453480"/>
                  <a:gd name="connsiteX16" fmla="*/ 241011 w 482022"/>
                  <a:gd name="connsiteY16" fmla="*/ 434297 h 453480"/>
                  <a:gd name="connsiteX17" fmla="*/ 203720 w 482022"/>
                  <a:gd name="connsiteY17" fmla="*/ 373698 h 453480"/>
                  <a:gd name="connsiteX18" fmla="*/ 147237 w 482022"/>
                  <a:gd name="connsiteY18" fmla="*/ 339294 h 453480"/>
                  <a:gd name="connsiteX19" fmla="*/ 192424 w 482022"/>
                  <a:gd name="connsiteY19" fmla="*/ 353067 h 453480"/>
                  <a:gd name="connsiteX20" fmla="*/ 171878 w 482022"/>
                  <a:gd name="connsiteY20" fmla="*/ 307252 h 453480"/>
                  <a:gd name="connsiteX21" fmla="*/ 241001 w 482022"/>
                  <a:gd name="connsiteY21" fmla="*/ 338408 h 453480"/>
                  <a:gd name="connsiteX22" fmla="*/ 308781 w 482022"/>
                  <a:gd name="connsiteY22" fmla="*/ 308605 h 453480"/>
                  <a:gd name="connsiteX23" fmla="*/ 294465 w 482022"/>
                  <a:gd name="connsiteY23" fmla="*/ 338408 h 453480"/>
                  <a:gd name="connsiteX24" fmla="*/ 338471 w 482022"/>
                  <a:gd name="connsiteY24" fmla="*/ 328902 h 453480"/>
                  <a:gd name="connsiteX25" fmla="*/ 278320 w 482022"/>
                  <a:gd name="connsiteY25" fmla="*/ 373698 h 453480"/>
                  <a:gd name="connsiteX26" fmla="*/ 348091 w 482022"/>
                  <a:gd name="connsiteY26" fmla="*/ 179550 h 453480"/>
                  <a:gd name="connsiteX27" fmla="*/ 328126 w 482022"/>
                  <a:gd name="connsiteY27" fmla="*/ 254760 h 453480"/>
                  <a:gd name="connsiteX28" fmla="*/ 241011 w 482022"/>
                  <a:gd name="connsiteY28" fmla="*/ 319549 h 453480"/>
                  <a:gd name="connsiteX29" fmla="*/ 156610 w 482022"/>
                  <a:gd name="connsiteY29" fmla="*/ 259941 h 453480"/>
                  <a:gd name="connsiteX30" fmla="*/ 145847 w 482022"/>
                  <a:gd name="connsiteY30" fmla="*/ 235872 h 453480"/>
                  <a:gd name="connsiteX31" fmla="*/ 134264 w 482022"/>
                  <a:gd name="connsiteY31" fmla="*/ 183379 h 453480"/>
                  <a:gd name="connsiteX32" fmla="*/ 203073 w 482022"/>
                  <a:gd name="connsiteY32" fmla="*/ 166073 h 453480"/>
                  <a:gd name="connsiteX33" fmla="*/ 306648 w 482022"/>
                  <a:gd name="connsiteY33" fmla="*/ 109485 h 453480"/>
                  <a:gd name="connsiteX34" fmla="*/ 307495 w 482022"/>
                  <a:gd name="connsiteY34" fmla="*/ 108894 h 453480"/>
                  <a:gd name="connsiteX35" fmla="*/ 309981 w 482022"/>
                  <a:gd name="connsiteY35" fmla="*/ 112856 h 453480"/>
                  <a:gd name="connsiteX36" fmla="*/ 305495 w 482022"/>
                  <a:gd name="connsiteY36" fmla="*/ 158110 h 453480"/>
                  <a:gd name="connsiteX37" fmla="*/ 341947 w 482022"/>
                  <a:gd name="connsiteY37" fmla="*/ 162748 h 453480"/>
                  <a:gd name="connsiteX38" fmla="*/ 342614 w 482022"/>
                  <a:gd name="connsiteY38" fmla="*/ 162748 h 453480"/>
                  <a:gd name="connsiteX39" fmla="*/ 349282 w 482022"/>
                  <a:gd name="connsiteY39" fmla="*/ 163977 h 453480"/>
                  <a:gd name="connsiteX40" fmla="*/ 348091 w 482022"/>
                  <a:gd name="connsiteY4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8432 w 482022"/>
                  <a:gd name="connsiteY8" fmla="*/ 239501 h 453480"/>
                  <a:gd name="connsiteX9" fmla="*/ 57588 w 482022"/>
                  <a:gd name="connsiteY9" fmla="*/ 339294 h 453480"/>
                  <a:gd name="connsiteX10" fmla="*/ 92316 w 482022"/>
                  <a:gd name="connsiteY10" fmla="*/ 337904 h 453480"/>
                  <a:gd name="connsiteX11" fmla="*/ 0 w 482022"/>
                  <a:gd name="connsiteY11" fmla="*/ 453480 h 453480"/>
                  <a:gd name="connsiteX12" fmla="*/ 482022 w 482022"/>
                  <a:gd name="connsiteY12" fmla="*/ 453480 h 453480"/>
                  <a:gd name="connsiteX13" fmla="*/ 372542 w 482022"/>
                  <a:gd name="connsiteY13" fmla="*/ 331398 h 453480"/>
                  <a:gd name="connsiteX14" fmla="*/ 278320 w 482022"/>
                  <a:gd name="connsiteY14" fmla="*/ 373698 h 453480"/>
                  <a:gd name="connsiteX15" fmla="*/ 241011 w 482022"/>
                  <a:gd name="connsiteY15" fmla="*/ 434297 h 453480"/>
                  <a:gd name="connsiteX16" fmla="*/ 203720 w 482022"/>
                  <a:gd name="connsiteY16" fmla="*/ 373698 h 453480"/>
                  <a:gd name="connsiteX17" fmla="*/ 147237 w 482022"/>
                  <a:gd name="connsiteY17" fmla="*/ 339294 h 453480"/>
                  <a:gd name="connsiteX18" fmla="*/ 192424 w 482022"/>
                  <a:gd name="connsiteY18" fmla="*/ 353067 h 453480"/>
                  <a:gd name="connsiteX19" fmla="*/ 171878 w 482022"/>
                  <a:gd name="connsiteY19" fmla="*/ 307252 h 453480"/>
                  <a:gd name="connsiteX20" fmla="*/ 241001 w 482022"/>
                  <a:gd name="connsiteY20" fmla="*/ 338408 h 453480"/>
                  <a:gd name="connsiteX21" fmla="*/ 308781 w 482022"/>
                  <a:gd name="connsiteY21" fmla="*/ 308605 h 453480"/>
                  <a:gd name="connsiteX22" fmla="*/ 294465 w 482022"/>
                  <a:gd name="connsiteY22" fmla="*/ 338408 h 453480"/>
                  <a:gd name="connsiteX23" fmla="*/ 338471 w 482022"/>
                  <a:gd name="connsiteY23" fmla="*/ 328902 h 453480"/>
                  <a:gd name="connsiteX24" fmla="*/ 278320 w 482022"/>
                  <a:gd name="connsiteY24" fmla="*/ 373698 h 453480"/>
                  <a:gd name="connsiteX25" fmla="*/ 348091 w 482022"/>
                  <a:gd name="connsiteY25" fmla="*/ 179550 h 453480"/>
                  <a:gd name="connsiteX26" fmla="*/ 328126 w 482022"/>
                  <a:gd name="connsiteY26" fmla="*/ 254760 h 453480"/>
                  <a:gd name="connsiteX27" fmla="*/ 241011 w 482022"/>
                  <a:gd name="connsiteY27" fmla="*/ 319549 h 453480"/>
                  <a:gd name="connsiteX28" fmla="*/ 156610 w 482022"/>
                  <a:gd name="connsiteY28" fmla="*/ 259941 h 453480"/>
                  <a:gd name="connsiteX29" fmla="*/ 145847 w 482022"/>
                  <a:gd name="connsiteY29" fmla="*/ 235872 h 453480"/>
                  <a:gd name="connsiteX30" fmla="*/ 134264 w 482022"/>
                  <a:gd name="connsiteY30" fmla="*/ 183379 h 453480"/>
                  <a:gd name="connsiteX31" fmla="*/ 203073 w 482022"/>
                  <a:gd name="connsiteY31" fmla="*/ 166073 h 453480"/>
                  <a:gd name="connsiteX32" fmla="*/ 306648 w 482022"/>
                  <a:gd name="connsiteY32" fmla="*/ 109485 h 453480"/>
                  <a:gd name="connsiteX33" fmla="*/ 307495 w 482022"/>
                  <a:gd name="connsiteY33" fmla="*/ 108894 h 453480"/>
                  <a:gd name="connsiteX34" fmla="*/ 309981 w 482022"/>
                  <a:gd name="connsiteY34" fmla="*/ 112856 h 453480"/>
                  <a:gd name="connsiteX35" fmla="*/ 305495 w 482022"/>
                  <a:gd name="connsiteY35" fmla="*/ 158110 h 453480"/>
                  <a:gd name="connsiteX36" fmla="*/ 341947 w 482022"/>
                  <a:gd name="connsiteY36" fmla="*/ 162748 h 453480"/>
                  <a:gd name="connsiteX37" fmla="*/ 342614 w 482022"/>
                  <a:gd name="connsiteY37" fmla="*/ 162748 h 453480"/>
                  <a:gd name="connsiteX38" fmla="*/ 349282 w 482022"/>
                  <a:gd name="connsiteY38" fmla="*/ 163977 h 453480"/>
                  <a:gd name="connsiteX39" fmla="*/ 348091 w 482022"/>
                  <a:gd name="connsiteY39" fmla="*/ 179550 h 45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2022" h="453480">
                    <a:moveTo>
                      <a:pt x="372542" y="331398"/>
                    </a:moveTo>
                    <a:cubicBezTo>
                      <a:pt x="400202" y="334503"/>
                      <a:pt x="424453" y="339285"/>
                      <a:pt x="424453" y="339285"/>
                    </a:cubicBezTo>
                    <a:cubicBezTo>
                      <a:pt x="369265" y="308938"/>
                      <a:pt x="370684" y="200020"/>
                      <a:pt x="370684" y="200020"/>
                    </a:cubicBezTo>
                    <a:cubicBezTo>
                      <a:pt x="380352" y="-10931"/>
                      <a:pt x="241135" y="99"/>
                      <a:pt x="241135" y="99"/>
                    </a:cubicBezTo>
                    <a:cubicBezTo>
                      <a:pt x="241094" y="210"/>
                      <a:pt x="241052" y="322"/>
                      <a:pt x="241011" y="433"/>
                    </a:cubicBezTo>
                    <a:lnTo>
                      <a:pt x="240906" y="99"/>
                    </a:lnTo>
                    <a:cubicBezTo>
                      <a:pt x="240906" y="99"/>
                      <a:pt x="101689" y="-10931"/>
                      <a:pt x="111337" y="200020"/>
                    </a:cubicBezTo>
                    <a:cubicBezTo>
                      <a:pt x="111337" y="200020"/>
                      <a:pt x="111404" y="205811"/>
                      <a:pt x="110852" y="215041"/>
                    </a:cubicBezTo>
                    <a:cubicBezTo>
                      <a:pt x="110368" y="221621"/>
                      <a:pt x="117309" y="218792"/>
                      <a:pt x="108432" y="239501"/>
                    </a:cubicBezTo>
                    <a:cubicBezTo>
                      <a:pt x="103632" y="273857"/>
                      <a:pt x="90973" y="320930"/>
                      <a:pt x="57588" y="339294"/>
                    </a:cubicBezTo>
                    <a:cubicBezTo>
                      <a:pt x="57588" y="339294"/>
                      <a:pt x="72437" y="338265"/>
                      <a:pt x="92316" y="337904"/>
                    </a:cubicBezTo>
                    <a:cubicBezTo>
                      <a:pt x="45320" y="358897"/>
                      <a:pt x="10315" y="401721"/>
                      <a:pt x="0" y="453480"/>
                    </a:cubicBezTo>
                    <a:lnTo>
                      <a:pt x="482022" y="453480"/>
                    </a:lnTo>
                    <a:cubicBezTo>
                      <a:pt x="470459" y="395596"/>
                      <a:pt x="428025" y="348876"/>
                      <a:pt x="372542" y="331398"/>
                    </a:cubicBezTo>
                    <a:close/>
                    <a:moveTo>
                      <a:pt x="278320" y="373698"/>
                    </a:moveTo>
                    <a:lnTo>
                      <a:pt x="241011" y="434297"/>
                    </a:lnTo>
                    <a:lnTo>
                      <a:pt x="203720" y="373698"/>
                    </a:lnTo>
                    <a:cubicBezTo>
                      <a:pt x="176612" y="367536"/>
                      <a:pt x="155676" y="354887"/>
                      <a:pt x="147237" y="339294"/>
                    </a:cubicBezTo>
                    <a:cubicBezTo>
                      <a:pt x="169107" y="341190"/>
                      <a:pt x="187633" y="345190"/>
                      <a:pt x="192424" y="353067"/>
                    </a:cubicBezTo>
                    <a:lnTo>
                      <a:pt x="171878" y="307252"/>
                    </a:lnTo>
                    <a:cubicBezTo>
                      <a:pt x="191557" y="326902"/>
                      <a:pt x="215360" y="338408"/>
                      <a:pt x="241001" y="338408"/>
                    </a:cubicBezTo>
                    <a:cubicBezTo>
                      <a:pt x="266043" y="338408"/>
                      <a:pt x="289360" y="327407"/>
                      <a:pt x="308781" y="308605"/>
                    </a:cubicBezTo>
                    <a:lnTo>
                      <a:pt x="294465" y="338408"/>
                    </a:lnTo>
                    <a:cubicBezTo>
                      <a:pt x="299266" y="330503"/>
                      <a:pt x="317297" y="328360"/>
                      <a:pt x="338471" y="328902"/>
                    </a:cubicBezTo>
                    <a:cubicBezTo>
                      <a:pt x="335118" y="349181"/>
                      <a:pt x="311229" y="366212"/>
                      <a:pt x="278320" y="373698"/>
                    </a:cubicBezTo>
                    <a:close/>
                    <a:moveTo>
                      <a:pt x="348091" y="179550"/>
                    </a:moveTo>
                    <a:cubicBezTo>
                      <a:pt x="345986" y="207478"/>
                      <a:pt x="338880" y="233186"/>
                      <a:pt x="328126" y="254760"/>
                    </a:cubicBezTo>
                    <a:cubicBezTo>
                      <a:pt x="308543" y="294031"/>
                      <a:pt x="276825" y="319549"/>
                      <a:pt x="241011" y="319549"/>
                    </a:cubicBezTo>
                    <a:cubicBezTo>
                      <a:pt x="206807" y="319549"/>
                      <a:pt x="176336" y="296251"/>
                      <a:pt x="156610" y="259941"/>
                    </a:cubicBezTo>
                    <a:cubicBezTo>
                      <a:pt x="140749" y="245995"/>
                      <a:pt x="149571" y="248632"/>
                      <a:pt x="145847" y="235872"/>
                    </a:cubicBezTo>
                    <a:cubicBezTo>
                      <a:pt x="140008" y="219813"/>
                      <a:pt x="135988" y="202134"/>
                      <a:pt x="134264" y="183379"/>
                    </a:cubicBezTo>
                    <a:cubicBezTo>
                      <a:pt x="134264" y="183379"/>
                      <a:pt x="177346" y="176226"/>
                      <a:pt x="203073" y="166073"/>
                    </a:cubicBezTo>
                    <a:cubicBezTo>
                      <a:pt x="203073" y="166073"/>
                      <a:pt x="249698" y="150499"/>
                      <a:pt x="306648" y="109485"/>
                    </a:cubicBezTo>
                    <a:cubicBezTo>
                      <a:pt x="306933" y="109284"/>
                      <a:pt x="307210" y="109084"/>
                      <a:pt x="307495" y="108894"/>
                    </a:cubicBezTo>
                    <a:cubicBezTo>
                      <a:pt x="307495" y="108894"/>
                      <a:pt x="308514" y="110342"/>
                      <a:pt x="309981" y="112856"/>
                    </a:cubicBezTo>
                    <a:cubicBezTo>
                      <a:pt x="314925" y="121315"/>
                      <a:pt x="325498" y="146575"/>
                      <a:pt x="305495" y="158110"/>
                    </a:cubicBezTo>
                    <a:lnTo>
                      <a:pt x="341947" y="162748"/>
                    </a:lnTo>
                    <a:lnTo>
                      <a:pt x="342614" y="162748"/>
                    </a:lnTo>
                    <a:lnTo>
                      <a:pt x="349282" y="163977"/>
                    </a:lnTo>
                    <a:cubicBezTo>
                      <a:pt x="349215" y="169254"/>
                      <a:pt x="348843" y="174464"/>
                      <a:pt x="348091" y="179550"/>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2" name="Freeform: Shape 161">
                <a:extLst>
                  <a:ext uri="{FF2B5EF4-FFF2-40B4-BE49-F238E27FC236}">
                    <a16:creationId xmlns:a16="http://schemas.microsoft.com/office/drawing/2014/main" id="{6DA13AF4-2C2E-4749-A88D-7833F5C96FA1}"/>
                  </a:ext>
                </a:extLst>
              </p:cNvPr>
              <p:cNvSpPr/>
              <p:nvPr/>
            </p:nvSpPr>
            <p:spPr>
              <a:xfrm>
                <a:off x="1017123" y="2728973"/>
                <a:ext cx="345781" cy="18199"/>
              </a:xfrm>
              <a:custGeom>
                <a:avLst/>
                <a:gdLst/>
                <a:ahLst/>
                <a:cxnLst/>
                <a:rect l="0" t="0" r="0" b="0"/>
                <a:pathLst>
                  <a:path w="542925" h="28575">
                    <a:moveTo>
                      <a:pt x="530704" y="7144"/>
                    </a:moveTo>
                    <a:lnTo>
                      <a:pt x="16221" y="7144"/>
                    </a:lnTo>
                    <a:cubicBezTo>
                      <a:pt x="11220" y="7144"/>
                      <a:pt x="7144" y="11201"/>
                      <a:pt x="7144" y="16221"/>
                    </a:cubicBezTo>
                    <a:cubicBezTo>
                      <a:pt x="7144" y="21222"/>
                      <a:pt x="11211" y="25270"/>
                      <a:pt x="16221" y="25270"/>
                    </a:cubicBezTo>
                    <a:lnTo>
                      <a:pt x="530704" y="25270"/>
                    </a:lnTo>
                    <a:cubicBezTo>
                      <a:pt x="535715" y="25270"/>
                      <a:pt x="539772" y="21222"/>
                      <a:pt x="539772" y="16221"/>
                    </a:cubicBezTo>
                    <a:cubicBezTo>
                      <a:pt x="539772" y="11201"/>
                      <a:pt x="535715" y="7144"/>
                      <a:pt x="530704" y="7144"/>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3" name="Freeform: Shape 162">
                <a:extLst>
                  <a:ext uri="{FF2B5EF4-FFF2-40B4-BE49-F238E27FC236}">
                    <a16:creationId xmlns:a16="http://schemas.microsoft.com/office/drawing/2014/main" id="{CB514F95-D2D2-4FC9-B0D5-33F66F5808C2}"/>
                  </a:ext>
                </a:extLst>
              </p:cNvPr>
              <p:cNvSpPr/>
              <p:nvPr/>
            </p:nvSpPr>
            <p:spPr>
              <a:xfrm>
                <a:off x="988993" y="2507722"/>
                <a:ext cx="400378" cy="224455"/>
              </a:xfrm>
              <a:custGeom>
                <a:avLst/>
                <a:gdLst/>
                <a:ahLst/>
                <a:cxnLst/>
                <a:rect l="0" t="0" r="0" b="0"/>
                <a:pathLst>
                  <a:path w="628650" h="352425">
                    <a:moveTo>
                      <a:pt x="90983" y="347120"/>
                    </a:moveTo>
                    <a:lnTo>
                      <a:pt x="544297" y="347120"/>
                    </a:lnTo>
                    <a:cubicBezTo>
                      <a:pt x="565528" y="347120"/>
                      <a:pt x="582825" y="329851"/>
                      <a:pt x="582759" y="308962"/>
                    </a:cubicBezTo>
                    <a:lnTo>
                      <a:pt x="628145" y="45682"/>
                    </a:lnTo>
                    <a:cubicBezTo>
                      <a:pt x="628145" y="24422"/>
                      <a:pt x="610857" y="7144"/>
                      <a:pt x="589617" y="7144"/>
                    </a:cubicBezTo>
                    <a:lnTo>
                      <a:pt x="558641" y="7144"/>
                    </a:lnTo>
                    <a:lnTo>
                      <a:pt x="76610" y="7144"/>
                    </a:lnTo>
                    <a:lnTo>
                      <a:pt x="45653" y="7144"/>
                    </a:lnTo>
                    <a:cubicBezTo>
                      <a:pt x="24403" y="7144"/>
                      <a:pt x="7115" y="24413"/>
                      <a:pt x="7144" y="46063"/>
                    </a:cubicBezTo>
                    <a:lnTo>
                      <a:pt x="52445" y="308591"/>
                    </a:lnTo>
                    <a:cubicBezTo>
                      <a:pt x="52454" y="329841"/>
                      <a:pt x="69733" y="347120"/>
                      <a:pt x="90983" y="347120"/>
                    </a:cubicBezTo>
                    <a:close/>
                    <a:moveTo>
                      <a:pt x="45653" y="11687"/>
                    </a:moveTo>
                    <a:lnTo>
                      <a:pt x="589617" y="11687"/>
                    </a:lnTo>
                    <a:cubicBezTo>
                      <a:pt x="608343" y="11687"/>
                      <a:pt x="623611" y="26946"/>
                      <a:pt x="623649" y="45291"/>
                    </a:cubicBezTo>
                    <a:lnTo>
                      <a:pt x="578282" y="308591"/>
                    </a:lnTo>
                    <a:cubicBezTo>
                      <a:pt x="578282" y="327327"/>
                      <a:pt x="563023" y="342605"/>
                      <a:pt x="544297" y="342605"/>
                    </a:cubicBezTo>
                    <a:lnTo>
                      <a:pt x="90983" y="342605"/>
                    </a:lnTo>
                    <a:cubicBezTo>
                      <a:pt x="72228" y="342605"/>
                      <a:pt x="56979" y="327327"/>
                      <a:pt x="56940" y="308210"/>
                    </a:cubicBezTo>
                    <a:lnTo>
                      <a:pt x="11649" y="45682"/>
                    </a:lnTo>
                    <a:cubicBezTo>
                      <a:pt x="11649" y="26937"/>
                      <a:pt x="26899" y="11687"/>
                      <a:pt x="45653" y="11687"/>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64" name="Freeform: Shape 163">
                <a:extLst>
                  <a:ext uri="{FF2B5EF4-FFF2-40B4-BE49-F238E27FC236}">
                    <a16:creationId xmlns:a16="http://schemas.microsoft.com/office/drawing/2014/main" id="{2B64AA62-9992-446C-82C6-B4C79287E10B}"/>
                  </a:ext>
                </a:extLst>
              </p:cNvPr>
              <p:cNvSpPr/>
              <p:nvPr/>
            </p:nvSpPr>
            <p:spPr>
              <a:xfrm>
                <a:off x="1176352" y="2602720"/>
                <a:ext cx="24265" cy="24265"/>
              </a:xfrm>
              <a:custGeom>
                <a:avLst/>
                <a:gdLst/>
                <a:ahLst/>
                <a:cxnLst/>
                <a:rect l="0" t="0" r="0" b="0"/>
                <a:pathLst>
                  <a:path w="38100" h="38100">
                    <a:moveTo>
                      <a:pt x="23441" y="39738"/>
                    </a:moveTo>
                    <a:cubicBezTo>
                      <a:pt x="32442" y="39738"/>
                      <a:pt x="39738" y="32461"/>
                      <a:pt x="39738" y="23431"/>
                    </a:cubicBezTo>
                    <a:cubicBezTo>
                      <a:pt x="39738" y="14459"/>
                      <a:pt x="32433" y="7144"/>
                      <a:pt x="23441" y="7144"/>
                    </a:cubicBezTo>
                    <a:cubicBezTo>
                      <a:pt x="14449" y="7144"/>
                      <a:pt x="7144" y="14459"/>
                      <a:pt x="7144" y="23431"/>
                    </a:cubicBezTo>
                    <a:cubicBezTo>
                      <a:pt x="7144" y="32471"/>
                      <a:pt x="14449" y="39738"/>
                      <a:pt x="23441" y="39738"/>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pic>
            <p:nvPicPr>
              <p:cNvPr id="165" name="Graphic 164">
                <a:extLst>
                  <a:ext uri="{FF2B5EF4-FFF2-40B4-BE49-F238E27FC236}">
                    <a16:creationId xmlns:a16="http://schemas.microsoft.com/office/drawing/2014/main" id="{823A6CB5-63C8-4DA8-B86F-70C6B34AF7D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28819" y="2218276"/>
                <a:ext cx="157080" cy="157080"/>
              </a:xfrm>
              <a:prstGeom prst="rect">
                <a:avLst/>
              </a:prstGeom>
            </p:spPr>
          </p:pic>
        </p:grpSp>
      </p:grpSp>
      <p:grpSp>
        <p:nvGrpSpPr>
          <p:cNvPr id="190" name="Group 189">
            <a:extLst>
              <a:ext uri="{FF2B5EF4-FFF2-40B4-BE49-F238E27FC236}">
                <a16:creationId xmlns:a16="http://schemas.microsoft.com/office/drawing/2014/main" id="{8338CC69-6E90-4B4C-915E-B85422BCA522}"/>
              </a:ext>
            </a:extLst>
          </p:cNvPr>
          <p:cNvGrpSpPr>
            <a:grpSpLocks noChangeAspect="1"/>
          </p:cNvGrpSpPr>
          <p:nvPr/>
        </p:nvGrpSpPr>
        <p:grpSpPr>
          <a:xfrm>
            <a:off x="3130809" y="1593913"/>
            <a:ext cx="823228" cy="823228"/>
            <a:chOff x="-611105" y="3071485"/>
            <a:chExt cx="832288" cy="832288"/>
          </a:xfrm>
        </p:grpSpPr>
        <p:sp>
          <p:nvSpPr>
            <p:cNvPr id="191" name="Oval 190">
              <a:extLst>
                <a:ext uri="{FF2B5EF4-FFF2-40B4-BE49-F238E27FC236}">
                  <a16:creationId xmlns:a16="http://schemas.microsoft.com/office/drawing/2014/main" id="{147A9D1A-A7AA-4BE6-B333-4A8D3B2A1EAD}"/>
                </a:ext>
              </a:extLst>
            </p:cNvPr>
            <p:cNvSpPr/>
            <p:nvPr/>
          </p:nvSpPr>
          <p:spPr bwMode="auto">
            <a:xfrm>
              <a:off x="-611105" y="3071485"/>
              <a:ext cx="832288" cy="832288"/>
            </a:xfrm>
            <a:prstGeom prst="ellipse">
              <a:avLst/>
            </a:prstGeom>
            <a:noFill/>
            <a:ln w="28575" cap="flat" cmpd="sng" algn="ctr">
              <a:solidFill>
                <a:srgbClr val="EBEBEB">
                  <a:lumMod val="50000"/>
                </a:srgbClr>
              </a:solidFill>
              <a:prstDash val="solid"/>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175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92" name="Group 191">
              <a:extLst>
                <a:ext uri="{FF2B5EF4-FFF2-40B4-BE49-F238E27FC236}">
                  <a16:creationId xmlns:a16="http://schemas.microsoft.com/office/drawing/2014/main" id="{85F491DE-8E1E-4FF9-A657-F518F111EC91}"/>
                </a:ext>
              </a:extLst>
            </p:cNvPr>
            <p:cNvGrpSpPr/>
            <p:nvPr/>
          </p:nvGrpSpPr>
          <p:grpSpPr>
            <a:xfrm>
              <a:off x="-438445" y="3226719"/>
              <a:ext cx="496835" cy="528821"/>
              <a:chOff x="988993" y="2218276"/>
              <a:chExt cx="496906" cy="528896"/>
            </a:xfrm>
          </p:grpSpPr>
          <p:sp>
            <p:nvSpPr>
              <p:cNvPr id="193" name="Freeform: Shape 192">
                <a:extLst>
                  <a:ext uri="{FF2B5EF4-FFF2-40B4-BE49-F238E27FC236}">
                    <a16:creationId xmlns:a16="http://schemas.microsoft.com/office/drawing/2014/main" id="{1596E44A-3F9C-4264-B54F-59EE581734F9}"/>
                  </a:ext>
                </a:extLst>
              </p:cNvPr>
              <p:cNvSpPr/>
              <p:nvPr/>
            </p:nvSpPr>
            <p:spPr>
              <a:xfrm>
                <a:off x="991863" y="2510615"/>
                <a:ext cx="394312" cy="218388"/>
              </a:xfrm>
              <a:custGeom>
                <a:avLst/>
                <a:gdLst/>
                <a:ahLst/>
                <a:cxnLst/>
                <a:rect l="0" t="0" r="0" b="0"/>
                <a:pathLst>
                  <a:path w="619125" h="342900">
                    <a:moveTo>
                      <a:pt x="86477" y="338061"/>
                    </a:moveTo>
                    <a:lnTo>
                      <a:pt x="539791" y="338061"/>
                    </a:lnTo>
                    <a:cubicBezTo>
                      <a:pt x="558527" y="338061"/>
                      <a:pt x="573777" y="322783"/>
                      <a:pt x="573777" y="304048"/>
                    </a:cubicBezTo>
                    <a:lnTo>
                      <a:pt x="619144" y="40748"/>
                    </a:lnTo>
                    <a:cubicBezTo>
                      <a:pt x="619106" y="22393"/>
                      <a:pt x="603837" y="7144"/>
                      <a:pt x="585111" y="7144"/>
                    </a:cubicBezTo>
                    <a:lnTo>
                      <a:pt x="41148" y="7144"/>
                    </a:lnTo>
                    <a:cubicBezTo>
                      <a:pt x="22393" y="7144"/>
                      <a:pt x="7144" y="22403"/>
                      <a:pt x="7144" y="41138"/>
                    </a:cubicBezTo>
                    <a:lnTo>
                      <a:pt x="52435" y="303667"/>
                    </a:lnTo>
                    <a:cubicBezTo>
                      <a:pt x="52473" y="322774"/>
                      <a:pt x="67723" y="338061"/>
                      <a:pt x="86477" y="338061"/>
                    </a:cubicBezTo>
                    <a:close/>
                    <a:moveTo>
                      <a:pt x="313115" y="151762"/>
                    </a:moveTo>
                    <a:cubicBezTo>
                      <a:pt x="322116" y="151762"/>
                      <a:pt x="329413" y="159077"/>
                      <a:pt x="329413" y="168050"/>
                    </a:cubicBezTo>
                    <a:cubicBezTo>
                      <a:pt x="329413" y="177079"/>
                      <a:pt x="322107" y="184356"/>
                      <a:pt x="313115" y="184356"/>
                    </a:cubicBezTo>
                    <a:cubicBezTo>
                      <a:pt x="304124" y="184356"/>
                      <a:pt x="296818" y="177079"/>
                      <a:pt x="296818" y="168050"/>
                    </a:cubicBezTo>
                    <a:cubicBezTo>
                      <a:pt x="296818" y="159077"/>
                      <a:pt x="304124" y="151762"/>
                      <a:pt x="313115" y="151762"/>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94" name="Freeform: Shape 193">
                <a:extLst>
                  <a:ext uri="{FF2B5EF4-FFF2-40B4-BE49-F238E27FC236}">
                    <a16:creationId xmlns:a16="http://schemas.microsoft.com/office/drawing/2014/main" id="{62981D9B-B10D-4013-8A0B-510AFAA3F50B}"/>
                  </a:ext>
                </a:extLst>
              </p:cNvPr>
              <p:cNvSpPr/>
              <p:nvPr/>
            </p:nvSpPr>
            <p:spPr>
              <a:xfrm>
                <a:off x="1037791" y="2223468"/>
                <a:ext cx="306993" cy="288815"/>
              </a:xfrm>
              <a:custGeom>
                <a:avLst/>
                <a:gdLst>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31901 w 482022"/>
                  <a:gd name="connsiteY14" fmla="*/ 203616 h 491728"/>
                  <a:gd name="connsiteX15" fmla="*/ 411870 w 482022"/>
                  <a:gd name="connsiteY15" fmla="*/ 139903 h 491728"/>
                  <a:gd name="connsiteX16" fmla="*/ 242897 w 482022"/>
                  <a:gd name="connsiteY16" fmla="*/ 0 h 491728"/>
                  <a:gd name="connsiteX17" fmla="*/ 73895 w 482022"/>
                  <a:gd name="connsiteY17" fmla="*/ 139903 h 491728"/>
                  <a:gd name="connsiteX18" fmla="*/ 53854 w 482022"/>
                  <a:gd name="connsiteY18" fmla="*/ 203625 h 491728"/>
                  <a:gd name="connsiteX19" fmla="*/ 80191 w 482022"/>
                  <a:gd name="connsiteY19" fmla="*/ 269300 h 491728"/>
                  <a:gd name="connsiteX20" fmla="*/ 91697 w 482022"/>
                  <a:gd name="connsiteY20" fmla="*/ 262633 h 491728"/>
                  <a:gd name="connsiteX21" fmla="*/ 108432 w 482022"/>
                  <a:gd name="connsiteY21" fmla="*/ 277749 h 491728"/>
                  <a:gd name="connsiteX22" fmla="*/ 57588 w 482022"/>
                  <a:gd name="connsiteY22" fmla="*/ 377542 h 491728"/>
                  <a:gd name="connsiteX23" fmla="*/ 92316 w 482022"/>
                  <a:gd name="connsiteY23" fmla="*/ 376152 h 491728"/>
                  <a:gd name="connsiteX24" fmla="*/ 0 w 482022"/>
                  <a:gd name="connsiteY24" fmla="*/ 491728 h 491728"/>
                  <a:gd name="connsiteX25" fmla="*/ 482022 w 482022"/>
                  <a:gd name="connsiteY25" fmla="*/ 491728 h 491728"/>
                  <a:gd name="connsiteX26" fmla="*/ 372542 w 482022"/>
                  <a:gd name="connsiteY26" fmla="*/ 369646 h 491728"/>
                  <a:gd name="connsiteX27" fmla="*/ 278320 w 482022"/>
                  <a:gd name="connsiteY27" fmla="*/ 411946 h 491728"/>
                  <a:gd name="connsiteX28" fmla="*/ 241011 w 482022"/>
                  <a:gd name="connsiteY28" fmla="*/ 472545 h 491728"/>
                  <a:gd name="connsiteX29" fmla="*/ 203720 w 482022"/>
                  <a:gd name="connsiteY29" fmla="*/ 411946 h 491728"/>
                  <a:gd name="connsiteX30" fmla="*/ 147237 w 482022"/>
                  <a:gd name="connsiteY30" fmla="*/ 377542 h 491728"/>
                  <a:gd name="connsiteX31" fmla="*/ 192424 w 482022"/>
                  <a:gd name="connsiteY31" fmla="*/ 391315 h 491728"/>
                  <a:gd name="connsiteX32" fmla="*/ 171878 w 482022"/>
                  <a:gd name="connsiteY32" fmla="*/ 345500 h 491728"/>
                  <a:gd name="connsiteX33" fmla="*/ 241001 w 482022"/>
                  <a:gd name="connsiteY33" fmla="*/ 376656 h 491728"/>
                  <a:gd name="connsiteX34" fmla="*/ 308781 w 482022"/>
                  <a:gd name="connsiteY34" fmla="*/ 346853 h 491728"/>
                  <a:gd name="connsiteX35" fmla="*/ 294465 w 482022"/>
                  <a:gd name="connsiteY35" fmla="*/ 376656 h 491728"/>
                  <a:gd name="connsiteX36" fmla="*/ 338471 w 482022"/>
                  <a:gd name="connsiteY36" fmla="*/ 367150 h 491728"/>
                  <a:gd name="connsiteX37" fmla="*/ 278320 w 482022"/>
                  <a:gd name="connsiteY37" fmla="*/ 411946 h 491728"/>
                  <a:gd name="connsiteX38" fmla="*/ 348091 w 482022"/>
                  <a:gd name="connsiteY38" fmla="*/ 217798 h 491728"/>
                  <a:gd name="connsiteX39" fmla="*/ 328126 w 482022"/>
                  <a:gd name="connsiteY39" fmla="*/ 293008 h 491728"/>
                  <a:gd name="connsiteX40" fmla="*/ 241011 w 482022"/>
                  <a:gd name="connsiteY40" fmla="*/ 357797 h 491728"/>
                  <a:gd name="connsiteX41" fmla="*/ 156610 w 482022"/>
                  <a:gd name="connsiteY41" fmla="*/ 298189 h 491728"/>
                  <a:gd name="connsiteX42" fmla="*/ 187414 w 482022"/>
                  <a:gd name="connsiteY42" fmla="*/ 301399 h 491728"/>
                  <a:gd name="connsiteX43" fmla="*/ 197824 w 482022"/>
                  <a:gd name="connsiteY43" fmla="*/ 300942 h 491728"/>
                  <a:gd name="connsiteX44" fmla="*/ 217713 w 482022"/>
                  <a:gd name="connsiteY44" fmla="*/ 309000 h 491728"/>
                  <a:gd name="connsiteX45" fmla="*/ 234400 w 482022"/>
                  <a:gd name="connsiteY45" fmla="*/ 285340 h 491728"/>
                  <a:gd name="connsiteX46" fmla="*/ 210731 w 482022"/>
                  <a:gd name="connsiteY46" fmla="*/ 268671 h 491728"/>
                  <a:gd name="connsiteX47" fmla="*/ 195491 w 482022"/>
                  <a:gd name="connsiteY47" fmla="*/ 280606 h 491728"/>
                  <a:gd name="connsiteX48" fmla="*/ 145847 w 482022"/>
                  <a:gd name="connsiteY48" fmla="*/ 274120 h 491728"/>
                  <a:gd name="connsiteX49" fmla="*/ 134264 w 482022"/>
                  <a:gd name="connsiteY49" fmla="*/ 221627 h 491728"/>
                  <a:gd name="connsiteX50" fmla="*/ 203073 w 482022"/>
                  <a:gd name="connsiteY50" fmla="*/ 204321 h 491728"/>
                  <a:gd name="connsiteX51" fmla="*/ 306648 w 482022"/>
                  <a:gd name="connsiteY51" fmla="*/ 147733 h 491728"/>
                  <a:gd name="connsiteX52" fmla="*/ 307495 w 482022"/>
                  <a:gd name="connsiteY52" fmla="*/ 147142 h 491728"/>
                  <a:gd name="connsiteX53" fmla="*/ 309981 w 482022"/>
                  <a:gd name="connsiteY53" fmla="*/ 151104 h 491728"/>
                  <a:gd name="connsiteX54" fmla="*/ 305495 w 482022"/>
                  <a:gd name="connsiteY54" fmla="*/ 196358 h 491728"/>
                  <a:gd name="connsiteX55" fmla="*/ 341947 w 482022"/>
                  <a:gd name="connsiteY55" fmla="*/ 200996 h 491728"/>
                  <a:gd name="connsiteX56" fmla="*/ 342614 w 482022"/>
                  <a:gd name="connsiteY56" fmla="*/ 200996 h 491728"/>
                  <a:gd name="connsiteX57" fmla="*/ 349282 w 482022"/>
                  <a:gd name="connsiteY57" fmla="*/ 202225 h 491728"/>
                  <a:gd name="connsiteX58" fmla="*/ 348091 w 482022"/>
                  <a:gd name="connsiteY58" fmla="*/ 217798 h 491728"/>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11870 w 482022"/>
                  <a:gd name="connsiteY14" fmla="*/ 139903 h 491728"/>
                  <a:gd name="connsiteX15" fmla="*/ 242897 w 482022"/>
                  <a:gd name="connsiteY15" fmla="*/ 0 h 491728"/>
                  <a:gd name="connsiteX16" fmla="*/ 73895 w 482022"/>
                  <a:gd name="connsiteY16" fmla="*/ 139903 h 491728"/>
                  <a:gd name="connsiteX17" fmla="*/ 53854 w 482022"/>
                  <a:gd name="connsiteY17" fmla="*/ 203625 h 491728"/>
                  <a:gd name="connsiteX18" fmla="*/ 80191 w 482022"/>
                  <a:gd name="connsiteY18" fmla="*/ 269300 h 491728"/>
                  <a:gd name="connsiteX19" fmla="*/ 91697 w 482022"/>
                  <a:gd name="connsiteY19" fmla="*/ 262633 h 491728"/>
                  <a:gd name="connsiteX20" fmla="*/ 108432 w 482022"/>
                  <a:gd name="connsiteY20" fmla="*/ 277749 h 491728"/>
                  <a:gd name="connsiteX21" fmla="*/ 57588 w 482022"/>
                  <a:gd name="connsiteY21" fmla="*/ 377542 h 491728"/>
                  <a:gd name="connsiteX22" fmla="*/ 92316 w 482022"/>
                  <a:gd name="connsiteY22" fmla="*/ 376152 h 491728"/>
                  <a:gd name="connsiteX23" fmla="*/ 0 w 482022"/>
                  <a:gd name="connsiteY23" fmla="*/ 491728 h 491728"/>
                  <a:gd name="connsiteX24" fmla="*/ 482022 w 482022"/>
                  <a:gd name="connsiteY24" fmla="*/ 491728 h 491728"/>
                  <a:gd name="connsiteX25" fmla="*/ 372542 w 482022"/>
                  <a:gd name="connsiteY25" fmla="*/ 369646 h 491728"/>
                  <a:gd name="connsiteX26" fmla="*/ 278320 w 482022"/>
                  <a:gd name="connsiteY26" fmla="*/ 411946 h 491728"/>
                  <a:gd name="connsiteX27" fmla="*/ 241011 w 482022"/>
                  <a:gd name="connsiteY27" fmla="*/ 472545 h 491728"/>
                  <a:gd name="connsiteX28" fmla="*/ 203720 w 482022"/>
                  <a:gd name="connsiteY28" fmla="*/ 411946 h 491728"/>
                  <a:gd name="connsiteX29" fmla="*/ 147237 w 482022"/>
                  <a:gd name="connsiteY29" fmla="*/ 377542 h 491728"/>
                  <a:gd name="connsiteX30" fmla="*/ 192424 w 482022"/>
                  <a:gd name="connsiteY30" fmla="*/ 391315 h 491728"/>
                  <a:gd name="connsiteX31" fmla="*/ 171878 w 482022"/>
                  <a:gd name="connsiteY31" fmla="*/ 345500 h 491728"/>
                  <a:gd name="connsiteX32" fmla="*/ 241001 w 482022"/>
                  <a:gd name="connsiteY32" fmla="*/ 376656 h 491728"/>
                  <a:gd name="connsiteX33" fmla="*/ 308781 w 482022"/>
                  <a:gd name="connsiteY33" fmla="*/ 346853 h 491728"/>
                  <a:gd name="connsiteX34" fmla="*/ 294465 w 482022"/>
                  <a:gd name="connsiteY34" fmla="*/ 376656 h 491728"/>
                  <a:gd name="connsiteX35" fmla="*/ 338471 w 482022"/>
                  <a:gd name="connsiteY35" fmla="*/ 367150 h 491728"/>
                  <a:gd name="connsiteX36" fmla="*/ 278320 w 482022"/>
                  <a:gd name="connsiteY36" fmla="*/ 411946 h 491728"/>
                  <a:gd name="connsiteX37" fmla="*/ 348091 w 482022"/>
                  <a:gd name="connsiteY37" fmla="*/ 217798 h 491728"/>
                  <a:gd name="connsiteX38" fmla="*/ 328126 w 482022"/>
                  <a:gd name="connsiteY38" fmla="*/ 293008 h 491728"/>
                  <a:gd name="connsiteX39" fmla="*/ 241011 w 482022"/>
                  <a:gd name="connsiteY39" fmla="*/ 357797 h 491728"/>
                  <a:gd name="connsiteX40" fmla="*/ 156610 w 482022"/>
                  <a:gd name="connsiteY40" fmla="*/ 298189 h 491728"/>
                  <a:gd name="connsiteX41" fmla="*/ 187414 w 482022"/>
                  <a:gd name="connsiteY41" fmla="*/ 301399 h 491728"/>
                  <a:gd name="connsiteX42" fmla="*/ 197824 w 482022"/>
                  <a:gd name="connsiteY42" fmla="*/ 300942 h 491728"/>
                  <a:gd name="connsiteX43" fmla="*/ 217713 w 482022"/>
                  <a:gd name="connsiteY43" fmla="*/ 309000 h 491728"/>
                  <a:gd name="connsiteX44" fmla="*/ 234400 w 482022"/>
                  <a:gd name="connsiteY44" fmla="*/ 285340 h 491728"/>
                  <a:gd name="connsiteX45" fmla="*/ 210731 w 482022"/>
                  <a:gd name="connsiteY45" fmla="*/ 268671 h 491728"/>
                  <a:gd name="connsiteX46" fmla="*/ 195491 w 482022"/>
                  <a:gd name="connsiteY46" fmla="*/ 280606 h 491728"/>
                  <a:gd name="connsiteX47" fmla="*/ 145847 w 482022"/>
                  <a:gd name="connsiteY47" fmla="*/ 274120 h 491728"/>
                  <a:gd name="connsiteX48" fmla="*/ 134264 w 482022"/>
                  <a:gd name="connsiteY48" fmla="*/ 221627 h 491728"/>
                  <a:gd name="connsiteX49" fmla="*/ 203073 w 482022"/>
                  <a:gd name="connsiteY49" fmla="*/ 204321 h 491728"/>
                  <a:gd name="connsiteX50" fmla="*/ 306648 w 482022"/>
                  <a:gd name="connsiteY50" fmla="*/ 147733 h 491728"/>
                  <a:gd name="connsiteX51" fmla="*/ 307495 w 482022"/>
                  <a:gd name="connsiteY51" fmla="*/ 147142 h 491728"/>
                  <a:gd name="connsiteX52" fmla="*/ 309981 w 482022"/>
                  <a:gd name="connsiteY52" fmla="*/ 151104 h 491728"/>
                  <a:gd name="connsiteX53" fmla="*/ 305495 w 482022"/>
                  <a:gd name="connsiteY53" fmla="*/ 196358 h 491728"/>
                  <a:gd name="connsiteX54" fmla="*/ 341947 w 482022"/>
                  <a:gd name="connsiteY54" fmla="*/ 200996 h 491728"/>
                  <a:gd name="connsiteX55" fmla="*/ 342614 w 482022"/>
                  <a:gd name="connsiteY55" fmla="*/ 200996 h 491728"/>
                  <a:gd name="connsiteX56" fmla="*/ 349282 w 482022"/>
                  <a:gd name="connsiteY56" fmla="*/ 202225 h 491728"/>
                  <a:gd name="connsiteX57" fmla="*/ 348091 w 482022"/>
                  <a:gd name="connsiteY57" fmla="*/ 217798 h 491728"/>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85515 w 482022"/>
                  <a:gd name="connsiteY12" fmla="*/ 162164 h 492805"/>
                  <a:gd name="connsiteX13" fmla="*/ 379228 w 482022"/>
                  <a:gd name="connsiteY13" fmla="*/ 204693 h 492805"/>
                  <a:gd name="connsiteX14" fmla="*/ 242897 w 482022"/>
                  <a:gd name="connsiteY14" fmla="*/ 1077 h 492805"/>
                  <a:gd name="connsiteX15" fmla="*/ 73895 w 482022"/>
                  <a:gd name="connsiteY15" fmla="*/ 140980 h 492805"/>
                  <a:gd name="connsiteX16" fmla="*/ 53854 w 482022"/>
                  <a:gd name="connsiteY16" fmla="*/ 204702 h 492805"/>
                  <a:gd name="connsiteX17" fmla="*/ 80191 w 482022"/>
                  <a:gd name="connsiteY17" fmla="*/ 270377 h 492805"/>
                  <a:gd name="connsiteX18" fmla="*/ 91697 w 482022"/>
                  <a:gd name="connsiteY18" fmla="*/ 263710 h 492805"/>
                  <a:gd name="connsiteX19" fmla="*/ 108432 w 482022"/>
                  <a:gd name="connsiteY19" fmla="*/ 278826 h 492805"/>
                  <a:gd name="connsiteX20" fmla="*/ 57588 w 482022"/>
                  <a:gd name="connsiteY20" fmla="*/ 378619 h 492805"/>
                  <a:gd name="connsiteX21" fmla="*/ 92316 w 482022"/>
                  <a:gd name="connsiteY21" fmla="*/ 377229 h 492805"/>
                  <a:gd name="connsiteX22" fmla="*/ 0 w 482022"/>
                  <a:gd name="connsiteY22" fmla="*/ 492805 h 492805"/>
                  <a:gd name="connsiteX23" fmla="*/ 482022 w 482022"/>
                  <a:gd name="connsiteY23" fmla="*/ 492805 h 492805"/>
                  <a:gd name="connsiteX24" fmla="*/ 372542 w 482022"/>
                  <a:gd name="connsiteY24" fmla="*/ 370723 h 492805"/>
                  <a:gd name="connsiteX25" fmla="*/ 278320 w 482022"/>
                  <a:gd name="connsiteY25" fmla="*/ 413023 h 492805"/>
                  <a:gd name="connsiteX26" fmla="*/ 241011 w 482022"/>
                  <a:gd name="connsiteY26" fmla="*/ 473622 h 492805"/>
                  <a:gd name="connsiteX27" fmla="*/ 203720 w 482022"/>
                  <a:gd name="connsiteY27" fmla="*/ 413023 h 492805"/>
                  <a:gd name="connsiteX28" fmla="*/ 147237 w 482022"/>
                  <a:gd name="connsiteY28" fmla="*/ 378619 h 492805"/>
                  <a:gd name="connsiteX29" fmla="*/ 192424 w 482022"/>
                  <a:gd name="connsiteY29" fmla="*/ 392392 h 492805"/>
                  <a:gd name="connsiteX30" fmla="*/ 171878 w 482022"/>
                  <a:gd name="connsiteY30" fmla="*/ 346577 h 492805"/>
                  <a:gd name="connsiteX31" fmla="*/ 241001 w 482022"/>
                  <a:gd name="connsiteY31" fmla="*/ 377733 h 492805"/>
                  <a:gd name="connsiteX32" fmla="*/ 308781 w 482022"/>
                  <a:gd name="connsiteY32" fmla="*/ 347930 h 492805"/>
                  <a:gd name="connsiteX33" fmla="*/ 294465 w 482022"/>
                  <a:gd name="connsiteY33" fmla="*/ 377733 h 492805"/>
                  <a:gd name="connsiteX34" fmla="*/ 338471 w 482022"/>
                  <a:gd name="connsiteY34" fmla="*/ 368227 h 492805"/>
                  <a:gd name="connsiteX35" fmla="*/ 278320 w 482022"/>
                  <a:gd name="connsiteY35" fmla="*/ 413023 h 492805"/>
                  <a:gd name="connsiteX36" fmla="*/ 348091 w 482022"/>
                  <a:gd name="connsiteY36" fmla="*/ 218875 h 492805"/>
                  <a:gd name="connsiteX37" fmla="*/ 328126 w 482022"/>
                  <a:gd name="connsiteY37" fmla="*/ 294085 h 492805"/>
                  <a:gd name="connsiteX38" fmla="*/ 241011 w 482022"/>
                  <a:gd name="connsiteY38" fmla="*/ 358874 h 492805"/>
                  <a:gd name="connsiteX39" fmla="*/ 156610 w 482022"/>
                  <a:gd name="connsiteY39" fmla="*/ 299266 h 492805"/>
                  <a:gd name="connsiteX40" fmla="*/ 187414 w 482022"/>
                  <a:gd name="connsiteY40" fmla="*/ 302476 h 492805"/>
                  <a:gd name="connsiteX41" fmla="*/ 197824 w 482022"/>
                  <a:gd name="connsiteY41" fmla="*/ 302019 h 492805"/>
                  <a:gd name="connsiteX42" fmla="*/ 217713 w 482022"/>
                  <a:gd name="connsiteY42" fmla="*/ 310077 h 492805"/>
                  <a:gd name="connsiteX43" fmla="*/ 234400 w 482022"/>
                  <a:gd name="connsiteY43" fmla="*/ 286417 h 492805"/>
                  <a:gd name="connsiteX44" fmla="*/ 210731 w 482022"/>
                  <a:gd name="connsiteY44" fmla="*/ 269748 h 492805"/>
                  <a:gd name="connsiteX45" fmla="*/ 195491 w 482022"/>
                  <a:gd name="connsiteY45" fmla="*/ 281683 h 492805"/>
                  <a:gd name="connsiteX46" fmla="*/ 145847 w 482022"/>
                  <a:gd name="connsiteY46" fmla="*/ 275197 h 492805"/>
                  <a:gd name="connsiteX47" fmla="*/ 134264 w 482022"/>
                  <a:gd name="connsiteY47" fmla="*/ 222704 h 492805"/>
                  <a:gd name="connsiteX48" fmla="*/ 203073 w 482022"/>
                  <a:gd name="connsiteY48" fmla="*/ 205398 h 492805"/>
                  <a:gd name="connsiteX49" fmla="*/ 306648 w 482022"/>
                  <a:gd name="connsiteY49" fmla="*/ 148810 h 492805"/>
                  <a:gd name="connsiteX50" fmla="*/ 307495 w 482022"/>
                  <a:gd name="connsiteY50" fmla="*/ 148219 h 492805"/>
                  <a:gd name="connsiteX51" fmla="*/ 309981 w 482022"/>
                  <a:gd name="connsiteY51" fmla="*/ 152181 h 492805"/>
                  <a:gd name="connsiteX52" fmla="*/ 305495 w 482022"/>
                  <a:gd name="connsiteY52" fmla="*/ 197435 h 492805"/>
                  <a:gd name="connsiteX53" fmla="*/ 341947 w 482022"/>
                  <a:gd name="connsiteY53" fmla="*/ 202073 h 492805"/>
                  <a:gd name="connsiteX54" fmla="*/ 342614 w 482022"/>
                  <a:gd name="connsiteY54" fmla="*/ 202073 h 492805"/>
                  <a:gd name="connsiteX55" fmla="*/ 349282 w 482022"/>
                  <a:gd name="connsiteY55" fmla="*/ 203302 h 492805"/>
                  <a:gd name="connsiteX56" fmla="*/ 348091 w 482022"/>
                  <a:gd name="connsiteY56" fmla="*/ 218875 h 492805"/>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79228 w 482022"/>
                  <a:gd name="connsiteY12" fmla="*/ 204693 h 492805"/>
                  <a:gd name="connsiteX13" fmla="*/ 242897 w 482022"/>
                  <a:gd name="connsiteY13" fmla="*/ 1077 h 492805"/>
                  <a:gd name="connsiteX14" fmla="*/ 73895 w 482022"/>
                  <a:gd name="connsiteY14" fmla="*/ 140980 h 492805"/>
                  <a:gd name="connsiteX15" fmla="*/ 53854 w 482022"/>
                  <a:gd name="connsiteY15" fmla="*/ 204702 h 492805"/>
                  <a:gd name="connsiteX16" fmla="*/ 80191 w 482022"/>
                  <a:gd name="connsiteY16" fmla="*/ 270377 h 492805"/>
                  <a:gd name="connsiteX17" fmla="*/ 91697 w 482022"/>
                  <a:gd name="connsiteY17" fmla="*/ 263710 h 492805"/>
                  <a:gd name="connsiteX18" fmla="*/ 108432 w 482022"/>
                  <a:gd name="connsiteY18" fmla="*/ 278826 h 492805"/>
                  <a:gd name="connsiteX19" fmla="*/ 57588 w 482022"/>
                  <a:gd name="connsiteY19" fmla="*/ 378619 h 492805"/>
                  <a:gd name="connsiteX20" fmla="*/ 92316 w 482022"/>
                  <a:gd name="connsiteY20" fmla="*/ 377229 h 492805"/>
                  <a:gd name="connsiteX21" fmla="*/ 0 w 482022"/>
                  <a:gd name="connsiteY21" fmla="*/ 492805 h 492805"/>
                  <a:gd name="connsiteX22" fmla="*/ 482022 w 482022"/>
                  <a:gd name="connsiteY22" fmla="*/ 492805 h 492805"/>
                  <a:gd name="connsiteX23" fmla="*/ 372542 w 482022"/>
                  <a:gd name="connsiteY23" fmla="*/ 370723 h 492805"/>
                  <a:gd name="connsiteX24" fmla="*/ 278320 w 482022"/>
                  <a:gd name="connsiteY24" fmla="*/ 413023 h 492805"/>
                  <a:gd name="connsiteX25" fmla="*/ 241011 w 482022"/>
                  <a:gd name="connsiteY25" fmla="*/ 473622 h 492805"/>
                  <a:gd name="connsiteX26" fmla="*/ 203720 w 482022"/>
                  <a:gd name="connsiteY26" fmla="*/ 413023 h 492805"/>
                  <a:gd name="connsiteX27" fmla="*/ 147237 w 482022"/>
                  <a:gd name="connsiteY27" fmla="*/ 378619 h 492805"/>
                  <a:gd name="connsiteX28" fmla="*/ 192424 w 482022"/>
                  <a:gd name="connsiteY28" fmla="*/ 392392 h 492805"/>
                  <a:gd name="connsiteX29" fmla="*/ 171878 w 482022"/>
                  <a:gd name="connsiteY29" fmla="*/ 346577 h 492805"/>
                  <a:gd name="connsiteX30" fmla="*/ 241001 w 482022"/>
                  <a:gd name="connsiteY30" fmla="*/ 377733 h 492805"/>
                  <a:gd name="connsiteX31" fmla="*/ 308781 w 482022"/>
                  <a:gd name="connsiteY31" fmla="*/ 347930 h 492805"/>
                  <a:gd name="connsiteX32" fmla="*/ 294465 w 482022"/>
                  <a:gd name="connsiteY32" fmla="*/ 377733 h 492805"/>
                  <a:gd name="connsiteX33" fmla="*/ 338471 w 482022"/>
                  <a:gd name="connsiteY33" fmla="*/ 368227 h 492805"/>
                  <a:gd name="connsiteX34" fmla="*/ 278320 w 482022"/>
                  <a:gd name="connsiteY34" fmla="*/ 413023 h 492805"/>
                  <a:gd name="connsiteX35" fmla="*/ 348091 w 482022"/>
                  <a:gd name="connsiteY35" fmla="*/ 218875 h 492805"/>
                  <a:gd name="connsiteX36" fmla="*/ 328126 w 482022"/>
                  <a:gd name="connsiteY36" fmla="*/ 294085 h 492805"/>
                  <a:gd name="connsiteX37" fmla="*/ 241011 w 482022"/>
                  <a:gd name="connsiteY37" fmla="*/ 358874 h 492805"/>
                  <a:gd name="connsiteX38" fmla="*/ 156610 w 482022"/>
                  <a:gd name="connsiteY38" fmla="*/ 299266 h 492805"/>
                  <a:gd name="connsiteX39" fmla="*/ 187414 w 482022"/>
                  <a:gd name="connsiteY39" fmla="*/ 302476 h 492805"/>
                  <a:gd name="connsiteX40" fmla="*/ 197824 w 482022"/>
                  <a:gd name="connsiteY40" fmla="*/ 302019 h 492805"/>
                  <a:gd name="connsiteX41" fmla="*/ 217713 w 482022"/>
                  <a:gd name="connsiteY41" fmla="*/ 310077 h 492805"/>
                  <a:gd name="connsiteX42" fmla="*/ 234400 w 482022"/>
                  <a:gd name="connsiteY42" fmla="*/ 286417 h 492805"/>
                  <a:gd name="connsiteX43" fmla="*/ 210731 w 482022"/>
                  <a:gd name="connsiteY43" fmla="*/ 269748 h 492805"/>
                  <a:gd name="connsiteX44" fmla="*/ 195491 w 482022"/>
                  <a:gd name="connsiteY44" fmla="*/ 281683 h 492805"/>
                  <a:gd name="connsiteX45" fmla="*/ 145847 w 482022"/>
                  <a:gd name="connsiteY45" fmla="*/ 275197 h 492805"/>
                  <a:gd name="connsiteX46" fmla="*/ 134264 w 482022"/>
                  <a:gd name="connsiteY46" fmla="*/ 222704 h 492805"/>
                  <a:gd name="connsiteX47" fmla="*/ 203073 w 482022"/>
                  <a:gd name="connsiteY47" fmla="*/ 205398 h 492805"/>
                  <a:gd name="connsiteX48" fmla="*/ 306648 w 482022"/>
                  <a:gd name="connsiteY48" fmla="*/ 148810 h 492805"/>
                  <a:gd name="connsiteX49" fmla="*/ 307495 w 482022"/>
                  <a:gd name="connsiteY49" fmla="*/ 148219 h 492805"/>
                  <a:gd name="connsiteX50" fmla="*/ 309981 w 482022"/>
                  <a:gd name="connsiteY50" fmla="*/ 152181 h 492805"/>
                  <a:gd name="connsiteX51" fmla="*/ 305495 w 482022"/>
                  <a:gd name="connsiteY51" fmla="*/ 197435 h 492805"/>
                  <a:gd name="connsiteX52" fmla="*/ 341947 w 482022"/>
                  <a:gd name="connsiteY52" fmla="*/ 202073 h 492805"/>
                  <a:gd name="connsiteX53" fmla="*/ 342614 w 482022"/>
                  <a:gd name="connsiteY53" fmla="*/ 202073 h 492805"/>
                  <a:gd name="connsiteX54" fmla="*/ 349282 w 482022"/>
                  <a:gd name="connsiteY54" fmla="*/ 203302 h 492805"/>
                  <a:gd name="connsiteX55" fmla="*/ 348091 w 482022"/>
                  <a:gd name="connsiteY55" fmla="*/ 218875 h 492805"/>
                  <a:gd name="connsiteX0" fmla="*/ 372542 w 482022"/>
                  <a:gd name="connsiteY0" fmla="*/ 339486 h 461568"/>
                  <a:gd name="connsiteX1" fmla="*/ 424453 w 482022"/>
                  <a:gd name="connsiteY1" fmla="*/ 347373 h 461568"/>
                  <a:gd name="connsiteX2" fmla="*/ 370684 w 482022"/>
                  <a:gd name="connsiteY2" fmla="*/ 208108 h 461568"/>
                  <a:gd name="connsiteX3" fmla="*/ 241135 w 482022"/>
                  <a:gd name="connsiteY3" fmla="*/ 8187 h 461568"/>
                  <a:gd name="connsiteX4" fmla="*/ 241011 w 482022"/>
                  <a:gd name="connsiteY4" fmla="*/ 8521 h 461568"/>
                  <a:gd name="connsiteX5" fmla="*/ 240906 w 482022"/>
                  <a:gd name="connsiteY5" fmla="*/ 8187 h 461568"/>
                  <a:gd name="connsiteX6" fmla="*/ 111337 w 482022"/>
                  <a:gd name="connsiteY6" fmla="*/ 208108 h 461568"/>
                  <a:gd name="connsiteX7" fmla="*/ 110852 w 482022"/>
                  <a:gd name="connsiteY7" fmla="*/ 223129 h 461568"/>
                  <a:gd name="connsiteX8" fmla="*/ 101546 w 482022"/>
                  <a:gd name="connsiteY8" fmla="*/ 211718 h 461568"/>
                  <a:gd name="connsiteX9" fmla="*/ 106508 w 482022"/>
                  <a:gd name="connsiteY9" fmla="*/ 173456 h 461568"/>
                  <a:gd name="connsiteX10" fmla="*/ 100231 w 482022"/>
                  <a:gd name="connsiteY10" fmla="*/ 130936 h 461568"/>
                  <a:gd name="connsiteX11" fmla="*/ 242887 w 482022"/>
                  <a:gd name="connsiteY11" fmla="*/ 548 h 461568"/>
                  <a:gd name="connsiteX12" fmla="*/ 379228 w 482022"/>
                  <a:gd name="connsiteY12" fmla="*/ 173456 h 461568"/>
                  <a:gd name="connsiteX13" fmla="*/ 73895 w 482022"/>
                  <a:gd name="connsiteY13" fmla="*/ 109743 h 461568"/>
                  <a:gd name="connsiteX14" fmla="*/ 53854 w 482022"/>
                  <a:gd name="connsiteY14" fmla="*/ 173465 h 461568"/>
                  <a:gd name="connsiteX15" fmla="*/ 80191 w 482022"/>
                  <a:gd name="connsiteY15" fmla="*/ 239140 h 461568"/>
                  <a:gd name="connsiteX16" fmla="*/ 91697 w 482022"/>
                  <a:gd name="connsiteY16" fmla="*/ 232473 h 461568"/>
                  <a:gd name="connsiteX17" fmla="*/ 108432 w 482022"/>
                  <a:gd name="connsiteY17" fmla="*/ 247589 h 461568"/>
                  <a:gd name="connsiteX18" fmla="*/ 57588 w 482022"/>
                  <a:gd name="connsiteY18" fmla="*/ 347382 h 461568"/>
                  <a:gd name="connsiteX19" fmla="*/ 92316 w 482022"/>
                  <a:gd name="connsiteY19" fmla="*/ 345992 h 461568"/>
                  <a:gd name="connsiteX20" fmla="*/ 0 w 482022"/>
                  <a:gd name="connsiteY20" fmla="*/ 461568 h 461568"/>
                  <a:gd name="connsiteX21" fmla="*/ 482022 w 482022"/>
                  <a:gd name="connsiteY21" fmla="*/ 461568 h 461568"/>
                  <a:gd name="connsiteX22" fmla="*/ 372542 w 482022"/>
                  <a:gd name="connsiteY22" fmla="*/ 339486 h 461568"/>
                  <a:gd name="connsiteX23" fmla="*/ 278320 w 482022"/>
                  <a:gd name="connsiteY23" fmla="*/ 381786 h 461568"/>
                  <a:gd name="connsiteX24" fmla="*/ 241011 w 482022"/>
                  <a:gd name="connsiteY24" fmla="*/ 442385 h 461568"/>
                  <a:gd name="connsiteX25" fmla="*/ 203720 w 482022"/>
                  <a:gd name="connsiteY25" fmla="*/ 381786 h 461568"/>
                  <a:gd name="connsiteX26" fmla="*/ 147237 w 482022"/>
                  <a:gd name="connsiteY26" fmla="*/ 347382 h 461568"/>
                  <a:gd name="connsiteX27" fmla="*/ 192424 w 482022"/>
                  <a:gd name="connsiteY27" fmla="*/ 361155 h 461568"/>
                  <a:gd name="connsiteX28" fmla="*/ 171878 w 482022"/>
                  <a:gd name="connsiteY28" fmla="*/ 315340 h 461568"/>
                  <a:gd name="connsiteX29" fmla="*/ 241001 w 482022"/>
                  <a:gd name="connsiteY29" fmla="*/ 346496 h 461568"/>
                  <a:gd name="connsiteX30" fmla="*/ 308781 w 482022"/>
                  <a:gd name="connsiteY30" fmla="*/ 316693 h 461568"/>
                  <a:gd name="connsiteX31" fmla="*/ 294465 w 482022"/>
                  <a:gd name="connsiteY31" fmla="*/ 346496 h 461568"/>
                  <a:gd name="connsiteX32" fmla="*/ 338471 w 482022"/>
                  <a:gd name="connsiteY32" fmla="*/ 336990 h 461568"/>
                  <a:gd name="connsiteX33" fmla="*/ 278320 w 482022"/>
                  <a:gd name="connsiteY33" fmla="*/ 381786 h 461568"/>
                  <a:gd name="connsiteX34" fmla="*/ 348091 w 482022"/>
                  <a:gd name="connsiteY34" fmla="*/ 187638 h 461568"/>
                  <a:gd name="connsiteX35" fmla="*/ 328126 w 482022"/>
                  <a:gd name="connsiteY35" fmla="*/ 262848 h 461568"/>
                  <a:gd name="connsiteX36" fmla="*/ 241011 w 482022"/>
                  <a:gd name="connsiteY36" fmla="*/ 327637 h 461568"/>
                  <a:gd name="connsiteX37" fmla="*/ 156610 w 482022"/>
                  <a:gd name="connsiteY37" fmla="*/ 268029 h 461568"/>
                  <a:gd name="connsiteX38" fmla="*/ 187414 w 482022"/>
                  <a:gd name="connsiteY38" fmla="*/ 271239 h 461568"/>
                  <a:gd name="connsiteX39" fmla="*/ 197824 w 482022"/>
                  <a:gd name="connsiteY39" fmla="*/ 270782 h 461568"/>
                  <a:gd name="connsiteX40" fmla="*/ 217713 w 482022"/>
                  <a:gd name="connsiteY40" fmla="*/ 278840 h 461568"/>
                  <a:gd name="connsiteX41" fmla="*/ 234400 w 482022"/>
                  <a:gd name="connsiteY41" fmla="*/ 255180 h 461568"/>
                  <a:gd name="connsiteX42" fmla="*/ 210731 w 482022"/>
                  <a:gd name="connsiteY42" fmla="*/ 238511 h 461568"/>
                  <a:gd name="connsiteX43" fmla="*/ 195491 w 482022"/>
                  <a:gd name="connsiteY43" fmla="*/ 250446 h 461568"/>
                  <a:gd name="connsiteX44" fmla="*/ 145847 w 482022"/>
                  <a:gd name="connsiteY44" fmla="*/ 243960 h 461568"/>
                  <a:gd name="connsiteX45" fmla="*/ 134264 w 482022"/>
                  <a:gd name="connsiteY45" fmla="*/ 191467 h 461568"/>
                  <a:gd name="connsiteX46" fmla="*/ 203073 w 482022"/>
                  <a:gd name="connsiteY46" fmla="*/ 174161 h 461568"/>
                  <a:gd name="connsiteX47" fmla="*/ 306648 w 482022"/>
                  <a:gd name="connsiteY47" fmla="*/ 117573 h 461568"/>
                  <a:gd name="connsiteX48" fmla="*/ 307495 w 482022"/>
                  <a:gd name="connsiteY48" fmla="*/ 116982 h 461568"/>
                  <a:gd name="connsiteX49" fmla="*/ 309981 w 482022"/>
                  <a:gd name="connsiteY49" fmla="*/ 120944 h 461568"/>
                  <a:gd name="connsiteX50" fmla="*/ 305495 w 482022"/>
                  <a:gd name="connsiteY50" fmla="*/ 166198 h 461568"/>
                  <a:gd name="connsiteX51" fmla="*/ 341947 w 482022"/>
                  <a:gd name="connsiteY51" fmla="*/ 170836 h 461568"/>
                  <a:gd name="connsiteX52" fmla="*/ 342614 w 482022"/>
                  <a:gd name="connsiteY52" fmla="*/ 170836 h 461568"/>
                  <a:gd name="connsiteX53" fmla="*/ 349282 w 482022"/>
                  <a:gd name="connsiteY53" fmla="*/ 172065 h 461568"/>
                  <a:gd name="connsiteX54" fmla="*/ 348091 w 482022"/>
                  <a:gd name="connsiteY54" fmla="*/ 187638 h 461568"/>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73895 w 482022"/>
                  <a:gd name="connsiteY12" fmla="*/ 101655 h 453480"/>
                  <a:gd name="connsiteX13" fmla="*/ 53854 w 482022"/>
                  <a:gd name="connsiteY13" fmla="*/ 165377 h 453480"/>
                  <a:gd name="connsiteX14" fmla="*/ 80191 w 482022"/>
                  <a:gd name="connsiteY14" fmla="*/ 231052 h 453480"/>
                  <a:gd name="connsiteX15" fmla="*/ 91697 w 482022"/>
                  <a:gd name="connsiteY15" fmla="*/ 224385 h 453480"/>
                  <a:gd name="connsiteX16" fmla="*/ 108432 w 482022"/>
                  <a:gd name="connsiteY16" fmla="*/ 239501 h 453480"/>
                  <a:gd name="connsiteX17" fmla="*/ 57588 w 482022"/>
                  <a:gd name="connsiteY17" fmla="*/ 339294 h 453480"/>
                  <a:gd name="connsiteX18" fmla="*/ 92316 w 482022"/>
                  <a:gd name="connsiteY18" fmla="*/ 337904 h 453480"/>
                  <a:gd name="connsiteX19" fmla="*/ 0 w 482022"/>
                  <a:gd name="connsiteY19" fmla="*/ 453480 h 453480"/>
                  <a:gd name="connsiteX20" fmla="*/ 482022 w 482022"/>
                  <a:gd name="connsiteY20" fmla="*/ 453480 h 453480"/>
                  <a:gd name="connsiteX21" fmla="*/ 372542 w 482022"/>
                  <a:gd name="connsiteY21" fmla="*/ 331398 h 453480"/>
                  <a:gd name="connsiteX22" fmla="*/ 278320 w 482022"/>
                  <a:gd name="connsiteY22" fmla="*/ 373698 h 453480"/>
                  <a:gd name="connsiteX23" fmla="*/ 241011 w 482022"/>
                  <a:gd name="connsiteY23" fmla="*/ 434297 h 453480"/>
                  <a:gd name="connsiteX24" fmla="*/ 203720 w 482022"/>
                  <a:gd name="connsiteY24" fmla="*/ 373698 h 453480"/>
                  <a:gd name="connsiteX25" fmla="*/ 147237 w 482022"/>
                  <a:gd name="connsiteY25" fmla="*/ 339294 h 453480"/>
                  <a:gd name="connsiteX26" fmla="*/ 192424 w 482022"/>
                  <a:gd name="connsiteY26" fmla="*/ 353067 h 453480"/>
                  <a:gd name="connsiteX27" fmla="*/ 171878 w 482022"/>
                  <a:gd name="connsiteY27" fmla="*/ 307252 h 453480"/>
                  <a:gd name="connsiteX28" fmla="*/ 241001 w 482022"/>
                  <a:gd name="connsiteY28" fmla="*/ 338408 h 453480"/>
                  <a:gd name="connsiteX29" fmla="*/ 308781 w 482022"/>
                  <a:gd name="connsiteY29" fmla="*/ 308605 h 453480"/>
                  <a:gd name="connsiteX30" fmla="*/ 294465 w 482022"/>
                  <a:gd name="connsiteY30" fmla="*/ 338408 h 453480"/>
                  <a:gd name="connsiteX31" fmla="*/ 338471 w 482022"/>
                  <a:gd name="connsiteY31" fmla="*/ 328902 h 453480"/>
                  <a:gd name="connsiteX32" fmla="*/ 278320 w 482022"/>
                  <a:gd name="connsiteY32" fmla="*/ 373698 h 453480"/>
                  <a:gd name="connsiteX33" fmla="*/ 348091 w 482022"/>
                  <a:gd name="connsiteY33" fmla="*/ 179550 h 453480"/>
                  <a:gd name="connsiteX34" fmla="*/ 328126 w 482022"/>
                  <a:gd name="connsiteY34" fmla="*/ 254760 h 453480"/>
                  <a:gd name="connsiteX35" fmla="*/ 241011 w 482022"/>
                  <a:gd name="connsiteY35" fmla="*/ 319549 h 453480"/>
                  <a:gd name="connsiteX36" fmla="*/ 156610 w 482022"/>
                  <a:gd name="connsiteY36" fmla="*/ 259941 h 453480"/>
                  <a:gd name="connsiteX37" fmla="*/ 187414 w 482022"/>
                  <a:gd name="connsiteY37" fmla="*/ 263151 h 453480"/>
                  <a:gd name="connsiteX38" fmla="*/ 197824 w 482022"/>
                  <a:gd name="connsiteY38" fmla="*/ 262694 h 453480"/>
                  <a:gd name="connsiteX39" fmla="*/ 217713 w 482022"/>
                  <a:gd name="connsiteY39" fmla="*/ 270752 h 453480"/>
                  <a:gd name="connsiteX40" fmla="*/ 234400 w 482022"/>
                  <a:gd name="connsiteY40" fmla="*/ 247092 h 453480"/>
                  <a:gd name="connsiteX41" fmla="*/ 210731 w 482022"/>
                  <a:gd name="connsiteY41" fmla="*/ 230423 h 453480"/>
                  <a:gd name="connsiteX42" fmla="*/ 195491 w 482022"/>
                  <a:gd name="connsiteY42" fmla="*/ 242358 h 453480"/>
                  <a:gd name="connsiteX43" fmla="*/ 145847 w 482022"/>
                  <a:gd name="connsiteY43" fmla="*/ 235872 h 453480"/>
                  <a:gd name="connsiteX44" fmla="*/ 134264 w 482022"/>
                  <a:gd name="connsiteY44" fmla="*/ 183379 h 453480"/>
                  <a:gd name="connsiteX45" fmla="*/ 203073 w 482022"/>
                  <a:gd name="connsiteY45" fmla="*/ 166073 h 453480"/>
                  <a:gd name="connsiteX46" fmla="*/ 306648 w 482022"/>
                  <a:gd name="connsiteY46" fmla="*/ 109485 h 453480"/>
                  <a:gd name="connsiteX47" fmla="*/ 307495 w 482022"/>
                  <a:gd name="connsiteY47" fmla="*/ 108894 h 453480"/>
                  <a:gd name="connsiteX48" fmla="*/ 309981 w 482022"/>
                  <a:gd name="connsiteY48" fmla="*/ 112856 h 453480"/>
                  <a:gd name="connsiteX49" fmla="*/ 305495 w 482022"/>
                  <a:gd name="connsiteY49" fmla="*/ 158110 h 453480"/>
                  <a:gd name="connsiteX50" fmla="*/ 341947 w 482022"/>
                  <a:gd name="connsiteY50" fmla="*/ 162748 h 453480"/>
                  <a:gd name="connsiteX51" fmla="*/ 342614 w 482022"/>
                  <a:gd name="connsiteY51" fmla="*/ 162748 h 453480"/>
                  <a:gd name="connsiteX52" fmla="*/ 349282 w 482022"/>
                  <a:gd name="connsiteY52" fmla="*/ 163977 h 453480"/>
                  <a:gd name="connsiteX53" fmla="*/ 348091 w 482022"/>
                  <a:gd name="connsiteY5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53854 w 482022"/>
                  <a:gd name="connsiteY12" fmla="*/ 165377 h 453480"/>
                  <a:gd name="connsiteX13" fmla="*/ 80191 w 482022"/>
                  <a:gd name="connsiteY13" fmla="*/ 231052 h 453480"/>
                  <a:gd name="connsiteX14" fmla="*/ 91697 w 482022"/>
                  <a:gd name="connsiteY14" fmla="*/ 224385 h 453480"/>
                  <a:gd name="connsiteX15" fmla="*/ 108432 w 482022"/>
                  <a:gd name="connsiteY15" fmla="*/ 239501 h 453480"/>
                  <a:gd name="connsiteX16" fmla="*/ 57588 w 482022"/>
                  <a:gd name="connsiteY16" fmla="*/ 339294 h 453480"/>
                  <a:gd name="connsiteX17" fmla="*/ 92316 w 482022"/>
                  <a:gd name="connsiteY17" fmla="*/ 337904 h 453480"/>
                  <a:gd name="connsiteX18" fmla="*/ 0 w 482022"/>
                  <a:gd name="connsiteY18" fmla="*/ 453480 h 453480"/>
                  <a:gd name="connsiteX19" fmla="*/ 482022 w 482022"/>
                  <a:gd name="connsiteY19" fmla="*/ 453480 h 453480"/>
                  <a:gd name="connsiteX20" fmla="*/ 372542 w 482022"/>
                  <a:gd name="connsiteY20" fmla="*/ 331398 h 453480"/>
                  <a:gd name="connsiteX21" fmla="*/ 278320 w 482022"/>
                  <a:gd name="connsiteY21" fmla="*/ 373698 h 453480"/>
                  <a:gd name="connsiteX22" fmla="*/ 241011 w 482022"/>
                  <a:gd name="connsiteY22" fmla="*/ 434297 h 453480"/>
                  <a:gd name="connsiteX23" fmla="*/ 203720 w 482022"/>
                  <a:gd name="connsiteY23" fmla="*/ 373698 h 453480"/>
                  <a:gd name="connsiteX24" fmla="*/ 147237 w 482022"/>
                  <a:gd name="connsiteY24" fmla="*/ 339294 h 453480"/>
                  <a:gd name="connsiteX25" fmla="*/ 192424 w 482022"/>
                  <a:gd name="connsiteY25" fmla="*/ 353067 h 453480"/>
                  <a:gd name="connsiteX26" fmla="*/ 171878 w 482022"/>
                  <a:gd name="connsiteY26" fmla="*/ 307252 h 453480"/>
                  <a:gd name="connsiteX27" fmla="*/ 241001 w 482022"/>
                  <a:gd name="connsiteY27" fmla="*/ 338408 h 453480"/>
                  <a:gd name="connsiteX28" fmla="*/ 308781 w 482022"/>
                  <a:gd name="connsiteY28" fmla="*/ 308605 h 453480"/>
                  <a:gd name="connsiteX29" fmla="*/ 294465 w 482022"/>
                  <a:gd name="connsiteY29" fmla="*/ 338408 h 453480"/>
                  <a:gd name="connsiteX30" fmla="*/ 338471 w 482022"/>
                  <a:gd name="connsiteY30" fmla="*/ 328902 h 453480"/>
                  <a:gd name="connsiteX31" fmla="*/ 278320 w 482022"/>
                  <a:gd name="connsiteY31" fmla="*/ 373698 h 453480"/>
                  <a:gd name="connsiteX32" fmla="*/ 348091 w 482022"/>
                  <a:gd name="connsiteY32" fmla="*/ 179550 h 453480"/>
                  <a:gd name="connsiteX33" fmla="*/ 328126 w 482022"/>
                  <a:gd name="connsiteY33" fmla="*/ 254760 h 453480"/>
                  <a:gd name="connsiteX34" fmla="*/ 241011 w 482022"/>
                  <a:gd name="connsiteY34" fmla="*/ 319549 h 453480"/>
                  <a:gd name="connsiteX35" fmla="*/ 156610 w 482022"/>
                  <a:gd name="connsiteY35" fmla="*/ 259941 h 453480"/>
                  <a:gd name="connsiteX36" fmla="*/ 187414 w 482022"/>
                  <a:gd name="connsiteY36" fmla="*/ 263151 h 453480"/>
                  <a:gd name="connsiteX37" fmla="*/ 197824 w 482022"/>
                  <a:gd name="connsiteY37" fmla="*/ 262694 h 453480"/>
                  <a:gd name="connsiteX38" fmla="*/ 217713 w 482022"/>
                  <a:gd name="connsiteY38" fmla="*/ 270752 h 453480"/>
                  <a:gd name="connsiteX39" fmla="*/ 234400 w 482022"/>
                  <a:gd name="connsiteY39" fmla="*/ 247092 h 453480"/>
                  <a:gd name="connsiteX40" fmla="*/ 210731 w 482022"/>
                  <a:gd name="connsiteY40" fmla="*/ 230423 h 453480"/>
                  <a:gd name="connsiteX41" fmla="*/ 195491 w 482022"/>
                  <a:gd name="connsiteY41" fmla="*/ 242358 h 453480"/>
                  <a:gd name="connsiteX42" fmla="*/ 145847 w 482022"/>
                  <a:gd name="connsiteY42" fmla="*/ 235872 h 453480"/>
                  <a:gd name="connsiteX43" fmla="*/ 134264 w 482022"/>
                  <a:gd name="connsiteY43" fmla="*/ 183379 h 453480"/>
                  <a:gd name="connsiteX44" fmla="*/ 203073 w 482022"/>
                  <a:gd name="connsiteY44" fmla="*/ 166073 h 453480"/>
                  <a:gd name="connsiteX45" fmla="*/ 306648 w 482022"/>
                  <a:gd name="connsiteY45" fmla="*/ 109485 h 453480"/>
                  <a:gd name="connsiteX46" fmla="*/ 307495 w 482022"/>
                  <a:gd name="connsiteY46" fmla="*/ 108894 h 453480"/>
                  <a:gd name="connsiteX47" fmla="*/ 309981 w 482022"/>
                  <a:gd name="connsiteY47" fmla="*/ 112856 h 453480"/>
                  <a:gd name="connsiteX48" fmla="*/ 305495 w 482022"/>
                  <a:gd name="connsiteY48" fmla="*/ 158110 h 453480"/>
                  <a:gd name="connsiteX49" fmla="*/ 341947 w 482022"/>
                  <a:gd name="connsiteY49" fmla="*/ 162748 h 453480"/>
                  <a:gd name="connsiteX50" fmla="*/ 342614 w 482022"/>
                  <a:gd name="connsiteY50" fmla="*/ 162748 h 453480"/>
                  <a:gd name="connsiteX51" fmla="*/ 349282 w 482022"/>
                  <a:gd name="connsiteY51" fmla="*/ 163977 h 453480"/>
                  <a:gd name="connsiteX52" fmla="*/ 348091 w 482022"/>
                  <a:gd name="connsiteY5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53854 w 482022"/>
                  <a:gd name="connsiteY11" fmla="*/ 165377 h 453480"/>
                  <a:gd name="connsiteX12" fmla="*/ 80191 w 482022"/>
                  <a:gd name="connsiteY12" fmla="*/ 231052 h 453480"/>
                  <a:gd name="connsiteX13" fmla="*/ 91697 w 482022"/>
                  <a:gd name="connsiteY13" fmla="*/ 224385 h 453480"/>
                  <a:gd name="connsiteX14" fmla="*/ 108432 w 482022"/>
                  <a:gd name="connsiteY14" fmla="*/ 239501 h 453480"/>
                  <a:gd name="connsiteX15" fmla="*/ 57588 w 482022"/>
                  <a:gd name="connsiteY15" fmla="*/ 339294 h 453480"/>
                  <a:gd name="connsiteX16" fmla="*/ 92316 w 482022"/>
                  <a:gd name="connsiteY16" fmla="*/ 337904 h 453480"/>
                  <a:gd name="connsiteX17" fmla="*/ 0 w 482022"/>
                  <a:gd name="connsiteY17" fmla="*/ 453480 h 453480"/>
                  <a:gd name="connsiteX18" fmla="*/ 482022 w 482022"/>
                  <a:gd name="connsiteY18" fmla="*/ 453480 h 453480"/>
                  <a:gd name="connsiteX19" fmla="*/ 372542 w 482022"/>
                  <a:gd name="connsiteY19" fmla="*/ 331398 h 453480"/>
                  <a:gd name="connsiteX20" fmla="*/ 278320 w 482022"/>
                  <a:gd name="connsiteY20" fmla="*/ 373698 h 453480"/>
                  <a:gd name="connsiteX21" fmla="*/ 241011 w 482022"/>
                  <a:gd name="connsiteY21" fmla="*/ 434297 h 453480"/>
                  <a:gd name="connsiteX22" fmla="*/ 203720 w 482022"/>
                  <a:gd name="connsiteY22" fmla="*/ 373698 h 453480"/>
                  <a:gd name="connsiteX23" fmla="*/ 147237 w 482022"/>
                  <a:gd name="connsiteY23" fmla="*/ 339294 h 453480"/>
                  <a:gd name="connsiteX24" fmla="*/ 192424 w 482022"/>
                  <a:gd name="connsiteY24" fmla="*/ 353067 h 453480"/>
                  <a:gd name="connsiteX25" fmla="*/ 171878 w 482022"/>
                  <a:gd name="connsiteY25" fmla="*/ 307252 h 453480"/>
                  <a:gd name="connsiteX26" fmla="*/ 241001 w 482022"/>
                  <a:gd name="connsiteY26" fmla="*/ 338408 h 453480"/>
                  <a:gd name="connsiteX27" fmla="*/ 308781 w 482022"/>
                  <a:gd name="connsiteY27" fmla="*/ 308605 h 453480"/>
                  <a:gd name="connsiteX28" fmla="*/ 294465 w 482022"/>
                  <a:gd name="connsiteY28" fmla="*/ 338408 h 453480"/>
                  <a:gd name="connsiteX29" fmla="*/ 338471 w 482022"/>
                  <a:gd name="connsiteY29" fmla="*/ 328902 h 453480"/>
                  <a:gd name="connsiteX30" fmla="*/ 278320 w 482022"/>
                  <a:gd name="connsiteY30" fmla="*/ 373698 h 453480"/>
                  <a:gd name="connsiteX31" fmla="*/ 348091 w 482022"/>
                  <a:gd name="connsiteY31" fmla="*/ 179550 h 453480"/>
                  <a:gd name="connsiteX32" fmla="*/ 328126 w 482022"/>
                  <a:gd name="connsiteY32" fmla="*/ 254760 h 453480"/>
                  <a:gd name="connsiteX33" fmla="*/ 241011 w 482022"/>
                  <a:gd name="connsiteY33" fmla="*/ 319549 h 453480"/>
                  <a:gd name="connsiteX34" fmla="*/ 156610 w 482022"/>
                  <a:gd name="connsiteY34" fmla="*/ 259941 h 453480"/>
                  <a:gd name="connsiteX35" fmla="*/ 187414 w 482022"/>
                  <a:gd name="connsiteY35" fmla="*/ 263151 h 453480"/>
                  <a:gd name="connsiteX36" fmla="*/ 197824 w 482022"/>
                  <a:gd name="connsiteY36" fmla="*/ 262694 h 453480"/>
                  <a:gd name="connsiteX37" fmla="*/ 217713 w 482022"/>
                  <a:gd name="connsiteY37" fmla="*/ 270752 h 453480"/>
                  <a:gd name="connsiteX38" fmla="*/ 234400 w 482022"/>
                  <a:gd name="connsiteY38" fmla="*/ 247092 h 453480"/>
                  <a:gd name="connsiteX39" fmla="*/ 210731 w 482022"/>
                  <a:gd name="connsiteY39" fmla="*/ 230423 h 453480"/>
                  <a:gd name="connsiteX40" fmla="*/ 195491 w 482022"/>
                  <a:gd name="connsiteY40" fmla="*/ 242358 h 453480"/>
                  <a:gd name="connsiteX41" fmla="*/ 145847 w 482022"/>
                  <a:gd name="connsiteY41" fmla="*/ 235872 h 453480"/>
                  <a:gd name="connsiteX42" fmla="*/ 134264 w 482022"/>
                  <a:gd name="connsiteY42" fmla="*/ 183379 h 453480"/>
                  <a:gd name="connsiteX43" fmla="*/ 203073 w 482022"/>
                  <a:gd name="connsiteY43" fmla="*/ 166073 h 453480"/>
                  <a:gd name="connsiteX44" fmla="*/ 306648 w 482022"/>
                  <a:gd name="connsiteY44" fmla="*/ 109485 h 453480"/>
                  <a:gd name="connsiteX45" fmla="*/ 307495 w 482022"/>
                  <a:gd name="connsiteY45" fmla="*/ 108894 h 453480"/>
                  <a:gd name="connsiteX46" fmla="*/ 309981 w 482022"/>
                  <a:gd name="connsiteY46" fmla="*/ 112856 h 453480"/>
                  <a:gd name="connsiteX47" fmla="*/ 305495 w 482022"/>
                  <a:gd name="connsiteY47" fmla="*/ 158110 h 453480"/>
                  <a:gd name="connsiteX48" fmla="*/ 341947 w 482022"/>
                  <a:gd name="connsiteY48" fmla="*/ 162748 h 453480"/>
                  <a:gd name="connsiteX49" fmla="*/ 342614 w 482022"/>
                  <a:gd name="connsiteY49" fmla="*/ 162748 h 453480"/>
                  <a:gd name="connsiteX50" fmla="*/ 349282 w 482022"/>
                  <a:gd name="connsiteY50" fmla="*/ 163977 h 453480"/>
                  <a:gd name="connsiteX51" fmla="*/ 348091 w 482022"/>
                  <a:gd name="connsiteY5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80191 w 482022"/>
                  <a:gd name="connsiteY11" fmla="*/ 231052 h 453480"/>
                  <a:gd name="connsiteX12" fmla="*/ 91697 w 482022"/>
                  <a:gd name="connsiteY12" fmla="*/ 224385 h 453480"/>
                  <a:gd name="connsiteX13" fmla="*/ 108432 w 482022"/>
                  <a:gd name="connsiteY13" fmla="*/ 239501 h 453480"/>
                  <a:gd name="connsiteX14" fmla="*/ 57588 w 482022"/>
                  <a:gd name="connsiteY14" fmla="*/ 339294 h 453480"/>
                  <a:gd name="connsiteX15" fmla="*/ 92316 w 482022"/>
                  <a:gd name="connsiteY15" fmla="*/ 337904 h 453480"/>
                  <a:gd name="connsiteX16" fmla="*/ 0 w 482022"/>
                  <a:gd name="connsiteY16" fmla="*/ 453480 h 453480"/>
                  <a:gd name="connsiteX17" fmla="*/ 482022 w 482022"/>
                  <a:gd name="connsiteY17" fmla="*/ 453480 h 453480"/>
                  <a:gd name="connsiteX18" fmla="*/ 372542 w 482022"/>
                  <a:gd name="connsiteY18" fmla="*/ 331398 h 453480"/>
                  <a:gd name="connsiteX19" fmla="*/ 278320 w 482022"/>
                  <a:gd name="connsiteY19" fmla="*/ 373698 h 453480"/>
                  <a:gd name="connsiteX20" fmla="*/ 241011 w 482022"/>
                  <a:gd name="connsiteY20" fmla="*/ 434297 h 453480"/>
                  <a:gd name="connsiteX21" fmla="*/ 203720 w 482022"/>
                  <a:gd name="connsiteY21" fmla="*/ 373698 h 453480"/>
                  <a:gd name="connsiteX22" fmla="*/ 147237 w 482022"/>
                  <a:gd name="connsiteY22" fmla="*/ 339294 h 453480"/>
                  <a:gd name="connsiteX23" fmla="*/ 192424 w 482022"/>
                  <a:gd name="connsiteY23" fmla="*/ 353067 h 453480"/>
                  <a:gd name="connsiteX24" fmla="*/ 171878 w 482022"/>
                  <a:gd name="connsiteY24" fmla="*/ 307252 h 453480"/>
                  <a:gd name="connsiteX25" fmla="*/ 241001 w 482022"/>
                  <a:gd name="connsiteY25" fmla="*/ 338408 h 453480"/>
                  <a:gd name="connsiteX26" fmla="*/ 308781 w 482022"/>
                  <a:gd name="connsiteY26" fmla="*/ 308605 h 453480"/>
                  <a:gd name="connsiteX27" fmla="*/ 294465 w 482022"/>
                  <a:gd name="connsiteY27" fmla="*/ 338408 h 453480"/>
                  <a:gd name="connsiteX28" fmla="*/ 338471 w 482022"/>
                  <a:gd name="connsiteY28" fmla="*/ 328902 h 453480"/>
                  <a:gd name="connsiteX29" fmla="*/ 278320 w 482022"/>
                  <a:gd name="connsiteY29" fmla="*/ 373698 h 453480"/>
                  <a:gd name="connsiteX30" fmla="*/ 348091 w 482022"/>
                  <a:gd name="connsiteY30" fmla="*/ 179550 h 453480"/>
                  <a:gd name="connsiteX31" fmla="*/ 328126 w 482022"/>
                  <a:gd name="connsiteY31" fmla="*/ 254760 h 453480"/>
                  <a:gd name="connsiteX32" fmla="*/ 241011 w 482022"/>
                  <a:gd name="connsiteY32" fmla="*/ 319549 h 453480"/>
                  <a:gd name="connsiteX33" fmla="*/ 156610 w 482022"/>
                  <a:gd name="connsiteY33" fmla="*/ 259941 h 453480"/>
                  <a:gd name="connsiteX34" fmla="*/ 187414 w 482022"/>
                  <a:gd name="connsiteY34" fmla="*/ 263151 h 453480"/>
                  <a:gd name="connsiteX35" fmla="*/ 197824 w 482022"/>
                  <a:gd name="connsiteY35" fmla="*/ 262694 h 453480"/>
                  <a:gd name="connsiteX36" fmla="*/ 217713 w 482022"/>
                  <a:gd name="connsiteY36" fmla="*/ 270752 h 453480"/>
                  <a:gd name="connsiteX37" fmla="*/ 234400 w 482022"/>
                  <a:gd name="connsiteY37" fmla="*/ 247092 h 453480"/>
                  <a:gd name="connsiteX38" fmla="*/ 210731 w 482022"/>
                  <a:gd name="connsiteY38" fmla="*/ 230423 h 453480"/>
                  <a:gd name="connsiteX39" fmla="*/ 195491 w 482022"/>
                  <a:gd name="connsiteY39" fmla="*/ 242358 h 453480"/>
                  <a:gd name="connsiteX40" fmla="*/ 145847 w 482022"/>
                  <a:gd name="connsiteY40" fmla="*/ 235872 h 453480"/>
                  <a:gd name="connsiteX41" fmla="*/ 134264 w 482022"/>
                  <a:gd name="connsiteY41" fmla="*/ 183379 h 453480"/>
                  <a:gd name="connsiteX42" fmla="*/ 203073 w 482022"/>
                  <a:gd name="connsiteY42" fmla="*/ 166073 h 453480"/>
                  <a:gd name="connsiteX43" fmla="*/ 306648 w 482022"/>
                  <a:gd name="connsiteY43" fmla="*/ 109485 h 453480"/>
                  <a:gd name="connsiteX44" fmla="*/ 307495 w 482022"/>
                  <a:gd name="connsiteY44" fmla="*/ 108894 h 453480"/>
                  <a:gd name="connsiteX45" fmla="*/ 309981 w 482022"/>
                  <a:gd name="connsiteY45" fmla="*/ 112856 h 453480"/>
                  <a:gd name="connsiteX46" fmla="*/ 305495 w 482022"/>
                  <a:gd name="connsiteY46" fmla="*/ 158110 h 453480"/>
                  <a:gd name="connsiteX47" fmla="*/ 341947 w 482022"/>
                  <a:gd name="connsiteY47" fmla="*/ 162748 h 453480"/>
                  <a:gd name="connsiteX48" fmla="*/ 342614 w 482022"/>
                  <a:gd name="connsiteY48" fmla="*/ 162748 h 453480"/>
                  <a:gd name="connsiteX49" fmla="*/ 349282 w 482022"/>
                  <a:gd name="connsiteY49" fmla="*/ 163977 h 453480"/>
                  <a:gd name="connsiteX50" fmla="*/ 348091 w 482022"/>
                  <a:gd name="connsiteY5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379228 w 482022"/>
                  <a:gd name="connsiteY9" fmla="*/ 165368 h 453480"/>
                  <a:gd name="connsiteX10" fmla="*/ 80191 w 482022"/>
                  <a:gd name="connsiteY10" fmla="*/ 231052 h 453480"/>
                  <a:gd name="connsiteX11" fmla="*/ 91697 w 482022"/>
                  <a:gd name="connsiteY11" fmla="*/ 224385 h 453480"/>
                  <a:gd name="connsiteX12" fmla="*/ 108432 w 482022"/>
                  <a:gd name="connsiteY12" fmla="*/ 239501 h 453480"/>
                  <a:gd name="connsiteX13" fmla="*/ 57588 w 482022"/>
                  <a:gd name="connsiteY13" fmla="*/ 339294 h 453480"/>
                  <a:gd name="connsiteX14" fmla="*/ 92316 w 482022"/>
                  <a:gd name="connsiteY14" fmla="*/ 337904 h 453480"/>
                  <a:gd name="connsiteX15" fmla="*/ 0 w 482022"/>
                  <a:gd name="connsiteY15" fmla="*/ 453480 h 453480"/>
                  <a:gd name="connsiteX16" fmla="*/ 482022 w 482022"/>
                  <a:gd name="connsiteY16" fmla="*/ 453480 h 453480"/>
                  <a:gd name="connsiteX17" fmla="*/ 372542 w 482022"/>
                  <a:gd name="connsiteY17" fmla="*/ 331398 h 453480"/>
                  <a:gd name="connsiteX18" fmla="*/ 278320 w 482022"/>
                  <a:gd name="connsiteY18" fmla="*/ 373698 h 453480"/>
                  <a:gd name="connsiteX19" fmla="*/ 241011 w 482022"/>
                  <a:gd name="connsiteY19" fmla="*/ 434297 h 453480"/>
                  <a:gd name="connsiteX20" fmla="*/ 203720 w 482022"/>
                  <a:gd name="connsiteY20" fmla="*/ 373698 h 453480"/>
                  <a:gd name="connsiteX21" fmla="*/ 147237 w 482022"/>
                  <a:gd name="connsiteY21" fmla="*/ 339294 h 453480"/>
                  <a:gd name="connsiteX22" fmla="*/ 192424 w 482022"/>
                  <a:gd name="connsiteY22" fmla="*/ 353067 h 453480"/>
                  <a:gd name="connsiteX23" fmla="*/ 171878 w 482022"/>
                  <a:gd name="connsiteY23" fmla="*/ 307252 h 453480"/>
                  <a:gd name="connsiteX24" fmla="*/ 241001 w 482022"/>
                  <a:gd name="connsiteY24" fmla="*/ 338408 h 453480"/>
                  <a:gd name="connsiteX25" fmla="*/ 308781 w 482022"/>
                  <a:gd name="connsiteY25" fmla="*/ 308605 h 453480"/>
                  <a:gd name="connsiteX26" fmla="*/ 294465 w 482022"/>
                  <a:gd name="connsiteY26" fmla="*/ 338408 h 453480"/>
                  <a:gd name="connsiteX27" fmla="*/ 338471 w 482022"/>
                  <a:gd name="connsiteY27" fmla="*/ 328902 h 453480"/>
                  <a:gd name="connsiteX28" fmla="*/ 278320 w 482022"/>
                  <a:gd name="connsiteY28" fmla="*/ 373698 h 453480"/>
                  <a:gd name="connsiteX29" fmla="*/ 348091 w 482022"/>
                  <a:gd name="connsiteY29" fmla="*/ 179550 h 453480"/>
                  <a:gd name="connsiteX30" fmla="*/ 328126 w 482022"/>
                  <a:gd name="connsiteY30" fmla="*/ 254760 h 453480"/>
                  <a:gd name="connsiteX31" fmla="*/ 241011 w 482022"/>
                  <a:gd name="connsiteY31" fmla="*/ 319549 h 453480"/>
                  <a:gd name="connsiteX32" fmla="*/ 156610 w 482022"/>
                  <a:gd name="connsiteY32" fmla="*/ 259941 h 453480"/>
                  <a:gd name="connsiteX33" fmla="*/ 187414 w 482022"/>
                  <a:gd name="connsiteY33" fmla="*/ 263151 h 453480"/>
                  <a:gd name="connsiteX34" fmla="*/ 197824 w 482022"/>
                  <a:gd name="connsiteY34" fmla="*/ 262694 h 453480"/>
                  <a:gd name="connsiteX35" fmla="*/ 217713 w 482022"/>
                  <a:gd name="connsiteY35" fmla="*/ 270752 h 453480"/>
                  <a:gd name="connsiteX36" fmla="*/ 234400 w 482022"/>
                  <a:gd name="connsiteY36" fmla="*/ 247092 h 453480"/>
                  <a:gd name="connsiteX37" fmla="*/ 210731 w 482022"/>
                  <a:gd name="connsiteY37" fmla="*/ 230423 h 453480"/>
                  <a:gd name="connsiteX38" fmla="*/ 195491 w 482022"/>
                  <a:gd name="connsiteY38" fmla="*/ 242358 h 453480"/>
                  <a:gd name="connsiteX39" fmla="*/ 145847 w 482022"/>
                  <a:gd name="connsiteY39" fmla="*/ 235872 h 453480"/>
                  <a:gd name="connsiteX40" fmla="*/ 134264 w 482022"/>
                  <a:gd name="connsiteY40" fmla="*/ 183379 h 453480"/>
                  <a:gd name="connsiteX41" fmla="*/ 203073 w 482022"/>
                  <a:gd name="connsiteY41" fmla="*/ 166073 h 453480"/>
                  <a:gd name="connsiteX42" fmla="*/ 306648 w 482022"/>
                  <a:gd name="connsiteY42" fmla="*/ 109485 h 453480"/>
                  <a:gd name="connsiteX43" fmla="*/ 307495 w 482022"/>
                  <a:gd name="connsiteY43" fmla="*/ 108894 h 453480"/>
                  <a:gd name="connsiteX44" fmla="*/ 309981 w 482022"/>
                  <a:gd name="connsiteY44" fmla="*/ 112856 h 453480"/>
                  <a:gd name="connsiteX45" fmla="*/ 305495 w 482022"/>
                  <a:gd name="connsiteY45" fmla="*/ 158110 h 453480"/>
                  <a:gd name="connsiteX46" fmla="*/ 341947 w 482022"/>
                  <a:gd name="connsiteY46" fmla="*/ 162748 h 453480"/>
                  <a:gd name="connsiteX47" fmla="*/ 342614 w 482022"/>
                  <a:gd name="connsiteY47" fmla="*/ 162748 h 453480"/>
                  <a:gd name="connsiteX48" fmla="*/ 349282 w 482022"/>
                  <a:gd name="connsiteY48" fmla="*/ 163977 h 453480"/>
                  <a:gd name="connsiteX49" fmla="*/ 348091 w 482022"/>
                  <a:gd name="connsiteY49"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34400 w 482022"/>
                  <a:gd name="connsiteY35" fmla="*/ 247092 h 453480"/>
                  <a:gd name="connsiteX36" fmla="*/ 210731 w 482022"/>
                  <a:gd name="connsiteY36" fmla="*/ 230423 h 453480"/>
                  <a:gd name="connsiteX37" fmla="*/ 195491 w 482022"/>
                  <a:gd name="connsiteY37" fmla="*/ 242358 h 453480"/>
                  <a:gd name="connsiteX38" fmla="*/ 145847 w 482022"/>
                  <a:gd name="connsiteY38" fmla="*/ 235872 h 453480"/>
                  <a:gd name="connsiteX39" fmla="*/ 134264 w 482022"/>
                  <a:gd name="connsiteY39" fmla="*/ 183379 h 453480"/>
                  <a:gd name="connsiteX40" fmla="*/ 203073 w 482022"/>
                  <a:gd name="connsiteY40" fmla="*/ 166073 h 453480"/>
                  <a:gd name="connsiteX41" fmla="*/ 306648 w 482022"/>
                  <a:gd name="connsiteY41" fmla="*/ 109485 h 453480"/>
                  <a:gd name="connsiteX42" fmla="*/ 307495 w 482022"/>
                  <a:gd name="connsiteY42" fmla="*/ 108894 h 453480"/>
                  <a:gd name="connsiteX43" fmla="*/ 309981 w 482022"/>
                  <a:gd name="connsiteY43" fmla="*/ 112856 h 453480"/>
                  <a:gd name="connsiteX44" fmla="*/ 305495 w 482022"/>
                  <a:gd name="connsiteY44" fmla="*/ 158110 h 453480"/>
                  <a:gd name="connsiteX45" fmla="*/ 341947 w 482022"/>
                  <a:gd name="connsiteY45" fmla="*/ 162748 h 453480"/>
                  <a:gd name="connsiteX46" fmla="*/ 342614 w 482022"/>
                  <a:gd name="connsiteY46" fmla="*/ 162748 h 453480"/>
                  <a:gd name="connsiteX47" fmla="*/ 349282 w 482022"/>
                  <a:gd name="connsiteY47" fmla="*/ 163977 h 453480"/>
                  <a:gd name="connsiteX48" fmla="*/ 348091 w 482022"/>
                  <a:gd name="connsiteY48"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10731 w 482022"/>
                  <a:gd name="connsiteY35" fmla="*/ 230423 h 453480"/>
                  <a:gd name="connsiteX36" fmla="*/ 195491 w 482022"/>
                  <a:gd name="connsiteY36" fmla="*/ 242358 h 453480"/>
                  <a:gd name="connsiteX37" fmla="*/ 145847 w 482022"/>
                  <a:gd name="connsiteY37" fmla="*/ 235872 h 453480"/>
                  <a:gd name="connsiteX38" fmla="*/ 134264 w 482022"/>
                  <a:gd name="connsiteY38" fmla="*/ 183379 h 453480"/>
                  <a:gd name="connsiteX39" fmla="*/ 203073 w 482022"/>
                  <a:gd name="connsiteY39" fmla="*/ 166073 h 453480"/>
                  <a:gd name="connsiteX40" fmla="*/ 306648 w 482022"/>
                  <a:gd name="connsiteY40" fmla="*/ 109485 h 453480"/>
                  <a:gd name="connsiteX41" fmla="*/ 307495 w 482022"/>
                  <a:gd name="connsiteY41" fmla="*/ 108894 h 453480"/>
                  <a:gd name="connsiteX42" fmla="*/ 309981 w 482022"/>
                  <a:gd name="connsiteY42" fmla="*/ 112856 h 453480"/>
                  <a:gd name="connsiteX43" fmla="*/ 305495 w 482022"/>
                  <a:gd name="connsiteY43" fmla="*/ 158110 h 453480"/>
                  <a:gd name="connsiteX44" fmla="*/ 341947 w 482022"/>
                  <a:gd name="connsiteY44" fmla="*/ 162748 h 453480"/>
                  <a:gd name="connsiteX45" fmla="*/ 342614 w 482022"/>
                  <a:gd name="connsiteY45" fmla="*/ 162748 h 453480"/>
                  <a:gd name="connsiteX46" fmla="*/ 349282 w 482022"/>
                  <a:gd name="connsiteY46" fmla="*/ 163977 h 453480"/>
                  <a:gd name="connsiteX47" fmla="*/ 348091 w 482022"/>
                  <a:gd name="connsiteY47"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195491 w 482022"/>
                  <a:gd name="connsiteY35" fmla="*/ 242358 h 453480"/>
                  <a:gd name="connsiteX36" fmla="*/ 145847 w 482022"/>
                  <a:gd name="connsiteY36" fmla="*/ 235872 h 453480"/>
                  <a:gd name="connsiteX37" fmla="*/ 134264 w 482022"/>
                  <a:gd name="connsiteY37" fmla="*/ 183379 h 453480"/>
                  <a:gd name="connsiteX38" fmla="*/ 203073 w 482022"/>
                  <a:gd name="connsiteY38" fmla="*/ 166073 h 453480"/>
                  <a:gd name="connsiteX39" fmla="*/ 306648 w 482022"/>
                  <a:gd name="connsiteY39" fmla="*/ 109485 h 453480"/>
                  <a:gd name="connsiteX40" fmla="*/ 307495 w 482022"/>
                  <a:gd name="connsiteY40" fmla="*/ 108894 h 453480"/>
                  <a:gd name="connsiteX41" fmla="*/ 309981 w 482022"/>
                  <a:gd name="connsiteY41" fmla="*/ 112856 h 453480"/>
                  <a:gd name="connsiteX42" fmla="*/ 305495 w 482022"/>
                  <a:gd name="connsiteY42" fmla="*/ 158110 h 453480"/>
                  <a:gd name="connsiteX43" fmla="*/ 341947 w 482022"/>
                  <a:gd name="connsiteY43" fmla="*/ 162748 h 453480"/>
                  <a:gd name="connsiteX44" fmla="*/ 342614 w 482022"/>
                  <a:gd name="connsiteY44" fmla="*/ 162748 h 453480"/>
                  <a:gd name="connsiteX45" fmla="*/ 349282 w 482022"/>
                  <a:gd name="connsiteY45" fmla="*/ 163977 h 453480"/>
                  <a:gd name="connsiteX46" fmla="*/ 348091 w 482022"/>
                  <a:gd name="connsiteY46"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195491 w 482022"/>
                  <a:gd name="connsiteY34" fmla="*/ 242358 h 453480"/>
                  <a:gd name="connsiteX35" fmla="*/ 145847 w 482022"/>
                  <a:gd name="connsiteY35" fmla="*/ 235872 h 453480"/>
                  <a:gd name="connsiteX36" fmla="*/ 134264 w 482022"/>
                  <a:gd name="connsiteY36" fmla="*/ 183379 h 453480"/>
                  <a:gd name="connsiteX37" fmla="*/ 203073 w 482022"/>
                  <a:gd name="connsiteY37" fmla="*/ 166073 h 453480"/>
                  <a:gd name="connsiteX38" fmla="*/ 306648 w 482022"/>
                  <a:gd name="connsiteY38" fmla="*/ 109485 h 453480"/>
                  <a:gd name="connsiteX39" fmla="*/ 307495 w 482022"/>
                  <a:gd name="connsiteY39" fmla="*/ 108894 h 453480"/>
                  <a:gd name="connsiteX40" fmla="*/ 309981 w 482022"/>
                  <a:gd name="connsiteY40" fmla="*/ 112856 h 453480"/>
                  <a:gd name="connsiteX41" fmla="*/ 305495 w 482022"/>
                  <a:gd name="connsiteY41" fmla="*/ 158110 h 453480"/>
                  <a:gd name="connsiteX42" fmla="*/ 341947 w 482022"/>
                  <a:gd name="connsiteY42" fmla="*/ 162748 h 453480"/>
                  <a:gd name="connsiteX43" fmla="*/ 342614 w 482022"/>
                  <a:gd name="connsiteY43" fmla="*/ 162748 h 453480"/>
                  <a:gd name="connsiteX44" fmla="*/ 349282 w 482022"/>
                  <a:gd name="connsiteY44" fmla="*/ 163977 h 453480"/>
                  <a:gd name="connsiteX45" fmla="*/ 348091 w 482022"/>
                  <a:gd name="connsiteY45"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5491 w 482022"/>
                  <a:gd name="connsiteY33" fmla="*/ 242358 h 453480"/>
                  <a:gd name="connsiteX34" fmla="*/ 145847 w 482022"/>
                  <a:gd name="connsiteY34" fmla="*/ 235872 h 453480"/>
                  <a:gd name="connsiteX35" fmla="*/ 134264 w 482022"/>
                  <a:gd name="connsiteY35" fmla="*/ 183379 h 453480"/>
                  <a:gd name="connsiteX36" fmla="*/ 203073 w 482022"/>
                  <a:gd name="connsiteY36" fmla="*/ 166073 h 453480"/>
                  <a:gd name="connsiteX37" fmla="*/ 306648 w 482022"/>
                  <a:gd name="connsiteY37" fmla="*/ 109485 h 453480"/>
                  <a:gd name="connsiteX38" fmla="*/ 307495 w 482022"/>
                  <a:gd name="connsiteY38" fmla="*/ 108894 h 453480"/>
                  <a:gd name="connsiteX39" fmla="*/ 309981 w 482022"/>
                  <a:gd name="connsiteY39" fmla="*/ 112856 h 453480"/>
                  <a:gd name="connsiteX40" fmla="*/ 305495 w 482022"/>
                  <a:gd name="connsiteY40" fmla="*/ 158110 h 453480"/>
                  <a:gd name="connsiteX41" fmla="*/ 341947 w 482022"/>
                  <a:gd name="connsiteY41" fmla="*/ 162748 h 453480"/>
                  <a:gd name="connsiteX42" fmla="*/ 342614 w 482022"/>
                  <a:gd name="connsiteY42" fmla="*/ 162748 h 453480"/>
                  <a:gd name="connsiteX43" fmla="*/ 349282 w 482022"/>
                  <a:gd name="connsiteY43" fmla="*/ 163977 h 453480"/>
                  <a:gd name="connsiteX44" fmla="*/ 348091 w 482022"/>
                  <a:gd name="connsiteY44"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45847 w 482022"/>
                  <a:gd name="connsiteY33" fmla="*/ 235872 h 453480"/>
                  <a:gd name="connsiteX34" fmla="*/ 134264 w 482022"/>
                  <a:gd name="connsiteY34" fmla="*/ 183379 h 453480"/>
                  <a:gd name="connsiteX35" fmla="*/ 203073 w 482022"/>
                  <a:gd name="connsiteY35" fmla="*/ 166073 h 453480"/>
                  <a:gd name="connsiteX36" fmla="*/ 306648 w 482022"/>
                  <a:gd name="connsiteY36" fmla="*/ 109485 h 453480"/>
                  <a:gd name="connsiteX37" fmla="*/ 307495 w 482022"/>
                  <a:gd name="connsiteY37" fmla="*/ 108894 h 453480"/>
                  <a:gd name="connsiteX38" fmla="*/ 309981 w 482022"/>
                  <a:gd name="connsiteY38" fmla="*/ 112856 h 453480"/>
                  <a:gd name="connsiteX39" fmla="*/ 305495 w 482022"/>
                  <a:gd name="connsiteY39" fmla="*/ 158110 h 453480"/>
                  <a:gd name="connsiteX40" fmla="*/ 341947 w 482022"/>
                  <a:gd name="connsiteY40" fmla="*/ 162748 h 453480"/>
                  <a:gd name="connsiteX41" fmla="*/ 342614 w 482022"/>
                  <a:gd name="connsiteY41" fmla="*/ 162748 h 453480"/>
                  <a:gd name="connsiteX42" fmla="*/ 349282 w 482022"/>
                  <a:gd name="connsiteY42" fmla="*/ 163977 h 453480"/>
                  <a:gd name="connsiteX43" fmla="*/ 348091 w 482022"/>
                  <a:gd name="connsiteY4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45847 w 482022"/>
                  <a:gd name="connsiteY32" fmla="*/ 235872 h 453480"/>
                  <a:gd name="connsiteX33" fmla="*/ 134264 w 482022"/>
                  <a:gd name="connsiteY33" fmla="*/ 183379 h 453480"/>
                  <a:gd name="connsiteX34" fmla="*/ 203073 w 482022"/>
                  <a:gd name="connsiteY34" fmla="*/ 166073 h 453480"/>
                  <a:gd name="connsiteX35" fmla="*/ 306648 w 482022"/>
                  <a:gd name="connsiteY35" fmla="*/ 109485 h 453480"/>
                  <a:gd name="connsiteX36" fmla="*/ 307495 w 482022"/>
                  <a:gd name="connsiteY36" fmla="*/ 108894 h 453480"/>
                  <a:gd name="connsiteX37" fmla="*/ 309981 w 482022"/>
                  <a:gd name="connsiteY37" fmla="*/ 112856 h 453480"/>
                  <a:gd name="connsiteX38" fmla="*/ 305495 w 482022"/>
                  <a:gd name="connsiteY38" fmla="*/ 158110 h 453480"/>
                  <a:gd name="connsiteX39" fmla="*/ 341947 w 482022"/>
                  <a:gd name="connsiteY39" fmla="*/ 162748 h 453480"/>
                  <a:gd name="connsiteX40" fmla="*/ 342614 w 482022"/>
                  <a:gd name="connsiteY40" fmla="*/ 162748 h 453480"/>
                  <a:gd name="connsiteX41" fmla="*/ 349282 w 482022"/>
                  <a:gd name="connsiteY41" fmla="*/ 163977 h 453480"/>
                  <a:gd name="connsiteX42" fmla="*/ 348091 w 482022"/>
                  <a:gd name="connsiteY4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91697 w 482022"/>
                  <a:gd name="connsiteY9" fmla="*/ 224385 h 453480"/>
                  <a:gd name="connsiteX10" fmla="*/ 108432 w 482022"/>
                  <a:gd name="connsiteY10" fmla="*/ 239501 h 453480"/>
                  <a:gd name="connsiteX11" fmla="*/ 57588 w 482022"/>
                  <a:gd name="connsiteY11" fmla="*/ 339294 h 453480"/>
                  <a:gd name="connsiteX12" fmla="*/ 92316 w 482022"/>
                  <a:gd name="connsiteY12" fmla="*/ 337904 h 453480"/>
                  <a:gd name="connsiteX13" fmla="*/ 0 w 482022"/>
                  <a:gd name="connsiteY13" fmla="*/ 453480 h 453480"/>
                  <a:gd name="connsiteX14" fmla="*/ 482022 w 482022"/>
                  <a:gd name="connsiteY14" fmla="*/ 453480 h 453480"/>
                  <a:gd name="connsiteX15" fmla="*/ 372542 w 482022"/>
                  <a:gd name="connsiteY15" fmla="*/ 331398 h 453480"/>
                  <a:gd name="connsiteX16" fmla="*/ 278320 w 482022"/>
                  <a:gd name="connsiteY16" fmla="*/ 373698 h 453480"/>
                  <a:gd name="connsiteX17" fmla="*/ 241011 w 482022"/>
                  <a:gd name="connsiteY17" fmla="*/ 434297 h 453480"/>
                  <a:gd name="connsiteX18" fmla="*/ 203720 w 482022"/>
                  <a:gd name="connsiteY18" fmla="*/ 373698 h 453480"/>
                  <a:gd name="connsiteX19" fmla="*/ 147237 w 482022"/>
                  <a:gd name="connsiteY19" fmla="*/ 339294 h 453480"/>
                  <a:gd name="connsiteX20" fmla="*/ 192424 w 482022"/>
                  <a:gd name="connsiteY20" fmla="*/ 353067 h 453480"/>
                  <a:gd name="connsiteX21" fmla="*/ 171878 w 482022"/>
                  <a:gd name="connsiteY21" fmla="*/ 307252 h 453480"/>
                  <a:gd name="connsiteX22" fmla="*/ 241001 w 482022"/>
                  <a:gd name="connsiteY22" fmla="*/ 338408 h 453480"/>
                  <a:gd name="connsiteX23" fmla="*/ 308781 w 482022"/>
                  <a:gd name="connsiteY23" fmla="*/ 308605 h 453480"/>
                  <a:gd name="connsiteX24" fmla="*/ 294465 w 482022"/>
                  <a:gd name="connsiteY24" fmla="*/ 338408 h 453480"/>
                  <a:gd name="connsiteX25" fmla="*/ 338471 w 482022"/>
                  <a:gd name="connsiteY25" fmla="*/ 328902 h 453480"/>
                  <a:gd name="connsiteX26" fmla="*/ 278320 w 482022"/>
                  <a:gd name="connsiteY26" fmla="*/ 373698 h 453480"/>
                  <a:gd name="connsiteX27" fmla="*/ 348091 w 482022"/>
                  <a:gd name="connsiteY27" fmla="*/ 179550 h 453480"/>
                  <a:gd name="connsiteX28" fmla="*/ 328126 w 482022"/>
                  <a:gd name="connsiteY28" fmla="*/ 254760 h 453480"/>
                  <a:gd name="connsiteX29" fmla="*/ 241011 w 482022"/>
                  <a:gd name="connsiteY29" fmla="*/ 319549 h 453480"/>
                  <a:gd name="connsiteX30" fmla="*/ 156610 w 482022"/>
                  <a:gd name="connsiteY30" fmla="*/ 259941 h 453480"/>
                  <a:gd name="connsiteX31" fmla="*/ 145847 w 482022"/>
                  <a:gd name="connsiteY31" fmla="*/ 235872 h 453480"/>
                  <a:gd name="connsiteX32" fmla="*/ 134264 w 482022"/>
                  <a:gd name="connsiteY32" fmla="*/ 183379 h 453480"/>
                  <a:gd name="connsiteX33" fmla="*/ 203073 w 482022"/>
                  <a:gd name="connsiteY33" fmla="*/ 166073 h 453480"/>
                  <a:gd name="connsiteX34" fmla="*/ 306648 w 482022"/>
                  <a:gd name="connsiteY34" fmla="*/ 109485 h 453480"/>
                  <a:gd name="connsiteX35" fmla="*/ 307495 w 482022"/>
                  <a:gd name="connsiteY35" fmla="*/ 108894 h 453480"/>
                  <a:gd name="connsiteX36" fmla="*/ 309981 w 482022"/>
                  <a:gd name="connsiteY36" fmla="*/ 112856 h 453480"/>
                  <a:gd name="connsiteX37" fmla="*/ 305495 w 482022"/>
                  <a:gd name="connsiteY37" fmla="*/ 158110 h 453480"/>
                  <a:gd name="connsiteX38" fmla="*/ 341947 w 482022"/>
                  <a:gd name="connsiteY38" fmla="*/ 162748 h 453480"/>
                  <a:gd name="connsiteX39" fmla="*/ 342614 w 482022"/>
                  <a:gd name="connsiteY39" fmla="*/ 162748 h 453480"/>
                  <a:gd name="connsiteX40" fmla="*/ 349282 w 482022"/>
                  <a:gd name="connsiteY40" fmla="*/ 163977 h 453480"/>
                  <a:gd name="connsiteX41" fmla="*/ 348091 w 482022"/>
                  <a:gd name="connsiteY4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8432 w 482022"/>
                  <a:gd name="connsiteY9" fmla="*/ 239501 h 453480"/>
                  <a:gd name="connsiteX10" fmla="*/ 57588 w 482022"/>
                  <a:gd name="connsiteY10" fmla="*/ 339294 h 453480"/>
                  <a:gd name="connsiteX11" fmla="*/ 92316 w 482022"/>
                  <a:gd name="connsiteY11" fmla="*/ 337904 h 453480"/>
                  <a:gd name="connsiteX12" fmla="*/ 0 w 482022"/>
                  <a:gd name="connsiteY12" fmla="*/ 453480 h 453480"/>
                  <a:gd name="connsiteX13" fmla="*/ 482022 w 482022"/>
                  <a:gd name="connsiteY13" fmla="*/ 453480 h 453480"/>
                  <a:gd name="connsiteX14" fmla="*/ 372542 w 482022"/>
                  <a:gd name="connsiteY14" fmla="*/ 331398 h 453480"/>
                  <a:gd name="connsiteX15" fmla="*/ 278320 w 482022"/>
                  <a:gd name="connsiteY15" fmla="*/ 373698 h 453480"/>
                  <a:gd name="connsiteX16" fmla="*/ 241011 w 482022"/>
                  <a:gd name="connsiteY16" fmla="*/ 434297 h 453480"/>
                  <a:gd name="connsiteX17" fmla="*/ 203720 w 482022"/>
                  <a:gd name="connsiteY17" fmla="*/ 373698 h 453480"/>
                  <a:gd name="connsiteX18" fmla="*/ 147237 w 482022"/>
                  <a:gd name="connsiteY18" fmla="*/ 339294 h 453480"/>
                  <a:gd name="connsiteX19" fmla="*/ 192424 w 482022"/>
                  <a:gd name="connsiteY19" fmla="*/ 353067 h 453480"/>
                  <a:gd name="connsiteX20" fmla="*/ 171878 w 482022"/>
                  <a:gd name="connsiteY20" fmla="*/ 307252 h 453480"/>
                  <a:gd name="connsiteX21" fmla="*/ 241001 w 482022"/>
                  <a:gd name="connsiteY21" fmla="*/ 338408 h 453480"/>
                  <a:gd name="connsiteX22" fmla="*/ 308781 w 482022"/>
                  <a:gd name="connsiteY22" fmla="*/ 308605 h 453480"/>
                  <a:gd name="connsiteX23" fmla="*/ 294465 w 482022"/>
                  <a:gd name="connsiteY23" fmla="*/ 338408 h 453480"/>
                  <a:gd name="connsiteX24" fmla="*/ 338471 w 482022"/>
                  <a:gd name="connsiteY24" fmla="*/ 328902 h 453480"/>
                  <a:gd name="connsiteX25" fmla="*/ 278320 w 482022"/>
                  <a:gd name="connsiteY25" fmla="*/ 373698 h 453480"/>
                  <a:gd name="connsiteX26" fmla="*/ 348091 w 482022"/>
                  <a:gd name="connsiteY26" fmla="*/ 179550 h 453480"/>
                  <a:gd name="connsiteX27" fmla="*/ 328126 w 482022"/>
                  <a:gd name="connsiteY27" fmla="*/ 254760 h 453480"/>
                  <a:gd name="connsiteX28" fmla="*/ 241011 w 482022"/>
                  <a:gd name="connsiteY28" fmla="*/ 319549 h 453480"/>
                  <a:gd name="connsiteX29" fmla="*/ 156610 w 482022"/>
                  <a:gd name="connsiteY29" fmla="*/ 259941 h 453480"/>
                  <a:gd name="connsiteX30" fmla="*/ 145847 w 482022"/>
                  <a:gd name="connsiteY30" fmla="*/ 235872 h 453480"/>
                  <a:gd name="connsiteX31" fmla="*/ 134264 w 482022"/>
                  <a:gd name="connsiteY31" fmla="*/ 183379 h 453480"/>
                  <a:gd name="connsiteX32" fmla="*/ 203073 w 482022"/>
                  <a:gd name="connsiteY32" fmla="*/ 166073 h 453480"/>
                  <a:gd name="connsiteX33" fmla="*/ 306648 w 482022"/>
                  <a:gd name="connsiteY33" fmla="*/ 109485 h 453480"/>
                  <a:gd name="connsiteX34" fmla="*/ 307495 w 482022"/>
                  <a:gd name="connsiteY34" fmla="*/ 108894 h 453480"/>
                  <a:gd name="connsiteX35" fmla="*/ 309981 w 482022"/>
                  <a:gd name="connsiteY35" fmla="*/ 112856 h 453480"/>
                  <a:gd name="connsiteX36" fmla="*/ 305495 w 482022"/>
                  <a:gd name="connsiteY36" fmla="*/ 158110 h 453480"/>
                  <a:gd name="connsiteX37" fmla="*/ 341947 w 482022"/>
                  <a:gd name="connsiteY37" fmla="*/ 162748 h 453480"/>
                  <a:gd name="connsiteX38" fmla="*/ 342614 w 482022"/>
                  <a:gd name="connsiteY38" fmla="*/ 162748 h 453480"/>
                  <a:gd name="connsiteX39" fmla="*/ 349282 w 482022"/>
                  <a:gd name="connsiteY39" fmla="*/ 163977 h 453480"/>
                  <a:gd name="connsiteX40" fmla="*/ 348091 w 482022"/>
                  <a:gd name="connsiteY4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8432 w 482022"/>
                  <a:gd name="connsiteY8" fmla="*/ 239501 h 453480"/>
                  <a:gd name="connsiteX9" fmla="*/ 57588 w 482022"/>
                  <a:gd name="connsiteY9" fmla="*/ 339294 h 453480"/>
                  <a:gd name="connsiteX10" fmla="*/ 92316 w 482022"/>
                  <a:gd name="connsiteY10" fmla="*/ 337904 h 453480"/>
                  <a:gd name="connsiteX11" fmla="*/ 0 w 482022"/>
                  <a:gd name="connsiteY11" fmla="*/ 453480 h 453480"/>
                  <a:gd name="connsiteX12" fmla="*/ 482022 w 482022"/>
                  <a:gd name="connsiteY12" fmla="*/ 453480 h 453480"/>
                  <a:gd name="connsiteX13" fmla="*/ 372542 w 482022"/>
                  <a:gd name="connsiteY13" fmla="*/ 331398 h 453480"/>
                  <a:gd name="connsiteX14" fmla="*/ 278320 w 482022"/>
                  <a:gd name="connsiteY14" fmla="*/ 373698 h 453480"/>
                  <a:gd name="connsiteX15" fmla="*/ 241011 w 482022"/>
                  <a:gd name="connsiteY15" fmla="*/ 434297 h 453480"/>
                  <a:gd name="connsiteX16" fmla="*/ 203720 w 482022"/>
                  <a:gd name="connsiteY16" fmla="*/ 373698 h 453480"/>
                  <a:gd name="connsiteX17" fmla="*/ 147237 w 482022"/>
                  <a:gd name="connsiteY17" fmla="*/ 339294 h 453480"/>
                  <a:gd name="connsiteX18" fmla="*/ 192424 w 482022"/>
                  <a:gd name="connsiteY18" fmla="*/ 353067 h 453480"/>
                  <a:gd name="connsiteX19" fmla="*/ 171878 w 482022"/>
                  <a:gd name="connsiteY19" fmla="*/ 307252 h 453480"/>
                  <a:gd name="connsiteX20" fmla="*/ 241001 w 482022"/>
                  <a:gd name="connsiteY20" fmla="*/ 338408 h 453480"/>
                  <a:gd name="connsiteX21" fmla="*/ 308781 w 482022"/>
                  <a:gd name="connsiteY21" fmla="*/ 308605 h 453480"/>
                  <a:gd name="connsiteX22" fmla="*/ 294465 w 482022"/>
                  <a:gd name="connsiteY22" fmla="*/ 338408 h 453480"/>
                  <a:gd name="connsiteX23" fmla="*/ 338471 w 482022"/>
                  <a:gd name="connsiteY23" fmla="*/ 328902 h 453480"/>
                  <a:gd name="connsiteX24" fmla="*/ 278320 w 482022"/>
                  <a:gd name="connsiteY24" fmla="*/ 373698 h 453480"/>
                  <a:gd name="connsiteX25" fmla="*/ 348091 w 482022"/>
                  <a:gd name="connsiteY25" fmla="*/ 179550 h 453480"/>
                  <a:gd name="connsiteX26" fmla="*/ 328126 w 482022"/>
                  <a:gd name="connsiteY26" fmla="*/ 254760 h 453480"/>
                  <a:gd name="connsiteX27" fmla="*/ 241011 w 482022"/>
                  <a:gd name="connsiteY27" fmla="*/ 319549 h 453480"/>
                  <a:gd name="connsiteX28" fmla="*/ 156610 w 482022"/>
                  <a:gd name="connsiteY28" fmla="*/ 259941 h 453480"/>
                  <a:gd name="connsiteX29" fmla="*/ 145847 w 482022"/>
                  <a:gd name="connsiteY29" fmla="*/ 235872 h 453480"/>
                  <a:gd name="connsiteX30" fmla="*/ 134264 w 482022"/>
                  <a:gd name="connsiteY30" fmla="*/ 183379 h 453480"/>
                  <a:gd name="connsiteX31" fmla="*/ 203073 w 482022"/>
                  <a:gd name="connsiteY31" fmla="*/ 166073 h 453480"/>
                  <a:gd name="connsiteX32" fmla="*/ 306648 w 482022"/>
                  <a:gd name="connsiteY32" fmla="*/ 109485 h 453480"/>
                  <a:gd name="connsiteX33" fmla="*/ 307495 w 482022"/>
                  <a:gd name="connsiteY33" fmla="*/ 108894 h 453480"/>
                  <a:gd name="connsiteX34" fmla="*/ 309981 w 482022"/>
                  <a:gd name="connsiteY34" fmla="*/ 112856 h 453480"/>
                  <a:gd name="connsiteX35" fmla="*/ 305495 w 482022"/>
                  <a:gd name="connsiteY35" fmla="*/ 158110 h 453480"/>
                  <a:gd name="connsiteX36" fmla="*/ 341947 w 482022"/>
                  <a:gd name="connsiteY36" fmla="*/ 162748 h 453480"/>
                  <a:gd name="connsiteX37" fmla="*/ 342614 w 482022"/>
                  <a:gd name="connsiteY37" fmla="*/ 162748 h 453480"/>
                  <a:gd name="connsiteX38" fmla="*/ 349282 w 482022"/>
                  <a:gd name="connsiteY38" fmla="*/ 163977 h 453480"/>
                  <a:gd name="connsiteX39" fmla="*/ 348091 w 482022"/>
                  <a:gd name="connsiteY39" fmla="*/ 179550 h 45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2022" h="453480">
                    <a:moveTo>
                      <a:pt x="372542" y="331398"/>
                    </a:moveTo>
                    <a:cubicBezTo>
                      <a:pt x="400202" y="334503"/>
                      <a:pt x="424453" y="339285"/>
                      <a:pt x="424453" y="339285"/>
                    </a:cubicBezTo>
                    <a:cubicBezTo>
                      <a:pt x="369265" y="308938"/>
                      <a:pt x="370684" y="200020"/>
                      <a:pt x="370684" y="200020"/>
                    </a:cubicBezTo>
                    <a:cubicBezTo>
                      <a:pt x="380352" y="-10931"/>
                      <a:pt x="241135" y="99"/>
                      <a:pt x="241135" y="99"/>
                    </a:cubicBezTo>
                    <a:cubicBezTo>
                      <a:pt x="241094" y="210"/>
                      <a:pt x="241052" y="322"/>
                      <a:pt x="241011" y="433"/>
                    </a:cubicBezTo>
                    <a:lnTo>
                      <a:pt x="240906" y="99"/>
                    </a:lnTo>
                    <a:cubicBezTo>
                      <a:pt x="240906" y="99"/>
                      <a:pt x="101689" y="-10931"/>
                      <a:pt x="111337" y="200020"/>
                    </a:cubicBezTo>
                    <a:cubicBezTo>
                      <a:pt x="111337" y="200020"/>
                      <a:pt x="111404" y="205811"/>
                      <a:pt x="110852" y="215041"/>
                    </a:cubicBezTo>
                    <a:cubicBezTo>
                      <a:pt x="110368" y="221621"/>
                      <a:pt x="117309" y="218792"/>
                      <a:pt x="108432" y="239501"/>
                    </a:cubicBezTo>
                    <a:cubicBezTo>
                      <a:pt x="103632" y="273857"/>
                      <a:pt x="90973" y="320930"/>
                      <a:pt x="57588" y="339294"/>
                    </a:cubicBezTo>
                    <a:cubicBezTo>
                      <a:pt x="57588" y="339294"/>
                      <a:pt x="72437" y="338265"/>
                      <a:pt x="92316" y="337904"/>
                    </a:cubicBezTo>
                    <a:cubicBezTo>
                      <a:pt x="45320" y="358897"/>
                      <a:pt x="10315" y="401721"/>
                      <a:pt x="0" y="453480"/>
                    </a:cubicBezTo>
                    <a:lnTo>
                      <a:pt x="482022" y="453480"/>
                    </a:lnTo>
                    <a:cubicBezTo>
                      <a:pt x="470459" y="395596"/>
                      <a:pt x="428025" y="348876"/>
                      <a:pt x="372542" y="331398"/>
                    </a:cubicBezTo>
                    <a:close/>
                    <a:moveTo>
                      <a:pt x="278320" y="373698"/>
                    </a:moveTo>
                    <a:lnTo>
                      <a:pt x="241011" y="434297"/>
                    </a:lnTo>
                    <a:lnTo>
                      <a:pt x="203720" y="373698"/>
                    </a:lnTo>
                    <a:cubicBezTo>
                      <a:pt x="176612" y="367536"/>
                      <a:pt x="155676" y="354887"/>
                      <a:pt x="147237" y="339294"/>
                    </a:cubicBezTo>
                    <a:cubicBezTo>
                      <a:pt x="169107" y="341190"/>
                      <a:pt x="187633" y="345190"/>
                      <a:pt x="192424" y="353067"/>
                    </a:cubicBezTo>
                    <a:lnTo>
                      <a:pt x="171878" y="307252"/>
                    </a:lnTo>
                    <a:cubicBezTo>
                      <a:pt x="191557" y="326902"/>
                      <a:pt x="215360" y="338408"/>
                      <a:pt x="241001" y="338408"/>
                    </a:cubicBezTo>
                    <a:cubicBezTo>
                      <a:pt x="266043" y="338408"/>
                      <a:pt x="289360" y="327407"/>
                      <a:pt x="308781" y="308605"/>
                    </a:cubicBezTo>
                    <a:lnTo>
                      <a:pt x="294465" y="338408"/>
                    </a:lnTo>
                    <a:cubicBezTo>
                      <a:pt x="299266" y="330503"/>
                      <a:pt x="317297" y="328360"/>
                      <a:pt x="338471" y="328902"/>
                    </a:cubicBezTo>
                    <a:cubicBezTo>
                      <a:pt x="335118" y="349181"/>
                      <a:pt x="311229" y="366212"/>
                      <a:pt x="278320" y="373698"/>
                    </a:cubicBezTo>
                    <a:close/>
                    <a:moveTo>
                      <a:pt x="348091" y="179550"/>
                    </a:moveTo>
                    <a:cubicBezTo>
                      <a:pt x="345986" y="207478"/>
                      <a:pt x="338880" y="233186"/>
                      <a:pt x="328126" y="254760"/>
                    </a:cubicBezTo>
                    <a:cubicBezTo>
                      <a:pt x="308543" y="294031"/>
                      <a:pt x="276825" y="319549"/>
                      <a:pt x="241011" y="319549"/>
                    </a:cubicBezTo>
                    <a:cubicBezTo>
                      <a:pt x="206807" y="319549"/>
                      <a:pt x="176336" y="296251"/>
                      <a:pt x="156610" y="259941"/>
                    </a:cubicBezTo>
                    <a:cubicBezTo>
                      <a:pt x="140749" y="245995"/>
                      <a:pt x="149571" y="248632"/>
                      <a:pt x="145847" y="235872"/>
                    </a:cubicBezTo>
                    <a:cubicBezTo>
                      <a:pt x="140008" y="219813"/>
                      <a:pt x="135988" y="202134"/>
                      <a:pt x="134264" y="183379"/>
                    </a:cubicBezTo>
                    <a:cubicBezTo>
                      <a:pt x="134264" y="183379"/>
                      <a:pt x="177346" y="176226"/>
                      <a:pt x="203073" y="166073"/>
                    </a:cubicBezTo>
                    <a:cubicBezTo>
                      <a:pt x="203073" y="166073"/>
                      <a:pt x="249698" y="150499"/>
                      <a:pt x="306648" y="109485"/>
                    </a:cubicBezTo>
                    <a:cubicBezTo>
                      <a:pt x="306933" y="109284"/>
                      <a:pt x="307210" y="109084"/>
                      <a:pt x="307495" y="108894"/>
                    </a:cubicBezTo>
                    <a:cubicBezTo>
                      <a:pt x="307495" y="108894"/>
                      <a:pt x="308514" y="110342"/>
                      <a:pt x="309981" y="112856"/>
                    </a:cubicBezTo>
                    <a:cubicBezTo>
                      <a:pt x="314925" y="121315"/>
                      <a:pt x="325498" y="146575"/>
                      <a:pt x="305495" y="158110"/>
                    </a:cubicBezTo>
                    <a:lnTo>
                      <a:pt x="341947" y="162748"/>
                    </a:lnTo>
                    <a:lnTo>
                      <a:pt x="342614" y="162748"/>
                    </a:lnTo>
                    <a:lnTo>
                      <a:pt x="349282" y="163977"/>
                    </a:lnTo>
                    <a:cubicBezTo>
                      <a:pt x="349215" y="169254"/>
                      <a:pt x="348843" y="174464"/>
                      <a:pt x="348091" y="179550"/>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95" name="Freeform: Shape 194">
                <a:extLst>
                  <a:ext uri="{FF2B5EF4-FFF2-40B4-BE49-F238E27FC236}">
                    <a16:creationId xmlns:a16="http://schemas.microsoft.com/office/drawing/2014/main" id="{CDBDA134-5B0B-4008-9892-72A89107A555}"/>
                  </a:ext>
                </a:extLst>
              </p:cNvPr>
              <p:cNvSpPr/>
              <p:nvPr/>
            </p:nvSpPr>
            <p:spPr>
              <a:xfrm>
                <a:off x="1017123" y="2728973"/>
                <a:ext cx="345781" cy="18199"/>
              </a:xfrm>
              <a:custGeom>
                <a:avLst/>
                <a:gdLst/>
                <a:ahLst/>
                <a:cxnLst/>
                <a:rect l="0" t="0" r="0" b="0"/>
                <a:pathLst>
                  <a:path w="542925" h="28575">
                    <a:moveTo>
                      <a:pt x="530704" y="7144"/>
                    </a:moveTo>
                    <a:lnTo>
                      <a:pt x="16221" y="7144"/>
                    </a:lnTo>
                    <a:cubicBezTo>
                      <a:pt x="11220" y="7144"/>
                      <a:pt x="7144" y="11201"/>
                      <a:pt x="7144" y="16221"/>
                    </a:cubicBezTo>
                    <a:cubicBezTo>
                      <a:pt x="7144" y="21222"/>
                      <a:pt x="11211" y="25270"/>
                      <a:pt x="16221" y="25270"/>
                    </a:cubicBezTo>
                    <a:lnTo>
                      <a:pt x="530704" y="25270"/>
                    </a:lnTo>
                    <a:cubicBezTo>
                      <a:pt x="535715" y="25270"/>
                      <a:pt x="539772" y="21222"/>
                      <a:pt x="539772" y="16221"/>
                    </a:cubicBezTo>
                    <a:cubicBezTo>
                      <a:pt x="539772" y="11201"/>
                      <a:pt x="535715" y="7144"/>
                      <a:pt x="530704" y="7144"/>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96" name="Freeform: Shape 195">
                <a:extLst>
                  <a:ext uri="{FF2B5EF4-FFF2-40B4-BE49-F238E27FC236}">
                    <a16:creationId xmlns:a16="http://schemas.microsoft.com/office/drawing/2014/main" id="{2E6C0578-E029-4F49-8F72-EC628D711D9E}"/>
                  </a:ext>
                </a:extLst>
              </p:cNvPr>
              <p:cNvSpPr/>
              <p:nvPr/>
            </p:nvSpPr>
            <p:spPr>
              <a:xfrm>
                <a:off x="988993" y="2507722"/>
                <a:ext cx="400378" cy="224455"/>
              </a:xfrm>
              <a:custGeom>
                <a:avLst/>
                <a:gdLst/>
                <a:ahLst/>
                <a:cxnLst/>
                <a:rect l="0" t="0" r="0" b="0"/>
                <a:pathLst>
                  <a:path w="628650" h="352425">
                    <a:moveTo>
                      <a:pt x="90983" y="347120"/>
                    </a:moveTo>
                    <a:lnTo>
                      <a:pt x="544297" y="347120"/>
                    </a:lnTo>
                    <a:cubicBezTo>
                      <a:pt x="565528" y="347120"/>
                      <a:pt x="582825" y="329851"/>
                      <a:pt x="582759" y="308962"/>
                    </a:cubicBezTo>
                    <a:lnTo>
                      <a:pt x="628145" y="45682"/>
                    </a:lnTo>
                    <a:cubicBezTo>
                      <a:pt x="628145" y="24422"/>
                      <a:pt x="610857" y="7144"/>
                      <a:pt x="589617" y="7144"/>
                    </a:cubicBezTo>
                    <a:lnTo>
                      <a:pt x="558641" y="7144"/>
                    </a:lnTo>
                    <a:lnTo>
                      <a:pt x="76610" y="7144"/>
                    </a:lnTo>
                    <a:lnTo>
                      <a:pt x="45653" y="7144"/>
                    </a:lnTo>
                    <a:cubicBezTo>
                      <a:pt x="24403" y="7144"/>
                      <a:pt x="7115" y="24413"/>
                      <a:pt x="7144" y="46063"/>
                    </a:cubicBezTo>
                    <a:lnTo>
                      <a:pt x="52445" y="308591"/>
                    </a:lnTo>
                    <a:cubicBezTo>
                      <a:pt x="52454" y="329841"/>
                      <a:pt x="69733" y="347120"/>
                      <a:pt x="90983" y="347120"/>
                    </a:cubicBezTo>
                    <a:close/>
                    <a:moveTo>
                      <a:pt x="45653" y="11687"/>
                    </a:moveTo>
                    <a:lnTo>
                      <a:pt x="589617" y="11687"/>
                    </a:lnTo>
                    <a:cubicBezTo>
                      <a:pt x="608343" y="11687"/>
                      <a:pt x="623611" y="26946"/>
                      <a:pt x="623649" y="45291"/>
                    </a:cubicBezTo>
                    <a:lnTo>
                      <a:pt x="578282" y="308591"/>
                    </a:lnTo>
                    <a:cubicBezTo>
                      <a:pt x="578282" y="327327"/>
                      <a:pt x="563023" y="342605"/>
                      <a:pt x="544297" y="342605"/>
                    </a:cubicBezTo>
                    <a:lnTo>
                      <a:pt x="90983" y="342605"/>
                    </a:lnTo>
                    <a:cubicBezTo>
                      <a:pt x="72228" y="342605"/>
                      <a:pt x="56979" y="327327"/>
                      <a:pt x="56940" y="308210"/>
                    </a:cubicBezTo>
                    <a:lnTo>
                      <a:pt x="11649" y="45682"/>
                    </a:lnTo>
                    <a:cubicBezTo>
                      <a:pt x="11649" y="26937"/>
                      <a:pt x="26899" y="11687"/>
                      <a:pt x="45653" y="11687"/>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97" name="Freeform: Shape 196">
                <a:extLst>
                  <a:ext uri="{FF2B5EF4-FFF2-40B4-BE49-F238E27FC236}">
                    <a16:creationId xmlns:a16="http://schemas.microsoft.com/office/drawing/2014/main" id="{9967341E-8CBA-4616-B6F0-F8C88FD29178}"/>
                  </a:ext>
                </a:extLst>
              </p:cNvPr>
              <p:cNvSpPr/>
              <p:nvPr/>
            </p:nvSpPr>
            <p:spPr>
              <a:xfrm>
                <a:off x="1176352" y="2602720"/>
                <a:ext cx="24265" cy="24265"/>
              </a:xfrm>
              <a:custGeom>
                <a:avLst/>
                <a:gdLst/>
                <a:ahLst/>
                <a:cxnLst/>
                <a:rect l="0" t="0" r="0" b="0"/>
                <a:pathLst>
                  <a:path w="38100" h="38100">
                    <a:moveTo>
                      <a:pt x="23441" y="39738"/>
                    </a:moveTo>
                    <a:cubicBezTo>
                      <a:pt x="32442" y="39738"/>
                      <a:pt x="39738" y="32461"/>
                      <a:pt x="39738" y="23431"/>
                    </a:cubicBezTo>
                    <a:cubicBezTo>
                      <a:pt x="39738" y="14459"/>
                      <a:pt x="32433" y="7144"/>
                      <a:pt x="23441" y="7144"/>
                    </a:cubicBezTo>
                    <a:cubicBezTo>
                      <a:pt x="14449" y="7144"/>
                      <a:pt x="7144" y="14459"/>
                      <a:pt x="7144" y="23431"/>
                    </a:cubicBezTo>
                    <a:cubicBezTo>
                      <a:pt x="7144" y="32471"/>
                      <a:pt x="14449" y="39738"/>
                      <a:pt x="23441" y="39738"/>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pic>
            <p:nvPicPr>
              <p:cNvPr id="198" name="Graphic 197">
                <a:extLst>
                  <a:ext uri="{FF2B5EF4-FFF2-40B4-BE49-F238E27FC236}">
                    <a16:creationId xmlns:a16="http://schemas.microsoft.com/office/drawing/2014/main" id="{9056B4D5-B8D9-4D45-9597-AD0FE57CA76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28819" y="2218276"/>
                <a:ext cx="157080" cy="157080"/>
              </a:xfrm>
              <a:prstGeom prst="rect">
                <a:avLst/>
              </a:prstGeom>
            </p:spPr>
          </p:pic>
        </p:grpSp>
      </p:grpSp>
    </p:spTree>
    <p:extLst>
      <p:ext uri="{BB962C8B-B14F-4D97-AF65-F5344CB8AC3E}">
        <p14:creationId xmlns:p14="http://schemas.microsoft.com/office/powerpoint/2010/main" val="7686086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8A8A2DF2-6596-4CE7-9B7D-093447DBF3D1}"/>
              </a:ext>
            </a:extLst>
          </p:cNvPr>
          <p:cNvPicPr>
            <a:picLocks noRot="1" noChangeAspect="1"/>
          </p:cNvPicPr>
          <p:nvPr>
            <a:videoFile r:link="rId1"/>
          </p:nvPr>
        </p:nvPicPr>
        <p:blipFill>
          <a:blip r:embed="rId4"/>
          <a:stretch>
            <a:fillRect/>
          </a:stretch>
        </p:blipFill>
        <p:spPr>
          <a:xfrm>
            <a:off x="846667" y="0"/>
            <a:ext cx="10498665" cy="5905500"/>
          </a:xfrm>
          <a:prstGeom prst="rect">
            <a:avLst/>
          </a:prstGeom>
        </p:spPr>
      </p:pic>
    </p:spTree>
    <p:extLst>
      <p:ext uri="{BB962C8B-B14F-4D97-AF65-F5344CB8AC3E}">
        <p14:creationId xmlns:p14="http://schemas.microsoft.com/office/powerpoint/2010/main" val="39285486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E0490-AC21-4B32-8C40-7D92B7534AB1}"/>
              </a:ext>
            </a:extLst>
          </p:cNvPr>
          <p:cNvSpPr>
            <a:spLocks noGrp="1"/>
          </p:cNvSpPr>
          <p:nvPr>
            <p:ph type="title"/>
          </p:nvPr>
        </p:nvSpPr>
        <p:spPr>
          <a:xfrm>
            <a:off x="584200" y="512513"/>
            <a:ext cx="11018520" cy="553998"/>
          </a:xfrm>
        </p:spPr>
        <p:txBody>
          <a:bodyPr>
            <a:noAutofit/>
          </a:bodyPr>
          <a:lstStyle/>
          <a:p>
            <a:r>
              <a:rPr lang="en-US" sz="2800"/>
              <a:t>Dynamics 365 Fraud Protection features</a:t>
            </a:r>
          </a:p>
        </p:txBody>
      </p:sp>
      <p:sp>
        <p:nvSpPr>
          <p:cNvPr id="5" name="Text Placeholder 4">
            <a:extLst>
              <a:ext uri="{FF2B5EF4-FFF2-40B4-BE49-F238E27FC236}">
                <a16:creationId xmlns:a16="http://schemas.microsoft.com/office/drawing/2014/main" id="{87F6CFC4-9B8A-8C41-A662-22AB1D954BC1}"/>
              </a:ext>
            </a:extLst>
          </p:cNvPr>
          <p:cNvSpPr>
            <a:spLocks noGrp="1"/>
          </p:cNvSpPr>
          <p:nvPr>
            <p:ph type="body" sz="quarter" idx="10"/>
          </p:nvPr>
        </p:nvSpPr>
        <p:spPr/>
        <p:txBody>
          <a:bodyPr/>
          <a:lstStyle/>
          <a:p>
            <a:endParaRPr lang="en-US"/>
          </a:p>
        </p:txBody>
      </p:sp>
      <p:sp>
        <p:nvSpPr>
          <p:cNvPr id="95" name="Rectangle 94">
            <a:extLst>
              <a:ext uri="{FF2B5EF4-FFF2-40B4-BE49-F238E27FC236}">
                <a16:creationId xmlns:a16="http://schemas.microsoft.com/office/drawing/2014/main" id="{69AA0CB1-FDBD-45D7-8A6E-E3626908AD37}"/>
              </a:ext>
            </a:extLst>
          </p:cNvPr>
          <p:cNvSpPr/>
          <p:nvPr/>
        </p:nvSpPr>
        <p:spPr bwMode="auto">
          <a:xfrm>
            <a:off x="0" y="1021852"/>
            <a:ext cx="12192000" cy="2307900"/>
          </a:xfrm>
          <a:prstGeom prst="rect">
            <a:avLst/>
          </a:prstGeom>
          <a:solidFill>
            <a:schemeClr val="bg1">
              <a:lumMod val="95000"/>
            </a:schemeClr>
          </a:solidFill>
          <a:ln w="9525" cap="flat" cmpd="sng" algn="ctr">
            <a:noFill/>
            <a:prstDash val="dash"/>
            <a:miter lim="800000"/>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600"/>
              </a:spcAft>
              <a:buClrTx/>
              <a:buSzPct val="90000"/>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Standard features across all three capabilities</a:t>
            </a:r>
          </a:p>
        </p:txBody>
      </p:sp>
      <p:grpSp>
        <p:nvGrpSpPr>
          <p:cNvPr id="96" name="Group 95">
            <a:extLst>
              <a:ext uri="{FF2B5EF4-FFF2-40B4-BE49-F238E27FC236}">
                <a16:creationId xmlns:a16="http://schemas.microsoft.com/office/drawing/2014/main" id="{FE443FA0-9BCE-4942-8D98-899677B4CE32}"/>
              </a:ext>
            </a:extLst>
          </p:cNvPr>
          <p:cNvGrpSpPr/>
          <p:nvPr/>
        </p:nvGrpSpPr>
        <p:grpSpPr>
          <a:xfrm>
            <a:off x="1216895" y="1506418"/>
            <a:ext cx="1071522" cy="1071522"/>
            <a:chOff x="2194099" y="1732638"/>
            <a:chExt cx="1071522" cy="1071522"/>
          </a:xfrm>
        </p:grpSpPr>
        <p:sp>
          <p:nvSpPr>
            <p:cNvPr id="97" name="Oval 96">
              <a:extLst>
                <a:ext uri="{FF2B5EF4-FFF2-40B4-BE49-F238E27FC236}">
                  <a16:creationId xmlns:a16="http://schemas.microsoft.com/office/drawing/2014/main" id="{AFB96343-B471-43F5-B808-7DE8D5B62D11}"/>
                </a:ext>
              </a:extLst>
            </p:cNvPr>
            <p:cNvSpPr/>
            <p:nvPr/>
          </p:nvSpPr>
          <p:spPr bwMode="auto">
            <a:xfrm>
              <a:off x="2194099" y="1732638"/>
              <a:ext cx="1071522" cy="1071522"/>
            </a:xfrm>
            <a:prstGeom prst="ellipse">
              <a:avLst/>
            </a:prstGeom>
            <a:solidFill>
              <a:schemeClr val="bg1">
                <a:lumMod val="95000"/>
              </a:schemeClr>
            </a:solid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98" name="Oval 97">
              <a:extLst>
                <a:ext uri="{FF2B5EF4-FFF2-40B4-BE49-F238E27FC236}">
                  <a16:creationId xmlns:a16="http://schemas.microsoft.com/office/drawing/2014/main" id="{F7894C68-206C-44F6-9472-06F1B4AD634B}"/>
                </a:ext>
              </a:extLst>
            </p:cNvPr>
            <p:cNvSpPr/>
            <p:nvPr/>
          </p:nvSpPr>
          <p:spPr bwMode="auto">
            <a:xfrm>
              <a:off x="2253436" y="1791975"/>
              <a:ext cx="952850" cy="952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F866F0F9-ECAE-400F-8878-A9982A0FF23B}"/>
              </a:ext>
            </a:extLst>
          </p:cNvPr>
          <p:cNvGrpSpPr/>
          <p:nvPr/>
        </p:nvGrpSpPr>
        <p:grpSpPr>
          <a:xfrm>
            <a:off x="4113474" y="1506418"/>
            <a:ext cx="1071522" cy="1071522"/>
            <a:chOff x="2194099" y="1732638"/>
            <a:chExt cx="1071522" cy="1071522"/>
          </a:xfrm>
        </p:grpSpPr>
        <p:sp>
          <p:nvSpPr>
            <p:cNvPr id="125" name="Oval 124">
              <a:extLst>
                <a:ext uri="{FF2B5EF4-FFF2-40B4-BE49-F238E27FC236}">
                  <a16:creationId xmlns:a16="http://schemas.microsoft.com/office/drawing/2014/main" id="{045AF181-A0D9-4D8C-BADF-AD3846CB6D79}"/>
                </a:ext>
              </a:extLst>
            </p:cNvPr>
            <p:cNvSpPr/>
            <p:nvPr/>
          </p:nvSpPr>
          <p:spPr bwMode="auto">
            <a:xfrm>
              <a:off x="2194099" y="1732638"/>
              <a:ext cx="1071522" cy="1071522"/>
            </a:xfrm>
            <a:prstGeom prst="ellipse">
              <a:avLst/>
            </a:prstGeom>
            <a:solidFill>
              <a:schemeClr val="bg1">
                <a:lumMod val="95000"/>
              </a:schemeClr>
            </a:solid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126" name="Oval 125">
              <a:extLst>
                <a:ext uri="{FF2B5EF4-FFF2-40B4-BE49-F238E27FC236}">
                  <a16:creationId xmlns:a16="http://schemas.microsoft.com/office/drawing/2014/main" id="{976F9244-20FB-45F1-8E48-45721E4BD0CB}"/>
                </a:ext>
              </a:extLst>
            </p:cNvPr>
            <p:cNvSpPr/>
            <p:nvPr/>
          </p:nvSpPr>
          <p:spPr bwMode="auto">
            <a:xfrm>
              <a:off x="2253436" y="1791975"/>
              <a:ext cx="952850" cy="952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9" name="Group 128">
            <a:extLst>
              <a:ext uri="{FF2B5EF4-FFF2-40B4-BE49-F238E27FC236}">
                <a16:creationId xmlns:a16="http://schemas.microsoft.com/office/drawing/2014/main" id="{7D433585-A3E7-4594-9332-259B85E8B2E6}"/>
              </a:ext>
            </a:extLst>
          </p:cNvPr>
          <p:cNvGrpSpPr/>
          <p:nvPr/>
        </p:nvGrpSpPr>
        <p:grpSpPr>
          <a:xfrm>
            <a:off x="7010053" y="1506418"/>
            <a:ext cx="1071522" cy="1071522"/>
            <a:chOff x="2194099" y="1732638"/>
            <a:chExt cx="1071522" cy="1071522"/>
          </a:xfrm>
        </p:grpSpPr>
        <p:sp>
          <p:nvSpPr>
            <p:cNvPr id="130" name="Oval 129">
              <a:extLst>
                <a:ext uri="{FF2B5EF4-FFF2-40B4-BE49-F238E27FC236}">
                  <a16:creationId xmlns:a16="http://schemas.microsoft.com/office/drawing/2014/main" id="{289628C0-2641-4767-AF49-FE9AEEFE796A}"/>
                </a:ext>
              </a:extLst>
            </p:cNvPr>
            <p:cNvSpPr/>
            <p:nvPr/>
          </p:nvSpPr>
          <p:spPr bwMode="auto">
            <a:xfrm>
              <a:off x="2194099" y="1732638"/>
              <a:ext cx="1071522" cy="1071522"/>
            </a:xfrm>
            <a:prstGeom prst="ellipse">
              <a:avLst/>
            </a:prstGeom>
            <a:solidFill>
              <a:schemeClr val="bg1">
                <a:lumMod val="95000"/>
              </a:schemeClr>
            </a:solid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131" name="Oval 130">
              <a:extLst>
                <a:ext uri="{FF2B5EF4-FFF2-40B4-BE49-F238E27FC236}">
                  <a16:creationId xmlns:a16="http://schemas.microsoft.com/office/drawing/2014/main" id="{11A23C6B-5728-41CA-9501-80E69E248AA3}"/>
                </a:ext>
              </a:extLst>
            </p:cNvPr>
            <p:cNvSpPr/>
            <p:nvPr/>
          </p:nvSpPr>
          <p:spPr bwMode="auto">
            <a:xfrm>
              <a:off x="2253436" y="1791975"/>
              <a:ext cx="952850" cy="952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2" name="Group 131">
            <a:extLst>
              <a:ext uri="{FF2B5EF4-FFF2-40B4-BE49-F238E27FC236}">
                <a16:creationId xmlns:a16="http://schemas.microsoft.com/office/drawing/2014/main" id="{0EF37759-1EA1-4967-87C2-A3D61CEA800D}"/>
              </a:ext>
            </a:extLst>
          </p:cNvPr>
          <p:cNvGrpSpPr/>
          <p:nvPr/>
        </p:nvGrpSpPr>
        <p:grpSpPr>
          <a:xfrm>
            <a:off x="9906631" y="1506418"/>
            <a:ext cx="1071522" cy="1071522"/>
            <a:chOff x="2194099" y="1732638"/>
            <a:chExt cx="1071522" cy="1071522"/>
          </a:xfrm>
        </p:grpSpPr>
        <p:sp>
          <p:nvSpPr>
            <p:cNvPr id="133" name="Oval 132">
              <a:extLst>
                <a:ext uri="{FF2B5EF4-FFF2-40B4-BE49-F238E27FC236}">
                  <a16:creationId xmlns:a16="http://schemas.microsoft.com/office/drawing/2014/main" id="{370897A5-00AE-4E1B-8EE6-3CDB9CD9A2AA}"/>
                </a:ext>
              </a:extLst>
            </p:cNvPr>
            <p:cNvSpPr/>
            <p:nvPr/>
          </p:nvSpPr>
          <p:spPr bwMode="auto">
            <a:xfrm>
              <a:off x="2194099" y="1732638"/>
              <a:ext cx="1071522" cy="1071522"/>
            </a:xfrm>
            <a:prstGeom prst="ellipse">
              <a:avLst/>
            </a:prstGeom>
            <a:solidFill>
              <a:schemeClr val="bg1">
                <a:lumMod val="95000"/>
              </a:schemeClr>
            </a:solid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134" name="Oval 133">
              <a:extLst>
                <a:ext uri="{FF2B5EF4-FFF2-40B4-BE49-F238E27FC236}">
                  <a16:creationId xmlns:a16="http://schemas.microsoft.com/office/drawing/2014/main" id="{D8F1490C-AD9B-43A4-9BB0-28EDEF935026}"/>
                </a:ext>
              </a:extLst>
            </p:cNvPr>
            <p:cNvSpPr/>
            <p:nvPr/>
          </p:nvSpPr>
          <p:spPr bwMode="auto">
            <a:xfrm>
              <a:off x="2253436" y="1791975"/>
              <a:ext cx="952850" cy="952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5" name="TextBox 134">
            <a:extLst>
              <a:ext uri="{FF2B5EF4-FFF2-40B4-BE49-F238E27FC236}">
                <a16:creationId xmlns:a16="http://schemas.microsoft.com/office/drawing/2014/main" id="{69C0B654-EF14-4CAC-9116-117AC1DAD153}"/>
              </a:ext>
            </a:extLst>
          </p:cNvPr>
          <p:cNvSpPr txBox="1"/>
          <p:nvPr/>
        </p:nvSpPr>
        <p:spPr>
          <a:xfrm>
            <a:off x="588264" y="2673190"/>
            <a:ext cx="2328784"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Adaptive AI</a:t>
            </a:r>
            <a:br>
              <a:rPr kumimoji="0" lang="en-US" sz="1600" b="0" i="0" u="none" strike="noStrike" kern="1200" cap="none" spc="0" normalizeH="0" baseline="0" noProof="0">
                <a:ln>
                  <a:noFill/>
                </a:ln>
                <a:solidFill>
                  <a:srgbClr val="000000"/>
                </a:solidFill>
                <a:effectLst/>
                <a:uLnTx/>
                <a:uFillTx/>
                <a:latin typeface="Segoe UI Semibold"/>
                <a:ea typeface="+mn-ea"/>
                <a:cs typeface="+mn-cs"/>
              </a:rPr>
            </a:br>
            <a:r>
              <a:rPr kumimoji="0" lang="en-US" sz="1600" b="0" i="0" u="none" strike="noStrike" kern="1200" cap="none" spc="0" normalizeH="0" baseline="0" noProof="0">
                <a:ln>
                  <a:noFill/>
                </a:ln>
                <a:solidFill>
                  <a:srgbClr val="000000"/>
                </a:solidFill>
                <a:effectLst/>
                <a:uLnTx/>
                <a:uFillTx/>
                <a:latin typeface="Segoe UI Semibold"/>
                <a:ea typeface="+mn-ea"/>
                <a:cs typeface="+mn-cs"/>
              </a:rPr>
              <a:t>technology</a:t>
            </a:r>
          </a:p>
        </p:txBody>
      </p:sp>
      <p:sp>
        <p:nvSpPr>
          <p:cNvPr id="136" name="TextBox 135">
            <a:extLst>
              <a:ext uri="{FF2B5EF4-FFF2-40B4-BE49-F238E27FC236}">
                <a16:creationId xmlns:a16="http://schemas.microsoft.com/office/drawing/2014/main" id="{4890B47F-32E2-485D-B029-C72F5F8BDF26}"/>
              </a:ext>
            </a:extLst>
          </p:cNvPr>
          <p:cNvSpPr txBox="1"/>
          <p:nvPr/>
        </p:nvSpPr>
        <p:spPr>
          <a:xfrm>
            <a:off x="6381422" y="2673190"/>
            <a:ext cx="2328784"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Devi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fingerprinting</a:t>
            </a:r>
          </a:p>
        </p:txBody>
      </p:sp>
      <p:sp>
        <p:nvSpPr>
          <p:cNvPr id="137" name="TextBox 136">
            <a:extLst>
              <a:ext uri="{FF2B5EF4-FFF2-40B4-BE49-F238E27FC236}">
                <a16:creationId xmlns:a16="http://schemas.microsoft.com/office/drawing/2014/main" id="{891381CC-CA83-41E0-91F0-71D2F9A11EE6}"/>
              </a:ext>
            </a:extLst>
          </p:cNvPr>
          <p:cNvSpPr txBox="1"/>
          <p:nvPr/>
        </p:nvSpPr>
        <p:spPr>
          <a:xfrm>
            <a:off x="3484843" y="2673190"/>
            <a:ext cx="2328784"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Fraud protec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network</a:t>
            </a:r>
          </a:p>
        </p:txBody>
      </p:sp>
      <p:sp>
        <p:nvSpPr>
          <p:cNvPr id="138" name="TextBox 137">
            <a:extLst>
              <a:ext uri="{FF2B5EF4-FFF2-40B4-BE49-F238E27FC236}">
                <a16:creationId xmlns:a16="http://schemas.microsoft.com/office/drawing/2014/main" id="{94936A05-E127-4AC7-B4ED-5A832F0E92BE}"/>
              </a:ext>
            </a:extLst>
          </p:cNvPr>
          <p:cNvSpPr txBox="1"/>
          <p:nvPr/>
        </p:nvSpPr>
        <p:spPr>
          <a:xfrm>
            <a:off x="9278000" y="2673190"/>
            <a:ext cx="2328784"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Versatile</a:t>
            </a:r>
            <a:br>
              <a:rPr kumimoji="0" lang="en-US" sz="1600" b="0" i="0" u="none" strike="noStrike" kern="1200" cap="none" spc="0" normalizeH="0" baseline="0" noProof="0">
                <a:ln>
                  <a:noFill/>
                </a:ln>
                <a:solidFill>
                  <a:srgbClr val="000000"/>
                </a:solidFill>
                <a:effectLst/>
                <a:uLnTx/>
                <a:uFillTx/>
                <a:latin typeface="Segoe UI Semibold"/>
                <a:ea typeface="+mn-ea"/>
                <a:cs typeface="+mn-cs"/>
              </a:rPr>
            </a:br>
            <a:r>
              <a:rPr kumimoji="0" lang="en-US" sz="1600" b="0" i="0" u="none" strike="noStrike" kern="1200" cap="none" spc="0" normalizeH="0" baseline="0" noProof="0">
                <a:ln>
                  <a:noFill/>
                </a:ln>
                <a:solidFill>
                  <a:srgbClr val="000000"/>
                </a:solidFill>
                <a:effectLst/>
                <a:uLnTx/>
                <a:uFillTx/>
                <a:latin typeface="Segoe UI Semibold"/>
                <a:ea typeface="+mn-ea"/>
                <a:cs typeface="+mn-cs"/>
              </a:rPr>
              <a:t>decision engine</a:t>
            </a:r>
          </a:p>
        </p:txBody>
      </p:sp>
      <p:cxnSp>
        <p:nvCxnSpPr>
          <p:cNvPr id="139" name="Straight Connector 165">
            <a:extLst>
              <a:ext uri="{FF2B5EF4-FFF2-40B4-BE49-F238E27FC236}">
                <a16:creationId xmlns:a16="http://schemas.microsoft.com/office/drawing/2014/main" id="{0466582E-470B-4398-A8D7-8EF9EEB8E8E7}"/>
              </a:ext>
            </a:extLst>
          </p:cNvPr>
          <p:cNvCxnSpPr>
            <a:cxnSpLocks/>
            <a:stCxn id="101" idx="0"/>
            <a:endCxn id="99" idx="0"/>
          </p:cNvCxnSpPr>
          <p:nvPr/>
        </p:nvCxnSpPr>
        <p:spPr>
          <a:xfrm rot="16200000" flipV="1">
            <a:off x="6111252" y="7800"/>
            <a:ext cx="12700" cy="7465532"/>
          </a:xfrm>
          <a:prstGeom prst="bentConnector3">
            <a:avLst>
              <a:gd name="adj1" fmla="val 1800000"/>
            </a:avLst>
          </a:prstGeom>
          <a:noFill/>
          <a:ln w="6350" cap="flat" cmpd="sng" algn="ctr">
            <a:solidFill>
              <a:schemeClr val="accent1"/>
            </a:solidFill>
            <a:prstDash val="solid"/>
            <a:miter lim="800000"/>
            <a:headEnd type="triangle" w="lg" len="med"/>
            <a:tailEnd type="triangle" w="lg" len="med"/>
          </a:ln>
          <a:effectLst/>
        </p:spPr>
      </p:cxnSp>
      <p:cxnSp>
        <p:nvCxnSpPr>
          <p:cNvPr id="140" name="Straight Connector 139">
            <a:extLst>
              <a:ext uri="{FF2B5EF4-FFF2-40B4-BE49-F238E27FC236}">
                <a16:creationId xmlns:a16="http://schemas.microsoft.com/office/drawing/2014/main" id="{D58A4876-E3F6-42E9-AB98-A9405923C0FF}"/>
              </a:ext>
            </a:extLst>
          </p:cNvPr>
          <p:cNvCxnSpPr>
            <a:cxnSpLocks/>
          </p:cNvCxnSpPr>
          <p:nvPr/>
        </p:nvCxnSpPr>
        <p:spPr>
          <a:xfrm>
            <a:off x="6096000" y="3329752"/>
            <a:ext cx="0" cy="411393"/>
          </a:xfrm>
          <a:prstGeom prst="line">
            <a:avLst/>
          </a:prstGeom>
          <a:noFill/>
          <a:ln w="6350" cap="flat" cmpd="sng" algn="ctr">
            <a:solidFill>
              <a:schemeClr val="accent1"/>
            </a:solidFill>
            <a:prstDash val="solid"/>
            <a:miter lim="800000"/>
            <a:headEnd type="none" w="lg" len="med"/>
            <a:tailEnd type="triangle" w="lg" len="med"/>
          </a:ln>
          <a:effectLst/>
        </p:spPr>
      </p:cxnSp>
      <p:cxnSp>
        <p:nvCxnSpPr>
          <p:cNvPr id="142" name="Straight Connector 141">
            <a:extLst>
              <a:ext uri="{FF2B5EF4-FFF2-40B4-BE49-F238E27FC236}">
                <a16:creationId xmlns:a16="http://schemas.microsoft.com/office/drawing/2014/main" id="{D03F8754-052B-47CF-BEF8-26D5CB147171}"/>
              </a:ext>
            </a:extLst>
          </p:cNvPr>
          <p:cNvCxnSpPr>
            <a:cxnSpLocks/>
          </p:cNvCxnSpPr>
          <p:nvPr/>
        </p:nvCxnSpPr>
        <p:spPr>
          <a:xfrm>
            <a:off x="5641884" y="3329752"/>
            <a:ext cx="908232" cy="0"/>
          </a:xfrm>
          <a:prstGeom prst="line">
            <a:avLst/>
          </a:prstGeom>
          <a:noFill/>
          <a:ln w="31750" cap="rnd" cmpd="sng" algn="ctr">
            <a:solidFill>
              <a:schemeClr val="accent1"/>
            </a:solidFill>
            <a:prstDash val="solid"/>
            <a:round/>
          </a:ln>
          <a:effectLst/>
        </p:spPr>
      </p:cxnSp>
      <p:sp>
        <p:nvSpPr>
          <p:cNvPr id="151" name="document_6" title="Icon of a document with a padlock in the lower right corner">
            <a:extLst>
              <a:ext uri="{FF2B5EF4-FFF2-40B4-BE49-F238E27FC236}">
                <a16:creationId xmlns:a16="http://schemas.microsoft.com/office/drawing/2014/main" id="{8B8C5BEC-5364-4536-AA8E-F5529480BB1F}"/>
              </a:ext>
            </a:extLst>
          </p:cNvPr>
          <p:cNvSpPr>
            <a:spLocks noChangeAspect="1" noEditPoints="1"/>
          </p:cNvSpPr>
          <p:nvPr/>
        </p:nvSpPr>
        <p:spPr bwMode="auto">
          <a:xfrm>
            <a:off x="4436348" y="1775302"/>
            <a:ext cx="425774" cy="532218"/>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ingerprint_E928" title="Icon of a fingerprint">
            <a:extLst>
              <a:ext uri="{FF2B5EF4-FFF2-40B4-BE49-F238E27FC236}">
                <a16:creationId xmlns:a16="http://schemas.microsoft.com/office/drawing/2014/main" id="{CD1A675C-27F6-4514-8905-10AA87FBF5AE}"/>
              </a:ext>
            </a:extLst>
          </p:cNvPr>
          <p:cNvSpPr>
            <a:spLocks noChangeAspect="1" noEditPoints="1"/>
          </p:cNvSpPr>
          <p:nvPr/>
        </p:nvSpPr>
        <p:spPr bwMode="auto">
          <a:xfrm>
            <a:off x="7352892" y="1802232"/>
            <a:ext cx="385844" cy="51889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Rectangle: Rounded Corners 98">
            <a:extLst>
              <a:ext uri="{FF2B5EF4-FFF2-40B4-BE49-F238E27FC236}">
                <a16:creationId xmlns:a16="http://schemas.microsoft.com/office/drawing/2014/main" id="{48934F33-DE13-4F89-9502-1A74D62ACA77}"/>
              </a:ext>
            </a:extLst>
          </p:cNvPr>
          <p:cNvSpPr/>
          <p:nvPr/>
        </p:nvSpPr>
        <p:spPr bwMode="auto">
          <a:xfrm>
            <a:off x="628421" y="3740566"/>
            <a:ext cx="3500130" cy="1059592"/>
          </a:xfrm>
          <a:prstGeom prst="roundRect">
            <a:avLst>
              <a:gd name="adj" fmla="val 4444"/>
            </a:avLst>
          </a:prstGeom>
          <a:noFill/>
          <a:ln w="9525" cap="flat" cmpd="sng" algn="ctr">
            <a:solidFill>
              <a:schemeClr val="tx2"/>
            </a:solidFill>
            <a:prstDash val="dash"/>
            <a:miter lim="800000"/>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600"/>
              </a:spcAft>
              <a:buClrTx/>
              <a:buSzPct val="90000"/>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CCOUNT PROTECTION </a:t>
            </a:r>
            <a:r>
              <a:rPr kumimoji="0" lang="en-US" sz="1600" b="0" i="0" u="none" strike="noStrike" kern="1200" cap="none" spc="0" normalizeH="0" baseline="0" noProof="0">
                <a:ln>
                  <a:noFill/>
                </a:ln>
                <a:solidFill>
                  <a:srgbClr val="0078D4"/>
                </a:solidFill>
                <a:effectLst/>
                <a:uLnTx/>
                <a:uFillTx/>
                <a:latin typeface="Segoe UI"/>
                <a:ea typeface="+mn-ea"/>
                <a:cs typeface="+mn-cs"/>
              </a:rPr>
              <a:t>features</a:t>
            </a:r>
          </a:p>
        </p:txBody>
      </p:sp>
      <p:grpSp>
        <p:nvGrpSpPr>
          <p:cNvPr id="102" name="Group 101">
            <a:extLst>
              <a:ext uri="{FF2B5EF4-FFF2-40B4-BE49-F238E27FC236}">
                <a16:creationId xmlns:a16="http://schemas.microsoft.com/office/drawing/2014/main" id="{5386C2A3-350A-4308-81CC-A8BC6DCE9220}"/>
              </a:ext>
            </a:extLst>
          </p:cNvPr>
          <p:cNvGrpSpPr/>
          <p:nvPr/>
        </p:nvGrpSpPr>
        <p:grpSpPr>
          <a:xfrm>
            <a:off x="965316" y="4223314"/>
            <a:ext cx="1071522" cy="1071522"/>
            <a:chOff x="1132480" y="4631050"/>
            <a:chExt cx="526344" cy="526344"/>
          </a:xfrm>
        </p:grpSpPr>
        <p:sp>
          <p:nvSpPr>
            <p:cNvPr id="103" name="Oval 102">
              <a:extLst>
                <a:ext uri="{FF2B5EF4-FFF2-40B4-BE49-F238E27FC236}">
                  <a16:creationId xmlns:a16="http://schemas.microsoft.com/office/drawing/2014/main" id="{D882CCD0-894C-4D0B-BB97-268C2BF591DF}"/>
                </a:ext>
              </a:extLst>
            </p:cNvPr>
            <p:cNvSpPr/>
            <p:nvPr/>
          </p:nvSpPr>
          <p:spPr bwMode="auto">
            <a:xfrm>
              <a:off x="1161627" y="4660198"/>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8F5EA553-A860-42D5-9C01-98AD33415890}"/>
                </a:ext>
              </a:extLst>
            </p:cNvPr>
            <p:cNvSpPr/>
            <p:nvPr/>
          </p:nvSpPr>
          <p:spPr bwMode="auto">
            <a:xfrm>
              <a:off x="1132480" y="4631050"/>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grpSp>
        <p:nvGrpSpPr>
          <p:cNvPr id="105" name="Group 104">
            <a:extLst>
              <a:ext uri="{FF2B5EF4-FFF2-40B4-BE49-F238E27FC236}">
                <a16:creationId xmlns:a16="http://schemas.microsoft.com/office/drawing/2014/main" id="{E8F57712-04A1-4F9C-A173-F12CAA1E2F1C}"/>
              </a:ext>
            </a:extLst>
          </p:cNvPr>
          <p:cNvGrpSpPr/>
          <p:nvPr/>
        </p:nvGrpSpPr>
        <p:grpSpPr>
          <a:xfrm>
            <a:off x="2720134" y="4223314"/>
            <a:ext cx="1071522" cy="1071522"/>
            <a:chOff x="1132480" y="4631050"/>
            <a:chExt cx="526344" cy="526344"/>
          </a:xfrm>
        </p:grpSpPr>
        <p:sp>
          <p:nvSpPr>
            <p:cNvPr id="106" name="Oval 105">
              <a:extLst>
                <a:ext uri="{FF2B5EF4-FFF2-40B4-BE49-F238E27FC236}">
                  <a16:creationId xmlns:a16="http://schemas.microsoft.com/office/drawing/2014/main" id="{F75ED538-991B-42D3-8391-494801B86B83}"/>
                </a:ext>
              </a:extLst>
            </p:cNvPr>
            <p:cNvSpPr/>
            <p:nvPr/>
          </p:nvSpPr>
          <p:spPr bwMode="auto">
            <a:xfrm>
              <a:off x="1161627" y="4660197"/>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6E07E28E-0A4B-4FA6-B662-C826A1049E2B}"/>
                </a:ext>
              </a:extLst>
            </p:cNvPr>
            <p:cNvSpPr/>
            <p:nvPr/>
          </p:nvSpPr>
          <p:spPr bwMode="auto">
            <a:xfrm>
              <a:off x="1132480" y="4631050"/>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sp>
        <p:nvSpPr>
          <p:cNvPr id="143" name="TextBox 142">
            <a:extLst>
              <a:ext uri="{FF2B5EF4-FFF2-40B4-BE49-F238E27FC236}">
                <a16:creationId xmlns:a16="http://schemas.microsoft.com/office/drawing/2014/main" id="{D644ADF7-FFF8-49CC-9596-6D5795E318BD}"/>
              </a:ext>
            </a:extLst>
          </p:cNvPr>
          <p:cNvSpPr txBox="1"/>
          <p:nvPr/>
        </p:nvSpPr>
        <p:spPr>
          <a:xfrm>
            <a:off x="628421" y="5328700"/>
            <a:ext cx="1745312"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Bot </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protection</a:t>
            </a:r>
          </a:p>
        </p:txBody>
      </p:sp>
      <p:sp>
        <p:nvSpPr>
          <p:cNvPr id="145" name="TextBox 144">
            <a:extLst>
              <a:ext uri="{FF2B5EF4-FFF2-40B4-BE49-F238E27FC236}">
                <a16:creationId xmlns:a16="http://schemas.microsoft.com/office/drawing/2014/main" id="{0893A780-548A-4D02-B2F3-7C561FC69504}"/>
              </a:ext>
            </a:extLst>
          </p:cNvPr>
          <p:cNvSpPr txBox="1"/>
          <p:nvPr/>
        </p:nvSpPr>
        <p:spPr>
          <a:xfrm>
            <a:off x="2383239" y="5328700"/>
            <a:ext cx="1745312"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Custom </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events</a:t>
            </a:r>
          </a:p>
        </p:txBody>
      </p:sp>
      <p:grpSp>
        <p:nvGrpSpPr>
          <p:cNvPr id="162" name="Group 161">
            <a:extLst>
              <a:ext uri="{FF2B5EF4-FFF2-40B4-BE49-F238E27FC236}">
                <a16:creationId xmlns:a16="http://schemas.microsoft.com/office/drawing/2014/main" id="{A7B56B38-7795-4B6E-8E20-17CAA0B99446}"/>
              </a:ext>
            </a:extLst>
          </p:cNvPr>
          <p:cNvGrpSpPr/>
          <p:nvPr/>
        </p:nvGrpSpPr>
        <p:grpSpPr>
          <a:xfrm>
            <a:off x="1540106" y="1736937"/>
            <a:ext cx="425111" cy="610712"/>
            <a:chOff x="8837855" y="3096265"/>
            <a:chExt cx="432792" cy="621746"/>
          </a:xfrm>
        </p:grpSpPr>
        <p:grpSp>
          <p:nvGrpSpPr>
            <p:cNvPr id="163" name="Graphic 2">
              <a:extLst>
                <a:ext uri="{FF2B5EF4-FFF2-40B4-BE49-F238E27FC236}">
                  <a16:creationId xmlns:a16="http://schemas.microsoft.com/office/drawing/2014/main" id="{A15DADE5-B6EB-4E0C-929C-A5E8E70D45A4}"/>
                </a:ext>
              </a:extLst>
            </p:cNvPr>
            <p:cNvGrpSpPr/>
            <p:nvPr/>
          </p:nvGrpSpPr>
          <p:grpSpPr>
            <a:xfrm>
              <a:off x="8837855" y="3096265"/>
              <a:ext cx="372508" cy="403492"/>
              <a:chOff x="2404362" y="6818397"/>
              <a:chExt cx="113585" cy="123033"/>
            </a:xfrm>
            <a:noFill/>
          </p:grpSpPr>
          <p:sp>
            <p:nvSpPr>
              <p:cNvPr id="165" name="Freeform: Shape 164">
                <a:extLst>
                  <a:ext uri="{FF2B5EF4-FFF2-40B4-BE49-F238E27FC236}">
                    <a16:creationId xmlns:a16="http://schemas.microsoft.com/office/drawing/2014/main" id="{86C2A67A-D969-41AC-9DE2-A1C0162D3C5C}"/>
                  </a:ext>
                </a:extLst>
              </p:cNvPr>
              <p:cNvSpPr/>
              <p:nvPr/>
            </p:nvSpPr>
            <p:spPr>
              <a:xfrm>
                <a:off x="2485525" y="6869078"/>
                <a:ext cx="25133" cy="8124"/>
              </a:xfrm>
              <a:custGeom>
                <a:avLst/>
                <a:gdLst>
                  <a:gd name="connsiteX0" fmla="*/ 0 w 25133"/>
                  <a:gd name="connsiteY0" fmla="*/ 0 h 8124"/>
                  <a:gd name="connsiteX1" fmla="*/ 25134 w 25133"/>
                  <a:gd name="connsiteY1" fmla="*/ 0 h 8124"/>
                  <a:gd name="connsiteX2" fmla="*/ 25134 w 25133"/>
                  <a:gd name="connsiteY2" fmla="*/ 8124 h 8124"/>
                </a:gdLst>
                <a:ahLst/>
                <a:cxnLst>
                  <a:cxn ang="0">
                    <a:pos x="connsiteX0" y="connsiteY0"/>
                  </a:cxn>
                  <a:cxn ang="0">
                    <a:pos x="connsiteX1" y="connsiteY1"/>
                  </a:cxn>
                  <a:cxn ang="0">
                    <a:pos x="connsiteX2" y="connsiteY2"/>
                  </a:cxn>
                </a:cxnLst>
                <a:rect l="l" t="t" r="r" b="b"/>
                <a:pathLst>
                  <a:path w="25133" h="8124">
                    <a:moveTo>
                      <a:pt x="0" y="0"/>
                    </a:moveTo>
                    <a:lnTo>
                      <a:pt x="25134" y="0"/>
                    </a:lnTo>
                    <a:lnTo>
                      <a:pt x="25134" y="8124"/>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72A719A6-1EF7-49C4-9ED5-85E7A0556C08}"/>
                  </a:ext>
                </a:extLst>
              </p:cNvPr>
              <p:cNvSpPr/>
              <p:nvPr/>
            </p:nvSpPr>
            <p:spPr>
              <a:xfrm>
                <a:off x="2419523" y="6833258"/>
                <a:ext cx="75087" cy="93330"/>
              </a:xfrm>
              <a:custGeom>
                <a:avLst/>
                <a:gdLst>
                  <a:gd name="connsiteX0" fmla="*/ 61520 w 75087"/>
                  <a:gd name="connsiteY0" fmla="*/ 72039 h 93330"/>
                  <a:gd name="connsiteX1" fmla="*/ 19297 w 75087"/>
                  <a:gd name="connsiteY1" fmla="*/ 72039 h 93330"/>
                  <a:gd name="connsiteX2" fmla="*/ 14374 w 75087"/>
                  <a:gd name="connsiteY2" fmla="*/ 66636 h 93330"/>
                  <a:gd name="connsiteX3" fmla="*/ 14374 w 75087"/>
                  <a:gd name="connsiteY3" fmla="*/ 21732 h 93330"/>
                  <a:gd name="connsiteX4" fmla="*/ 19297 w 75087"/>
                  <a:gd name="connsiteY4" fmla="*/ 16329 h 93330"/>
                  <a:gd name="connsiteX5" fmla="*/ 61520 w 75087"/>
                  <a:gd name="connsiteY5" fmla="*/ 16329 h 93330"/>
                  <a:gd name="connsiteX6" fmla="*/ 66443 w 75087"/>
                  <a:gd name="connsiteY6" fmla="*/ 21732 h 93330"/>
                  <a:gd name="connsiteX7" fmla="*/ 66443 w 75087"/>
                  <a:gd name="connsiteY7" fmla="*/ 66636 h 93330"/>
                  <a:gd name="connsiteX8" fmla="*/ 61520 w 75087"/>
                  <a:gd name="connsiteY8" fmla="*/ 72039 h 93330"/>
                  <a:gd name="connsiteX9" fmla="*/ 61520 w 75087"/>
                  <a:gd name="connsiteY9" fmla="*/ 72039 h 93330"/>
                  <a:gd name="connsiteX10" fmla="*/ 61520 w 75087"/>
                  <a:gd name="connsiteY10" fmla="*/ 72039 h 93330"/>
                  <a:gd name="connsiteX11" fmla="*/ 61520 w 75087"/>
                  <a:gd name="connsiteY11" fmla="*/ 72039 h 93330"/>
                  <a:gd name="connsiteX12" fmla="*/ 61520 w 75087"/>
                  <a:gd name="connsiteY12" fmla="*/ 72039 h 93330"/>
                  <a:gd name="connsiteX13" fmla="*/ 61520 w 75087"/>
                  <a:gd name="connsiteY13" fmla="*/ 72039 h 93330"/>
                  <a:gd name="connsiteX14" fmla="*/ 23019 w 75087"/>
                  <a:gd name="connsiteY14" fmla="*/ 16649 h 93330"/>
                  <a:gd name="connsiteX15" fmla="*/ 23019 w 75087"/>
                  <a:gd name="connsiteY15" fmla="*/ 8925 h 93330"/>
                  <a:gd name="connsiteX16" fmla="*/ 32104 w 75087"/>
                  <a:gd name="connsiteY16" fmla="*/ 16649 h 93330"/>
                  <a:gd name="connsiteX17" fmla="*/ 32104 w 75087"/>
                  <a:gd name="connsiteY17" fmla="*/ 0 h 93330"/>
                  <a:gd name="connsiteX18" fmla="*/ 40389 w 75087"/>
                  <a:gd name="connsiteY18" fmla="*/ 8925 h 93330"/>
                  <a:gd name="connsiteX19" fmla="*/ 40389 w 75087"/>
                  <a:gd name="connsiteY19" fmla="*/ 16649 h 93330"/>
                  <a:gd name="connsiteX20" fmla="*/ 49434 w 75087"/>
                  <a:gd name="connsiteY20" fmla="*/ 8925 h 93330"/>
                  <a:gd name="connsiteX21" fmla="*/ 49434 w 75087"/>
                  <a:gd name="connsiteY21" fmla="*/ 16649 h 93330"/>
                  <a:gd name="connsiteX22" fmla="*/ 75088 w 75087"/>
                  <a:gd name="connsiteY22" fmla="*/ 25574 h 93330"/>
                  <a:gd name="connsiteX23" fmla="*/ 66403 w 75087"/>
                  <a:gd name="connsiteY23" fmla="*/ 25574 h 93330"/>
                  <a:gd name="connsiteX24" fmla="*/ 75088 w 75087"/>
                  <a:gd name="connsiteY24" fmla="*/ 43384 h 93330"/>
                  <a:gd name="connsiteX25" fmla="*/ 66403 w 75087"/>
                  <a:gd name="connsiteY25" fmla="*/ 43384 h 93330"/>
                  <a:gd name="connsiteX26" fmla="*/ 75088 w 75087"/>
                  <a:gd name="connsiteY26" fmla="*/ 54230 h 93330"/>
                  <a:gd name="connsiteX27" fmla="*/ 66403 w 75087"/>
                  <a:gd name="connsiteY27" fmla="*/ 54230 h 93330"/>
                  <a:gd name="connsiteX28" fmla="*/ 75088 w 75087"/>
                  <a:gd name="connsiteY28" fmla="*/ 63114 h 93330"/>
                  <a:gd name="connsiteX29" fmla="*/ 66403 w 75087"/>
                  <a:gd name="connsiteY29" fmla="*/ 63114 h 93330"/>
                  <a:gd name="connsiteX30" fmla="*/ 13974 w 75087"/>
                  <a:gd name="connsiteY30" fmla="*/ 25574 h 93330"/>
                  <a:gd name="connsiteX31" fmla="*/ 7 w 75087"/>
                  <a:gd name="connsiteY31" fmla="*/ 25574 h 93330"/>
                  <a:gd name="connsiteX32" fmla="*/ 13614 w 75087"/>
                  <a:gd name="connsiteY32" fmla="*/ 34499 h 93330"/>
                  <a:gd name="connsiteX33" fmla="*/ 7211 w 75087"/>
                  <a:gd name="connsiteY33" fmla="*/ 34499 h 93330"/>
                  <a:gd name="connsiteX34" fmla="*/ 13614 w 75087"/>
                  <a:gd name="connsiteY34" fmla="*/ 54230 h 93330"/>
                  <a:gd name="connsiteX35" fmla="*/ 7211 w 75087"/>
                  <a:gd name="connsiteY35" fmla="*/ 54230 h 93330"/>
                  <a:gd name="connsiteX36" fmla="*/ 13974 w 75087"/>
                  <a:gd name="connsiteY36" fmla="*/ 63114 h 93330"/>
                  <a:gd name="connsiteX37" fmla="*/ 7170 w 75087"/>
                  <a:gd name="connsiteY37" fmla="*/ 63114 h 93330"/>
                  <a:gd name="connsiteX38" fmla="*/ 23019 w 75087"/>
                  <a:gd name="connsiteY38" fmla="*/ 72039 h 93330"/>
                  <a:gd name="connsiteX39" fmla="*/ 23019 w 75087"/>
                  <a:gd name="connsiteY39" fmla="*/ 80964 h 93330"/>
                  <a:gd name="connsiteX40" fmla="*/ 40389 w 75087"/>
                  <a:gd name="connsiteY40" fmla="*/ 81324 h 93330"/>
                  <a:gd name="connsiteX41" fmla="*/ 40389 w 75087"/>
                  <a:gd name="connsiteY41" fmla="*/ 72399 h 93330"/>
                  <a:gd name="connsiteX42" fmla="*/ 49434 w 75087"/>
                  <a:gd name="connsiteY42" fmla="*/ 72039 h 93330"/>
                  <a:gd name="connsiteX43" fmla="*/ 49434 w 75087"/>
                  <a:gd name="connsiteY43" fmla="*/ 80964 h 93330"/>
                  <a:gd name="connsiteX44" fmla="*/ 59239 w 75087"/>
                  <a:gd name="connsiteY44" fmla="*/ 72039 h 93330"/>
                  <a:gd name="connsiteX45" fmla="*/ 59239 w 75087"/>
                  <a:gd name="connsiteY45" fmla="*/ 93331 h 9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5087" h="93330">
                    <a:moveTo>
                      <a:pt x="61520" y="72039"/>
                    </a:moveTo>
                    <a:cubicBezTo>
                      <a:pt x="19297" y="72039"/>
                      <a:pt x="19297" y="72039"/>
                      <a:pt x="19297" y="72039"/>
                    </a:cubicBezTo>
                    <a:cubicBezTo>
                      <a:pt x="16656" y="72039"/>
                      <a:pt x="14374" y="69318"/>
                      <a:pt x="14374" y="66636"/>
                    </a:cubicBezTo>
                    <a:cubicBezTo>
                      <a:pt x="14374" y="21732"/>
                      <a:pt x="14374" y="21732"/>
                      <a:pt x="14374" y="21732"/>
                    </a:cubicBezTo>
                    <a:cubicBezTo>
                      <a:pt x="14374" y="18250"/>
                      <a:pt x="17016" y="16329"/>
                      <a:pt x="19297" y="16329"/>
                    </a:cubicBezTo>
                    <a:cubicBezTo>
                      <a:pt x="61520" y="16329"/>
                      <a:pt x="61520" y="16329"/>
                      <a:pt x="61520" y="16329"/>
                    </a:cubicBezTo>
                    <a:cubicBezTo>
                      <a:pt x="64522" y="16329"/>
                      <a:pt x="66443" y="18250"/>
                      <a:pt x="66443" y="21732"/>
                    </a:cubicBezTo>
                    <a:cubicBezTo>
                      <a:pt x="66443" y="66636"/>
                      <a:pt x="66443" y="66636"/>
                      <a:pt x="66443" y="66636"/>
                    </a:cubicBezTo>
                    <a:cubicBezTo>
                      <a:pt x="66403" y="69718"/>
                      <a:pt x="64522" y="72039"/>
                      <a:pt x="61520" y="72039"/>
                    </a:cubicBezTo>
                    <a:lnTo>
                      <a:pt x="61520" y="72039"/>
                    </a:lnTo>
                    <a:lnTo>
                      <a:pt x="61520" y="72039"/>
                    </a:lnTo>
                    <a:lnTo>
                      <a:pt x="61520" y="72039"/>
                    </a:lnTo>
                    <a:lnTo>
                      <a:pt x="61520" y="72039"/>
                    </a:lnTo>
                    <a:lnTo>
                      <a:pt x="61520" y="72039"/>
                    </a:lnTo>
                    <a:close/>
                    <a:moveTo>
                      <a:pt x="23019" y="16649"/>
                    </a:moveTo>
                    <a:cubicBezTo>
                      <a:pt x="23019" y="8925"/>
                      <a:pt x="23019" y="8925"/>
                      <a:pt x="23019" y="8925"/>
                    </a:cubicBezTo>
                    <a:moveTo>
                      <a:pt x="32104" y="16649"/>
                    </a:moveTo>
                    <a:cubicBezTo>
                      <a:pt x="32104" y="0"/>
                      <a:pt x="32104" y="0"/>
                      <a:pt x="32104" y="0"/>
                    </a:cubicBezTo>
                    <a:moveTo>
                      <a:pt x="40389" y="8925"/>
                    </a:moveTo>
                    <a:cubicBezTo>
                      <a:pt x="40389" y="16649"/>
                      <a:pt x="40389" y="16649"/>
                      <a:pt x="40389" y="16649"/>
                    </a:cubicBezTo>
                    <a:moveTo>
                      <a:pt x="49434" y="8925"/>
                    </a:moveTo>
                    <a:cubicBezTo>
                      <a:pt x="49434" y="16649"/>
                      <a:pt x="49434" y="16649"/>
                      <a:pt x="49434" y="16649"/>
                    </a:cubicBezTo>
                    <a:moveTo>
                      <a:pt x="75088" y="25574"/>
                    </a:moveTo>
                    <a:cubicBezTo>
                      <a:pt x="66403" y="25574"/>
                      <a:pt x="66403" y="25574"/>
                      <a:pt x="66403" y="25574"/>
                    </a:cubicBezTo>
                    <a:moveTo>
                      <a:pt x="75088" y="43384"/>
                    </a:moveTo>
                    <a:cubicBezTo>
                      <a:pt x="66403" y="43384"/>
                      <a:pt x="66403" y="43384"/>
                      <a:pt x="66403" y="43384"/>
                    </a:cubicBezTo>
                    <a:moveTo>
                      <a:pt x="75088" y="54230"/>
                    </a:moveTo>
                    <a:cubicBezTo>
                      <a:pt x="66403" y="54230"/>
                      <a:pt x="66403" y="54230"/>
                      <a:pt x="66403" y="54230"/>
                    </a:cubicBezTo>
                    <a:moveTo>
                      <a:pt x="75088" y="63114"/>
                    </a:moveTo>
                    <a:cubicBezTo>
                      <a:pt x="66403" y="63114"/>
                      <a:pt x="66403" y="63114"/>
                      <a:pt x="66403" y="63114"/>
                    </a:cubicBezTo>
                    <a:moveTo>
                      <a:pt x="13974" y="25574"/>
                    </a:moveTo>
                    <a:cubicBezTo>
                      <a:pt x="-754" y="25574"/>
                      <a:pt x="7" y="25574"/>
                      <a:pt x="7" y="25574"/>
                    </a:cubicBezTo>
                    <a:moveTo>
                      <a:pt x="13614" y="34499"/>
                    </a:moveTo>
                    <a:cubicBezTo>
                      <a:pt x="6450" y="34499"/>
                      <a:pt x="7211" y="34499"/>
                      <a:pt x="7211" y="34499"/>
                    </a:cubicBezTo>
                    <a:moveTo>
                      <a:pt x="13614" y="54230"/>
                    </a:moveTo>
                    <a:cubicBezTo>
                      <a:pt x="6450" y="54230"/>
                      <a:pt x="7211" y="54230"/>
                      <a:pt x="7211" y="54230"/>
                    </a:cubicBezTo>
                    <a:moveTo>
                      <a:pt x="13974" y="63114"/>
                    </a:moveTo>
                    <a:cubicBezTo>
                      <a:pt x="6810" y="63114"/>
                      <a:pt x="7170" y="63114"/>
                      <a:pt x="7170" y="63114"/>
                    </a:cubicBezTo>
                    <a:moveTo>
                      <a:pt x="23019" y="72039"/>
                    </a:moveTo>
                    <a:cubicBezTo>
                      <a:pt x="23019" y="80964"/>
                      <a:pt x="23019" y="80964"/>
                      <a:pt x="23019" y="80964"/>
                    </a:cubicBezTo>
                    <a:moveTo>
                      <a:pt x="40389" y="81324"/>
                    </a:moveTo>
                    <a:cubicBezTo>
                      <a:pt x="40389" y="72399"/>
                      <a:pt x="40389" y="72399"/>
                      <a:pt x="40389" y="72399"/>
                    </a:cubicBezTo>
                    <a:moveTo>
                      <a:pt x="49434" y="72039"/>
                    </a:moveTo>
                    <a:cubicBezTo>
                      <a:pt x="49434" y="80964"/>
                      <a:pt x="49434" y="80964"/>
                      <a:pt x="49434" y="80964"/>
                    </a:cubicBezTo>
                    <a:moveTo>
                      <a:pt x="59239" y="72039"/>
                    </a:moveTo>
                    <a:cubicBezTo>
                      <a:pt x="59239" y="93331"/>
                      <a:pt x="59239" y="93331"/>
                      <a:pt x="59239" y="93331"/>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6A0ABD3-49EB-4919-B940-ACBE9DA5EE00}"/>
                  </a:ext>
                </a:extLst>
              </p:cNvPr>
              <p:cNvSpPr/>
              <p:nvPr/>
            </p:nvSpPr>
            <p:spPr>
              <a:xfrm>
                <a:off x="2479362" y="6830376"/>
                <a:ext cx="10565" cy="18450"/>
              </a:xfrm>
              <a:custGeom>
                <a:avLst/>
                <a:gdLst>
                  <a:gd name="connsiteX0" fmla="*/ 0 w 10565"/>
                  <a:gd name="connsiteY0" fmla="*/ 18450 h 18450"/>
                  <a:gd name="connsiteX1" fmla="*/ 0 w 10565"/>
                  <a:gd name="connsiteY1" fmla="*/ 0 h 18450"/>
                  <a:gd name="connsiteX2" fmla="*/ 10566 w 10565"/>
                  <a:gd name="connsiteY2" fmla="*/ 0 h 18450"/>
                </a:gdLst>
                <a:ahLst/>
                <a:cxnLst>
                  <a:cxn ang="0">
                    <a:pos x="connsiteX0" y="connsiteY0"/>
                  </a:cxn>
                  <a:cxn ang="0">
                    <a:pos x="connsiteX1" y="connsiteY1"/>
                  </a:cxn>
                  <a:cxn ang="0">
                    <a:pos x="connsiteX2" y="connsiteY2"/>
                  </a:cxn>
                </a:cxnLst>
                <a:rect l="l" t="t" r="r" b="b"/>
                <a:pathLst>
                  <a:path w="10565" h="18450">
                    <a:moveTo>
                      <a:pt x="0" y="18450"/>
                    </a:moveTo>
                    <a:lnTo>
                      <a:pt x="0" y="0"/>
                    </a:lnTo>
                    <a:lnTo>
                      <a:pt x="10566" y="0"/>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E35437D0-9E6A-410C-ABAF-623CD05391DC}"/>
                  </a:ext>
                </a:extLst>
              </p:cNvPr>
              <p:cNvSpPr/>
              <p:nvPr/>
            </p:nvSpPr>
            <p:spPr>
              <a:xfrm>
                <a:off x="2441981" y="6905697"/>
                <a:ext cx="10925" cy="22132"/>
              </a:xfrm>
              <a:custGeom>
                <a:avLst/>
                <a:gdLst>
                  <a:gd name="connsiteX0" fmla="*/ 10926 w 10925"/>
                  <a:gd name="connsiteY0" fmla="*/ 0 h 22132"/>
                  <a:gd name="connsiteX1" fmla="*/ 10926 w 10925"/>
                  <a:gd name="connsiteY1" fmla="*/ 22132 h 22132"/>
                  <a:gd name="connsiteX2" fmla="*/ 0 w 10925"/>
                  <a:gd name="connsiteY2" fmla="*/ 22132 h 22132"/>
                </a:gdLst>
                <a:ahLst/>
                <a:cxnLst>
                  <a:cxn ang="0">
                    <a:pos x="connsiteX0" y="connsiteY0"/>
                  </a:cxn>
                  <a:cxn ang="0">
                    <a:pos x="connsiteX1" y="connsiteY1"/>
                  </a:cxn>
                  <a:cxn ang="0">
                    <a:pos x="connsiteX2" y="connsiteY2"/>
                  </a:cxn>
                </a:cxnLst>
                <a:rect l="l" t="t" r="r" b="b"/>
                <a:pathLst>
                  <a:path w="10925" h="22132">
                    <a:moveTo>
                      <a:pt x="10926" y="0"/>
                    </a:moveTo>
                    <a:lnTo>
                      <a:pt x="10926" y="22132"/>
                    </a:lnTo>
                    <a:lnTo>
                      <a:pt x="0" y="22132"/>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B9272C1A-07E5-4EA2-BE31-111509C2BE65}"/>
                  </a:ext>
                </a:extLst>
              </p:cNvPr>
              <p:cNvSpPr/>
              <p:nvPr/>
            </p:nvSpPr>
            <p:spPr>
              <a:xfrm>
                <a:off x="2411445" y="6877202"/>
                <a:ext cx="22652" cy="10045"/>
              </a:xfrm>
              <a:custGeom>
                <a:avLst/>
                <a:gdLst>
                  <a:gd name="connsiteX0" fmla="*/ 22652 w 22652"/>
                  <a:gd name="connsiteY0" fmla="*/ 0 h 10045"/>
                  <a:gd name="connsiteX1" fmla="*/ 0 w 22652"/>
                  <a:gd name="connsiteY1" fmla="*/ 0 h 10045"/>
                  <a:gd name="connsiteX2" fmla="*/ 0 w 22652"/>
                  <a:gd name="connsiteY2" fmla="*/ 10045 h 10045"/>
                </a:gdLst>
                <a:ahLst/>
                <a:cxnLst>
                  <a:cxn ang="0">
                    <a:pos x="connsiteX0" y="connsiteY0"/>
                  </a:cxn>
                  <a:cxn ang="0">
                    <a:pos x="connsiteX1" y="connsiteY1"/>
                  </a:cxn>
                  <a:cxn ang="0">
                    <a:pos x="connsiteX2" y="connsiteY2"/>
                  </a:cxn>
                </a:cxnLst>
                <a:rect l="l" t="t" r="r" b="b"/>
                <a:pathLst>
                  <a:path w="22652" h="10045">
                    <a:moveTo>
                      <a:pt x="22652" y="0"/>
                    </a:moveTo>
                    <a:lnTo>
                      <a:pt x="0" y="0"/>
                    </a:lnTo>
                    <a:lnTo>
                      <a:pt x="0" y="10045"/>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6C1993CC-5069-4B76-A657-455C712CB1C9}"/>
                  </a:ext>
                </a:extLst>
              </p:cNvPr>
              <p:cNvSpPr/>
              <p:nvPr/>
            </p:nvSpPr>
            <p:spPr>
              <a:xfrm>
                <a:off x="2404362" y="6887448"/>
                <a:ext cx="15288" cy="14728"/>
              </a:xfrm>
              <a:custGeom>
                <a:avLst/>
                <a:gdLst>
                  <a:gd name="connsiteX0" fmla="*/ 15288 w 15288"/>
                  <a:gd name="connsiteY0" fmla="*/ 7364 h 14728"/>
                  <a:gd name="connsiteX1" fmla="*/ 7644 w 15288"/>
                  <a:gd name="connsiteY1" fmla="*/ 14728 h 14728"/>
                  <a:gd name="connsiteX2" fmla="*/ 0 w 15288"/>
                  <a:gd name="connsiteY2" fmla="*/ 7364 h 14728"/>
                  <a:gd name="connsiteX3" fmla="*/ 7644 w 15288"/>
                  <a:gd name="connsiteY3" fmla="*/ 0 h 14728"/>
                  <a:gd name="connsiteX4" fmla="*/ 15288 w 15288"/>
                  <a:gd name="connsiteY4" fmla="*/ 7364 h 14728"/>
                  <a:gd name="connsiteX5" fmla="*/ 15288 w 15288"/>
                  <a:gd name="connsiteY5" fmla="*/ 7364 h 14728"/>
                  <a:gd name="connsiteX6" fmla="*/ 15288 w 15288"/>
                  <a:gd name="connsiteY6" fmla="*/ 7364 h 14728"/>
                  <a:gd name="connsiteX7" fmla="*/ 15288 w 15288"/>
                  <a:gd name="connsiteY7" fmla="*/ 7364 h 1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8" h="14728">
                    <a:moveTo>
                      <a:pt x="15288" y="7364"/>
                    </a:moveTo>
                    <a:cubicBezTo>
                      <a:pt x="15288" y="11246"/>
                      <a:pt x="11847" y="14728"/>
                      <a:pt x="7644" y="14728"/>
                    </a:cubicBezTo>
                    <a:cubicBezTo>
                      <a:pt x="3442" y="14728"/>
                      <a:pt x="0" y="11646"/>
                      <a:pt x="0" y="7364"/>
                    </a:cubicBezTo>
                    <a:cubicBezTo>
                      <a:pt x="0" y="3482"/>
                      <a:pt x="3442" y="0"/>
                      <a:pt x="7644" y="0"/>
                    </a:cubicBezTo>
                    <a:cubicBezTo>
                      <a:pt x="11847" y="0"/>
                      <a:pt x="15288" y="3082"/>
                      <a:pt x="15288" y="7364"/>
                    </a:cubicBezTo>
                    <a:lnTo>
                      <a:pt x="15288" y="7364"/>
                    </a:lnTo>
                    <a:lnTo>
                      <a:pt x="15288" y="7364"/>
                    </a:lnTo>
                    <a:lnTo>
                      <a:pt x="1528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8BF6A74C-9011-47B4-A6AA-3F9A93206C3C}"/>
                  </a:ext>
                </a:extLst>
              </p:cNvPr>
              <p:cNvSpPr/>
              <p:nvPr/>
            </p:nvSpPr>
            <p:spPr>
              <a:xfrm>
                <a:off x="2427054" y="6921186"/>
                <a:ext cx="14567" cy="14727"/>
              </a:xfrm>
              <a:custGeom>
                <a:avLst/>
                <a:gdLst>
                  <a:gd name="connsiteX0" fmla="*/ 14568 w 14567"/>
                  <a:gd name="connsiteY0" fmla="*/ 7364 h 14727"/>
                  <a:gd name="connsiteX1" fmla="*/ 7284 w 14567"/>
                  <a:gd name="connsiteY1" fmla="*/ 14728 h 14727"/>
                  <a:gd name="connsiteX2" fmla="*/ 0 w 14567"/>
                  <a:gd name="connsiteY2" fmla="*/ 7364 h 14727"/>
                  <a:gd name="connsiteX3" fmla="*/ 7284 w 14567"/>
                  <a:gd name="connsiteY3" fmla="*/ 0 h 14727"/>
                  <a:gd name="connsiteX4" fmla="*/ 14568 w 14567"/>
                  <a:gd name="connsiteY4" fmla="*/ 7364 h 14727"/>
                  <a:gd name="connsiteX5" fmla="*/ 14568 w 14567"/>
                  <a:gd name="connsiteY5" fmla="*/ 7364 h 14727"/>
                  <a:gd name="connsiteX6" fmla="*/ 14568 w 14567"/>
                  <a:gd name="connsiteY6" fmla="*/ 7364 h 14727"/>
                  <a:gd name="connsiteX7" fmla="*/ 14568 w 14567"/>
                  <a:gd name="connsiteY7" fmla="*/ 7364 h 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7" h="14727">
                    <a:moveTo>
                      <a:pt x="14568" y="7364"/>
                    </a:moveTo>
                    <a:cubicBezTo>
                      <a:pt x="14568" y="11246"/>
                      <a:pt x="11526" y="14728"/>
                      <a:pt x="7284" y="14728"/>
                    </a:cubicBezTo>
                    <a:cubicBezTo>
                      <a:pt x="3082" y="14728"/>
                      <a:pt x="0" y="11646"/>
                      <a:pt x="0" y="7364"/>
                    </a:cubicBezTo>
                    <a:cubicBezTo>
                      <a:pt x="0" y="3482"/>
                      <a:pt x="3041" y="0"/>
                      <a:pt x="7284" y="0"/>
                    </a:cubicBezTo>
                    <a:cubicBezTo>
                      <a:pt x="11526" y="0"/>
                      <a:pt x="14568" y="3482"/>
                      <a:pt x="14568" y="7364"/>
                    </a:cubicBezTo>
                    <a:lnTo>
                      <a:pt x="14568" y="7364"/>
                    </a:lnTo>
                    <a:lnTo>
                      <a:pt x="14568" y="7364"/>
                    </a:lnTo>
                    <a:lnTo>
                      <a:pt x="1456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2D0DF045-A8D7-4893-BD95-BA738B763F6F}"/>
                  </a:ext>
                </a:extLst>
              </p:cNvPr>
              <p:cNvSpPr/>
              <p:nvPr/>
            </p:nvSpPr>
            <p:spPr>
              <a:xfrm>
                <a:off x="2470758" y="6926702"/>
                <a:ext cx="14568" cy="14728"/>
              </a:xfrm>
              <a:custGeom>
                <a:avLst/>
                <a:gdLst>
                  <a:gd name="connsiteX0" fmla="*/ 14568 w 14568"/>
                  <a:gd name="connsiteY0" fmla="*/ 7364 h 14728"/>
                  <a:gd name="connsiteX1" fmla="*/ 7284 w 14568"/>
                  <a:gd name="connsiteY1" fmla="*/ 14728 h 14728"/>
                  <a:gd name="connsiteX2" fmla="*/ 0 w 14568"/>
                  <a:gd name="connsiteY2" fmla="*/ 7364 h 14728"/>
                  <a:gd name="connsiteX3" fmla="*/ 7284 w 14568"/>
                  <a:gd name="connsiteY3" fmla="*/ 0 h 14728"/>
                  <a:gd name="connsiteX4" fmla="*/ 14568 w 14568"/>
                  <a:gd name="connsiteY4" fmla="*/ 7364 h 14728"/>
                  <a:gd name="connsiteX5" fmla="*/ 14568 w 14568"/>
                  <a:gd name="connsiteY5" fmla="*/ 7364 h 14728"/>
                  <a:gd name="connsiteX6" fmla="*/ 14568 w 14568"/>
                  <a:gd name="connsiteY6" fmla="*/ 7364 h 14728"/>
                  <a:gd name="connsiteX7" fmla="*/ 14568 w 14568"/>
                  <a:gd name="connsiteY7" fmla="*/ 7364 h 1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8" h="14728">
                    <a:moveTo>
                      <a:pt x="14568" y="7364"/>
                    </a:moveTo>
                    <a:cubicBezTo>
                      <a:pt x="14568" y="11246"/>
                      <a:pt x="11526" y="14728"/>
                      <a:pt x="7284" y="14728"/>
                    </a:cubicBezTo>
                    <a:cubicBezTo>
                      <a:pt x="3442" y="14728"/>
                      <a:pt x="0" y="11646"/>
                      <a:pt x="0" y="7364"/>
                    </a:cubicBezTo>
                    <a:cubicBezTo>
                      <a:pt x="0" y="3482"/>
                      <a:pt x="3042" y="0"/>
                      <a:pt x="7284" y="0"/>
                    </a:cubicBezTo>
                    <a:cubicBezTo>
                      <a:pt x="11526" y="0"/>
                      <a:pt x="14568" y="3482"/>
                      <a:pt x="14568" y="7364"/>
                    </a:cubicBezTo>
                    <a:lnTo>
                      <a:pt x="14568" y="7364"/>
                    </a:lnTo>
                    <a:lnTo>
                      <a:pt x="14568" y="7364"/>
                    </a:lnTo>
                    <a:lnTo>
                      <a:pt x="1456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08183C26-B1FE-43E8-908E-1086873EFDEB}"/>
                  </a:ext>
                </a:extLst>
              </p:cNvPr>
              <p:cNvSpPr/>
              <p:nvPr/>
            </p:nvSpPr>
            <p:spPr>
              <a:xfrm>
                <a:off x="2503379" y="6877395"/>
                <a:ext cx="14568" cy="14727"/>
              </a:xfrm>
              <a:custGeom>
                <a:avLst/>
                <a:gdLst>
                  <a:gd name="connsiteX0" fmla="*/ 14568 w 14568"/>
                  <a:gd name="connsiteY0" fmla="*/ 7364 h 14727"/>
                  <a:gd name="connsiteX1" fmla="*/ 7284 w 14568"/>
                  <a:gd name="connsiteY1" fmla="*/ 14728 h 14727"/>
                  <a:gd name="connsiteX2" fmla="*/ 0 w 14568"/>
                  <a:gd name="connsiteY2" fmla="*/ 7364 h 14727"/>
                  <a:gd name="connsiteX3" fmla="*/ 7284 w 14568"/>
                  <a:gd name="connsiteY3" fmla="*/ 0 h 14727"/>
                  <a:gd name="connsiteX4" fmla="*/ 14568 w 14568"/>
                  <a:gd name="connsiteY4" fmla="*/ 7364 h 14727"/>
                  <a:gd name="connsiteX5" fmla="*/ 14568 w 14568"/>
                  <a:gd name="connsiteY5" fmla="*/ 7364 h 14727"/>
                  <a:gd name="connsiteX6" fmla="*/ 14568 w 14568"/>
                  <a:gd name="connsiteY6" fmla="*/ 7364 h 14727"/>
                  <a:gd name="connsiteX7" fmla="*/ 14568 w 14568"/>
                  <a:gd name="connsiteY7" fmla="*/ 7364 h 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8" h="14727">
                    <a:moveTo>
                      <a:pt x="14568" y="7364"/>
                    </a:moveTo>
                    <a:cubicBezTo>
                      <a:pt x="14568" y="11246"/>
                      <a:pt x="11526" y="14728"/>
                      <a:pt x="7284" y="14728"/>
                    </a:cubicBezTo>
                    <a:cubicBezTo>
                      <a:pt x="3442" y="14728"/>
                      <a:pt x="0" y="11646"/>
                      <a:pt x="0" y="7364"/>
                    </a:cubicBezTo>
                    <a:cubicBezTo>
                      <a:pt x="0" y="3482"/>
                      <a:pt x="3042" y="0"/>
                      <a:pt x="7284" y="0"/>
                    </a:cubicBezTo>
                    <a:cubicBezTo>
                      <a:pt x="11126" y="0"/>
                      <a:pt x="14568" y="3122"/>
                      <a:pt x="14568" y="7364"/>
                    </a:cubicBezTo>
                    <a:lnTo>
                      <a:pt x="14568" y="7364"/>
                    </a:lnTo>
                    <a:lnTo>
                      <a:pt x="14568" y="7364"/>
                    </a:lnTo>
                    <a:lnTo>
                      <a:pt x="1456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F5293579-0FC4-4A1E-9287-A1D3E6A771DB}"/>
                  </a:ext>
                </a:extLst>
              </p:cNvPr>
              <p:cNvSpPr/>
              <p:nvPr/>
            </p:nvSpPr>
            <p:spPr>
              <a:xfrm>
                <a:off x="2489890" y="6820484"/>
                <a:ext cx="14568" cy="14727"/>
              </a:xfrm>
              <a:custGeom>
                <a:avLst/>
                <a:gdLst>
                  <a:gd name="connsiteX0" fmla="*/ 14568 w 14568"/>
                  <a:gd name="connsiteY0" fmla="*/ 7364 h 14727"/>
                  <a:gd name="connsiteX1" fmla="*/ 7284 w 14568"/>
                  <a:gd name="connsiteY1" fmla="*/ 14728 h 14727"/>
                  <a:gd name="connsiteX2" fmla="*/ 0 w 14568"/>
                  <a:gd name="connsiteY2" fmla="*/ 7364 h 14727"/>
                  <a:gd name="connsiteX3" fmla="*/ 7284 w 14568"/>
                  <a:gd name="connsiteY3" fmla="*/ 0 h 14727"/>
                  <a:gd name="connsiteX4" fmla="*/ 14568 w 14568"/>
                  <a:gd name="connsiteY4" fmla="*/ 7364 h 14727"/>
                  <a:gd name="connsiteX5" fmla="*/ 14568 w 14568"/>
                  <a:gd name="connsiteY5" fmla="*/ 7364 h 14727"/>
                  <a:gd name="connsiteX6" fmla="*/ 14568 w 14568"/>
                  <a:gd name="connsiteY6" fmla="*/ 7364 h 14727"/>
                  <a:gd name="connsiteX7" fmla="*/ 14568 w 14568"/>
                  <a:gd name="connsiteY7" fmla="*/ 7364 h 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8" h="14727">
                    <a:moveTo>
                      <a:pt x="14568" y="7364"/>
                    </a:moveTo>
                    <a:cubicBezTo>
                      <a:pt x="14568" y="11246"/>
                      <a:pt x="11526" y="14728"/>
                      <a:pt x="7284" y="14728"/>
                    </a:cubicBezTo>
                    <a:cubicBezTo>
                      <a:pt x="3042" y="14728"/>
                      <a:pt x="0" y="11646"/>
                      <a:pt x="0" y="7364"/>
                    </a:cubicBezTo>
                    <a:cubicBezTo>
                      <a:pt x="0" y="3482"/>
                      <a:pt x="3042" y="0"/>
                      <a:pt x="7284" y="0"/>
                    </a:cubicBezTo>
                    <a:cubicBezTo>
                      <a:pt x="11526" y="0"/>
                      <a:pt x="14568" y="3482"/>
                      <a:pt x="14568" y="7364"/>
                    </a:cubicBezTo>
                    <a:lnTo>
                      <a:pt x="14568" y="7364"/>
                    </a:lnTo>
                    <a:lnTo>
                      <a:pt x="14568" y="7364"/>
                    </a:lnTo>
                    <a:lnTo>
                      <a:pt x="1456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B0F05F12-A4F6-47E8-BD1E-8787CDFC6253}"/>
                  </a:ext>
                </a:extLst>
              </p:cNvPr>
              <p:cNvSpPr/>
              <p:nvPr/>
            </p:nvSpPr>
            <p:spPr>
              <a:xfrm>
                <a:off x="2444666" y="6818397"/>
                <a:ext cx="15288" cy="14728"/>
              </a:xfrm>
              <a:custGeom>
                <a:avLst/>
                <a:gdLst>
                  <a:gd name="connsiteX0" fmla="*/ 15288 w 15288"/>
                  <a:gd name="connsiteY0" fmla="*/ 7364 h 14728"/>
                  <a:gd name="connsiteX1" fmla="*/ 7644 w 15288"/>
                  <a:gd name="connsiteY1" fmla="*/ 14728 h 14728"/>
                  <a:gd name="connsiteX2" fmla="*/ 0 w 15288"/>
                  <a:gd name="connsiteY2" fmla="*/ 7364 h 14728"/>
                  <a:gd name="connsiteX3" fmla="*/ 7644 w 15288"/>
                  <a:gd name="connsiteY3" fmla="*/ 0 h 14728"/>
                  <a:gd name="connsiteX4" fmla="*/ 15288 w 15288"/>
                  <a:gd name="connsiteY4" fmla="*/ 7364 h 14728"/>
                  <a:gd name="connsiteX5" fmla="*/ 15288 w 15288"/>
                  <a:gd name="connsiteY5" fmla="*/ 7364 h 14728"/>
                  <a:gd name="connsiteX6" fmla="*/ 15288 w 15288"/>
                  <a:gd name="connsiteY6" fmla="*/ 7364 h 14728"/>
                  <a:gd name="connsiteX7" fmla="*/ 15288 w 15288"/>
                  <a:gd name="connsiteY7" fmla="*/ 7364 h 1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8" h="14728">
                    <a:moveTo>
                      <a:pt x="15288" y="7364"/>
                    </a:moveTo>
                    <a:cubicBezTo>
                      <a:pt x="15288" y="11246"/>
                      <a:pt x="11847" y="14728"/>
                      <a:pt x="7644" y="14728"/>
                    </a:cubicBezTo>
                    <a:cubicBezTo>
                      <a:pt x="3442" y="14728"/>
                      <a:pt x="0" y="11646"/>
                      <a:pt x="0" y="7364"/>
                    </a:cubicBezTo>
                    <a:cubicBezTo>
                      <a:pt x="0" y="3482"/>
                      <a:pt x="3442" y="0"/>
                      <a:pt x="7644" y="0"/>
                    </a:cubicBezTo>
                    <a:cubicBezTo>
                      <a:pt x="11847" y="0"/>
                      <a:pt x="15288" y="3482"/>
                      <a:pt x="15288" y="7364"/>
                    </a:cubicBezTo>
                    <a:lnTo>
                      <a:pt x="15288" y="7364"/>
                    </a:lnTo>
                    <a:lnTo>
                      <a:pt x="15288" y="7364"/>
                    </a:lnTo>
                    <a:lnTo>
                      <a:pt x="1528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8EB41C70-612F-4517-8ABB-F89A550E2B11}"/>
                  </a:ext>
                </a:extLst>
              </p:cNvPr>
              <p:cNvSpPr/>
              <p:nvPr/>
            </p:nvSpPr>
            <p:spPr>
              <a:xfrm>
                <a:off x="2404848" y="6850886"/>
                <a:ext cx="15288" cy="14727"/>
              </a:xfrm>
              <a:custGeom>
                <a:avLst/>
                <a:gdLst>
                  <a:gd name="connsiteX0" fmla="*/ 15288 w 15288"/>
                  <a:gd name="connsiteY0" fmla="*/ 7364 h 14727"/>
                  <a:gd name="connsiteX1" fmla="*/ 7644 w 15288"/>
                  <a:gd name="connsiteY1" fmla="*/ 14728 h 14727"/>
                  <a:gd name="connsiteX2" fmla="*/ 0 w 15288"/>
                  <a:gd name="connsiteY2" fmla="*/ 7364 h 14727"/>
                  <a:gd name="connsiteX3" fmla="*/ 7644 w 15288"/>
                  <a:gd name="connsiteY3" fmla="*/ 0 h 14727"/>
                  <a:gd name="connsiteX4" fmla="*/ 15288 w 15288"/>
                  <a:gd name="connsiteY4" fmla="*/ 7364 h 14727"/>
                  <a:gd name="connsiteX5" fmla="*/ 15288 w 15288"/>
                  <a:gd name="connsiteY5" fmla="*/ 7364 h 14727"/>
                  <a:gd name="connsiteX6" fmla="*/ 15288 w 15288"/>
                  <a:gd name="connsiteY6" fmla="*/ 7364 h 14727"/>
                  <a:gd name="connsiteX7" fmla="*/ 15288 w 15288"/>
                  <a:gd name="connsiteY7" fmla="*/ 7364 h 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8" h="14727">
                    <a:moveTo>
                      <a:pt x="15288" y="7364"/>
                    </a:moveTo>
                    <a:cubicBezTo>
                      <a:pt x="15288" y="11246"/>
                      <a:pt x="11847" y="14728"/>
                      <a:pt x="7644" y="14728"/>
                    </a:cubicBezTo>
                    <a:cubicBezTo>
                      <a:pt x="3442" y="14728"/>
                      <a:pt x="0" y="11646"/>
                      <a:pt x="0" y="7364"/>
                    </a:cubicBezTo>
                    <a:cubicBezTo>
                      <a:pt x="0" y="3482"/>
                      <a:pt x="3442" y="0"/>
                      <a:pt x="7644" y="0"/>
                    </a:cubicBezTo>
                    <a:cubicBezTo>
                      <a:pt x="11847" y="0"/>
                      <a:pt x="15288" y="3482"/>
                      <a:pt x="15288" y="7364"/>
                    </a:cubicBezTo>
                    <a:lnTo>
                      <a:pt x="15288" y="7364"/>
                    </a:lnTo>
                    <a:lnTo>
                      <a:pt x="15288" y="7364"/>
                    </a:lnTo>
                    <a:lnTo>
                      <a:pt x="15288" y="7364"/>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89AB9B56-0E74-4FB0-B0CD-B46064115A98}"/>
                  </a:ext>
                </a:extLst>
              </p:cNvPr>
              <p:cNvSpPr/>
              <p:nvPr/>
            </p:nvSpPr>
            <p:spPr>
              <a:xfrm>
                <a:off x="2438618" y="6855881"/>
                <a:ext cx="42583" cy="43063"/>
              </a:xfrm>
              <a:custGeom>
                <a:avLst/>
                <a:gdLst>
                  <a:gd name="connsiteX0" fmla="*/ 21292 w 42583"/>
                  <a:gd name="connsiteY0" fmla="*/ 43063 h 43063"/>
                  <a:gd name="connsiteX1" fmla="*/ 21292 w 42583"/>
                  <a:gd name="connsiteY1" fmla="*/ 43063 h 43063"/>
                  <a:gd name="connsiteX2" fmla="*/ 0 w 42583"/>
                  <a:gd name="connsiteY2" fmla="*/ 21532 h 43063"/>
                  <a:gd name="connsiteX3" fmla="*/ 0 w 42583"/>
                  <a:gd name="connsiteY3" fmla="*/ 21532 h 43063"/>
                  <a:gd name="connsiteX4" fmla="*/ 21292 w 42583"/>
                  <a:gd name="connsiteY4" fmla="*/ 0 h 43063"/>
                  <a:gd name="connsiteX5" fmla="*/ 21292 w 42583"/>
                  <a:gd name="connsiteY5" fmla="*/ 0 h 43063"/>
                  <a:gd name="connsiteX6" fmla="*/ 42583 w 42583"/>
                  <a:gd name="connsiteY6" fmla="*/ 21532 h 43063"/>
                  <a:gd name="connsiteX7" fmla="*/ 42583 w 42583"/>
                  <a:gd name="connsiteY7" fmla="*/ 21532 h 43063"/>
                  <a:gd name="connsiteX8" fmla="*/ 21292 w 42583"/>
                  <a:gd name="connsiteY8" fmla="*/ 43063 h 43063"/>
                  <a:gd name="connsiteX9" fmla="*/ 21292 w 42583"/>
                  <a:gd name="connsiteY9" fmla="*/ 43063 h 43063"/>
                  <a:gd name="connsiteX10" fmla="*/ 21292 w 42583"/>
                  <a:gd name="connsiteY10" fmla="*/ 43063 h 43063"/>
                  <a:gd name="connsiteX11" fmla="*/ 21292 w 42583"/>
                  <a:gd name="connsiteY11" fmla="*/ 43063 h 4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583" h="43063">
                    <a:moveTo>
                      <a:pt x="21292" y="43063"/>
                    </a:moveTo>
                    <a:lnTo>
                      <a:pt x="21292" y="43063"/>
                    </a:lnTo>
                    <a:cubicBezTo>
                      <a:pt x="9685" y="43063"/>
                      <a:pt x="0" y="33258"/>
                      <a:pt x="0" y="21532"/>
                    </a:cubicBezTo>
                    <a:lnTo>
                      <a:pt x="0" y="21532"/>
                    </a:lnTo>
                    <a:cubicBezTo>
                      <a:pt x="0" y="9405"/>
                      <a:pt x="9285" y="0"/>
                      <a:pt x="21292" y="0"/>
                    </a:cubicBezTo>
                    <a:lnTo>
                      <a:pt x="21292" y="0"/>
                    </a:lnTo>
                    <a:cubicBezTo>
                      <a:pt x="32898" y="0"/>
                      <a:pt x="42583" y="9805"/>
                      <a:pt x="42583" y="21532"/>
                    </a:cubicBezTo>
                    <a:lnTo>
                      <a:pt x="42583" y="21532"/>
                    </a:lnTo>
                    <a:cubicBezTo>
                      <a:pt x="42583" y="32858"/>
                      <a:pt x="32898" y="43063"/>
                      <a:pt x="21292" y="43063"/>
                    </a:cubicBezTo>
                    <a:lnTo>
                      <a:pt x="21292" y="43063"/>
                    </a:lnTo>
                    <a:lnTo>
                      <a:pt x="21292" y="43063"/>
                    </a:lnTo>
                    <a:lnTo>
                      <a:pt x="21292" y="43063"/>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4" name="Freeform: Shape 163">
              <a:extLst>
                <a:ext uri="{FF2B5EF4-FFF2-40B4-BE49-F238E27FC236}">
                  <a16:creationId xmlns:a16="http://schemas.microsoft.com/office/drawing/2014/main" id="{1E426BB6-EB04-4BE1-BC00-87555C1CD44E}"/>
                </a:ext>
              </a:extLst>
            </p:cNvPr>
            <p:cNvSpPr/>
            <p:nvPr/>
          </p:nvSpPr>
          <p:spPr>
            <a:xfrm>
              <a:off x="8857599" y="3349377"/>
              <a:ext cx="413048" cy="368634"/>
            </a:xfrm>
            <a:custGeom>
              <a:avLst/>
              <a:gdLst>
                <a:gd name="connsiteX0" fmla="*/ 3817 w 266951"/>
                <a:gd name="connsiteY0" fmla="*/ 0 h 238149"/>
                <a:gd name="connsiteX1" fmla="*/ 110 w 266951"/>
                <a:gd name="connsiteY1" fmla="*/ 36687 h 238149"/>
                <a:gd name="connsiteX2" fmla="*/ 46513 w 266951"/>
                <a:gd name="connsiteY2" fmla="*/ 135373 h 238149"/>
                <a:gd name="connsiteX3" fmla="*/ 46513 w 266951"/>
                <a:gd name="connsiteY3" fmla="*/ 238149 h 238149"/>
                <a:gd name="connsiteX4" fmla="*/ 170637 w 266951"/>
                <a:gd name="connsiteY4" fmla="*/ 238149 h 238149"/>
                <a:gd name="connsiteX5" fmla="*/ 170637 w 266951"/>
                <a:gd name="connsiteY5" fmla="*/ 189318 h 238149"/>
                <a:gd name="connsiteX6" fmla="*/ 189811 w 266951"/>
                <a:gd name="connsiteY6" fmla="*/ 189318 h 238149"/>
                <a:gd name="connsiteX7" fmla="*/ 223175 w 266951"/>
                <a:gd name="connsiteY7" fmla="*/ 174745 h 238149"/>
                <a:gd name="connsiteX8" fmla="*/ 236342 w 266951"/>
                <a:gd name="connsiteY8" fmla="*/ 140486 h 238149"/>
                <a:gd name="connsiteX9" fmla="*/ 236342 w 266951"/>
                <a:gd name="connsiteY9" fmla="*/ 115687 h 238149"/>
                <a:gd name="connsiteX10" fmla="*/ 253471 w 266951"/>
                <a:gd name="connsiteY10" fmla="*/ 115687 h 238149"/>
                <a:gd name="connsiteX11" fmla="*/ 262547 w 266951"/>
                <a:gd name="connsiteY11" fmla="*/ 87692 h 238149"/>
                <a:gd name="connsiteX12" fmla="*/ 262547 w 266951"/>
                <a:gd name="connsiteY12" fmla="*/ 87692 h 238149"/>
                <a:gd name="connsiteX13" fmla="*/ 262547 w 266951"/>
                <a:gd name="connsiteY13" fmla="*/ 87692 h 238149"/>
                <a:gd name="connsiteX14" fmla="*/ 262547 w 266951"/>
                <a:gd name="connsiteY14" fmla="*/ 87692 h 238149"/>
                <a:gd name="connsiteX15" fmla="*/ 235319 w 266951"/>
                <a:gd name="connsiteY15" fmla="*/ 38861 h 238149"/>
                <a:gd name="connsiteX16" fmla="*/ 235319 w 266951"/>
                <a:gd name="connsiteY16" fmla="*/ 36815 h 238149"/>
                <a:gd name="connsiteX17" fmla="*/ 231612 w 266951"/>
                <a:gd name="connsiteY17" fmla="*/ 0 h 238149"/>
                <a:gd name="connsiteX0" fmla="*/ 0 w 266841"/>
                <a:gd name="connsiteY0" fmla="*/ 36687 h 238149"/>
                <a:gd name="connsiteX1" fmla="*/ 46403 w 266841"/>
                <a:gd name="connsiteY1" fmla="*/ 135373 h 238149"/>
                <a:gd name="connsiteX2" fmla="*/ 46403 w 266841"/>
                <a:gd name="connsiteY2" fmla="*/ 238149 h 238149"/>
                <a:gd name="connsiteX3" fmla="*/ 170527 w 266841"/>
                <a:gd name="connsiteY3" fmla="*/ 238149 h 238149"/>
                <a:gd name="connsiteX4" fmla="*/ 170527 w 266841"/>
                <a:gd name="connsiteY4" fmla="*/ 189318 h 238149"/>
                <a:gd name="connsiteX5" fmla="*/ 189701 w 266841"/>
                <a:gd name="connsiteY5" fmla="*/ 189318 h 238149"/>
                <a:gd name="connsiteX6" fmla="*/ 223065 w 266841"/>
                <a:gd name="connsiteY6" fmla="*/ 174745 h 238149"/>
                <a:gd name="connsiteX7" fmla="*/ 236232 w 266841"/>
                <a:gd name="connsiteY7" fmla="*/ 140486 h 238149"/>
                <a:gd name="connsiteX8" fmla="*/ 236232 w 266841"/>
                <a:gd name="connsiteY8" fmla="*/ 115687 h 238149"/>
                <a:gd name="connsiteX9" fmla="*/ 253361 w 266841"/>
                <a:gd name="connsiteY9" fmla="*/ 115687 h 238149"/>
                <a:gd name="connsiteX10" fmla="*/ 262437 w 266841"/>
                <a:gd name="connsiteY10" fmla="*/ 87692 h 238149"/>
                <a:gd name="connsiteX11" fmla="*/ 262437 w 266841"/>
                <a:gd name="connsiteY11" fmla="*/ 87692 h 238149"/>
                <a:gd name="connsiteX12" fmla="*/ 262437 w 266841"/>
                <a:gd name="connsiteY12" fmla="*/ 87692 h 238149"/>
                <a:gd name="connsiteX13" fmla="*/ 262437 w 266841"/>
                <a:gd name="connsiteY13" fmla="*/ 87692 h 238149"/>
                <a:gd name="connsiteX14" fmla="*/ 235209 w 266841"/>
                <a:gd name="connsiteY14" fmla="*/ 38861 h 238149"/>
                <a:gd name="connsiteX15" fmla="*/ 235209 w 266841"/>
                <a:gd name="connsiteY15" fmla="*/ 36815 h 238149"/>
                <a:gd name="connsiteX16" fmla="*/ 231502 w 266841"/>
                <a:gd name="connsiteY16" fmla="*/ 0 h 23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841" h="238149">
                  <a:moveTo>
                    <a:pt x="0" y="36687"/>
                  </a:moveTo>
                  <a:cubicBezTo>
                    <a:pt x="0" y="75165"/>
                    <a:pt x="17129" y="112491"/>
                    <a:pt x="46403" y="135373"/>
                  </a:cubicBezTo>
                  <a:lnTo>
                    <a:pt x="46403" y="238149"/>
                  </a:lnTo>
                  <a:lnTo>
                    <a:pt x="170527" y="238149"/>
                  </a:lnTo>
                  <a:lnTo>
                    <a:pt x="170527" y="189318"/>
                  </a:lnTo>
                  <a:lnTo>
                    <a:pt x="189701" y="189318"/>
                  </a:lnTo>
                  <a:cubicBezTo>
                    <a:pt x="201845" y="189318"/>
                    <a:pt x="213989" y="184077"/>
                    <a:pt x="223065" y="174745"/>
                  </a:cubicBezTo>
                  <a:cubicBezTo>
                    <a:pt x="232141" y="165413"/>
                    <a:pt x="236232" y="153014"/>
                    <a:pt x="236232" y="140486"/>
                  </a:cubicBezTo>
                  <a:lnTo>
                    <a:pt x="236232" y="115687"/>
                  </a:lnTo>
                  <a:lnTo>
                    <a:pt x="253361" y="115687"/>
                  </a:lnTo>
                  <a:cubicBezTo>
                    <a:pt x="263460" y="114664"/>
                    <a:pt x="272536" y="102137"/>
                    <a:pt x="262437" y="87692"/>
                  </a:cubicBezTo>
                  <a:lnTo>
                    <a:pt x="262437" y="87692"/>
                  </a:lnTo>
                  <a:lnTo>
                    <a:pt x="262437" y="87692"/>
                  </a:lnTo>
                  <a:lnTo>
                    <a:pt x="262437" y="87692"/>
                  </a:lnTo>
                  <a:lnTo>
                    <a:pt x="235209" y="38861"/>
                  </a:lnTo>
                  <a:lnTo>
                    <a:pt x="235209" y="36815"/>
                  </a:lnTo>
                  <a:cubicBezTo>
                    <a:pt x="235848" y="24160"/>
                    <a:pt x="234442" y="11760"/>
                    <a:pt x="231502" y="0"/>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E3E0C26B-18D7-4DE6-A9A2-FB19DCA7AF8E}"/>
              </a:ext>
            </a:extLst>
          </p:cNvPr>
          <p:cNvGrpSpPr/>
          <p:nvPr/>
        </p:nvGrpSpPr>
        <p:grpSpPr>
          <a:xfrm>
            <a:off x="10192797" y="1826759"/>
            <a:ext cx="499721" cy="437966"/>
            <a:chOff x="5762625" y="3138487"/>
            <a:chExt cx="666177" cy="583882"/>
          </a:xfrm>
        </p:grpSpPr>
        <p:sp>
          <p:nvSpPr>
            <p:cNvPr id="179" name="Freeform: Shape 178">
              <a:extLst>
                <a:ext uri="{FF2B5EF4-FFF2-40B4-BE49-F238E27FC236}">
                  <a16:creationId xmlns:a16="http://schemas.microsoft.com/office/drawing/2014/main" id="{CA7C6581-7889-4E64-B86C-E79D69644DE3}"/>
                </a:ext>
              </a:extLst>
            </p:cNvPr>
            <p:cNvSpPr/>
            <p:nvPr/>
          </p:nvSpPr>
          <p:spPr>
            <a:xfrm>
              <a:off x="6094952" y="3246881"/>
              <a:ext cx="9525" cy="162591"/>
            </a:xfrm>
            <a:custGeom>
              <a:avLst/>
              <a:gdLst>
                <a:gd name="connsiteX0" fmla="*/ 0 w 9525"/>
                <a:gd name="connsiteY0" fmla="*/ 0 h 162591"/>
                <a:gd name="connsiteX1" fmla="*/ 0 w 9525"/>
                <a:gd name="connsiteY1" fmla="*/ 162592 h 162591"/>
              </a:gdLst>
              <a:ahLst/>
              <a:cxnLst>
                <a:cxn ang="0">
                  <a:pos x="connsiteX0" y="connsiteY0"/>
                </a:cxn>
                <a:cxn ang="0">
                  <a:pos x="connsiteX1" y="connsiteY1"/>
                </a:cxn>
              </a:cxnLst>
              <a:rect l="l" t="t" r="r" b="b"/>
              <a:pathLst>
                <a:path w="9525" h="162591">
                  <a:moveTo>
                    <a:pt x="0" y="0"/>
                  </a:moveTo>
                  <a:lnTo>
                    <a:pt x="0" y="162592"/>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16F4810-5934-4D1B-9295-50D98365DB01}"/>
                </a:ext>
              </a:extLst>
            </p:cNvPr>
            <p:cNvSpPr/>
            <p:nvPr/>
          </p:nvSpPr>
          <p:spPr>
            <a:xfrm>
              <a:off x="5818251" y="3328225"/>
              <a:ext cx="553307" cy="81248"/>
            </a:xfrm>
            <a:custGeom>
              <a:avLst/>
              <a:gdLst>
                <a:gd name="connsiteX0" fmla="*/ 553307 w 553307"/>
                <a:gd name="connsiteY0" fmla="*/ 81248 h 81248"/>
                <a:gd name="connsiteX1" fmla="*/ 553307 w 553307"/>
                <a:gd name="connsiteY1" fmla="*/ 0 h 81248"/>
                <a:gd name="connsiteX2" fmla="*/ 0 w 553307"/>
                <a:gd name="connsiteY2" fmla="*/ 0 h 81248"/>
                <a:gd name="connsiteX3" fmla="*/ 0 w 553307"/>
                <a:gd name="connsiteY3" fmla="*/ 81248 h 81248"/>
              </a:gdLst>
              <a:ahLst/>
              <a:cxnLst>
                <a:cxn ang="0">
                  <a:pos x="connsiteX0" y="connsiteY0"/>
                </a:cxn>
                <a:cxn ang="0">
                  <a:pos x="connsiteX1" y="connsiteY1"/>
                </a:cxn>
                <a:cxn ang="0">
                  <a:pos x="connsiteX2" y="connsiteY2"/>
                </a:cxn>
                <a:cxn ang="0">
                  <a:pos x="connsiteX3" y="connsiteY3"/>
                </a:cxn>
              </a:cxnLst>
              <a:rect l="l" t="t" r="r" b="b"/>
              <a:pathLst>
                <a:path w="553307" h="81248">
                  <a:moveTo>
                    <a:pt x="553307" y="81248"/>
                  </a:moveTo>
                  <a:lnTo>
                    <a:pt x="553307" y="0"/>
                  </a:lnTo>
                  <a:lnTo>
                    <a:pt x="0" y="0"/>
                  </a:lnTo>
                  <a:lnTo>
                    <a:pt x="0" y="81248"/>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2201425C-14DE-4A52-84B2-9BD212B7FCAD}"/>
                </a:ext>
              </a:extLst>
            </p:cNvPr>
            <p:cNvSpPr/>
            <p:nvPr/>
          </p:nvSpPr>
          <p:spPr>
            <a:xfrm>
              <a:off x="6151340" y="3517867"/>
              <a:ext cx="220217" cy="137350"/>
            </a:xfrm>
            <a:custGeom>
              <a:avLst/>
              <a:gdLst>
                <a:gd name="connsiteX0" fmla="*/ 220218 w 220217"/>
                <a:gd name="connsiteY0" fmla="*/ 0 h 137350"/>
                <a:gd name="connsiteX1" fmla="*/ 220218 w 220217"/>
                <a:gd name="connsiteY1" fmla="*/ 137350 h 137350"/>
                <a:gd name="connsiteX2" fmla="*/ 0 w 220217"/>
                <a:gd name="connsiteY2" fmla="*/ 137350 h 137350"/>
              </a:gdLst>
              <a:ahLst/>
              <a:cxnLst>
                <a:cxn ang="0">
                  <a:pos x="connsiteX0" y="connsiteY0"/>
                </a:cxn>
                <a:cxn ang="0">
                  <a:pos x="connsiteX1" y="connsiteY1"/>
                </a:cxn>
                <a:cxn ang="0">
                  <a:pos x="connsiteX2" y="connsiteY2"/>
                </a:cxn>
              </a:cxnLst>
              <a:rect l="l" t="t" r="r" b="b"/>
              <a:pathLst>
                <a:path w="220217" h="137350">
                  <a:moveTo>
                    <a:pt x="220218" y="0"/>
                  </a:moveTo>
                  <a:lnTo>
                    <a:pt x="220218" y="137350"/>
                  </a:lnTo>
                  <a:lnTo>
                    <a:pt x="0" y="137350"/>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6FDB0A69-88C0-47A4-9FFF-48CF03EB40AC}"/>
                </a:ext>
              </a:extLst>
            </p:cNvPr>
            <p:cNvSpPr/>
            <p:nvPr/>
          </p:nvSpPr>
          <p:spPr>
            <a:xfrm>
              <a:off x="5762625" y="3409473"/>
              <a:ext cx="111252" cy="108394"/>
            </a:xfrm>
            <a:custGeom>
              <a:avLst/>
              <a:gdLst>
                <a:gd name="connsiteX0" fmla="*/ 111252 w 111252"/>
                <a:gd name="connsiteY0" fmla="*/ 108395 h 108394"/>
                <a:gd name="connsiteX1" fmla="*/ 0 w 111252"/>
                <a:gd name="connsiteY1" fmla="*/ 108395 h 108394"/>
                <a:gd name="connsiteX2" fmla="*/ 0 w 111252"/>
                <a:gd name="connsiteY2" fmla="*/ 0 h 108394"/>
                <a:gd name="connsiteX3" fmla="*/ 111252 w 111252"/>
                <a:gd name="connsiteY3" fmla="*/ 0 h 108394"/>
                <a:gd name="connsiteX4" fmla="*/ 111252 w 111252"/>
                <a:gd name="connsiteY4" fmla="*/ 108395 h 10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52" h="108394">
                  <a:moveTo>
                    <a:pt x="111252" y="108395"/>
                  </a:moveTo>
                  <a:lnTo>
                    <a:pt x="0" y="108395"/>
                  </a:lnTo>
                  <a:lnTo>
                    <a:pt x="0" y="0"/>
                  </a:lnTo>
                  <a:lnTo>
                    <a:pt x="111252" y="0"/>
                  </a:lnTo>
                  <a:lnTo>
                    <a:pt x="111252" y="108395"/>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6CB356A1-A38A-4942-BC40-BA79D5A6363D}"/>
                </a:ext>
              </a:extLst>
            </p:cNvPr>
            <p:cNvSpPr/>
            <p:nvPr/>
          </p:nvSpPr>
          <p:spPr>
            <a:xfrm>
              <a:off x="6040183" y="3409473"/>
              <a:ext cx="111156" cy="108394"/>
            </a:xfrm>
            <a:custGeom>
              <a:avLst/>
              <a:gdLst>
                <a:gd name="connsiteX0" fmla="*/ 111157 w 111156"/>
                <a:gd name="connsiteY0" fmla="*/ 0 h 108394"/>
                <a:gd name="connsiteX1" fmla="*/ 0 w 111156"/>
                <a:gd name="connsiteY1" fmla="*/ 0 h 108394"/>
                <a:gd name="connsiteX2" fmla="*/ 0 w 111156"/>
                <a:gd name="connsiteY2" fmla="*/ 108395 h 108394"/>
                <a:gd name="connsiteX3" fmla="*/ 111157 w 111156"/>
                <a:gd name="connsiteY3" fmla="*/ 108395 h 108394"/>
                <a:gd name="connsiteX4" fmla="*/ 111157 w 111156"/>
                <a:gd name="connsiteY4" fmla="*/ 0 h 10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6" h="108394">
                  <a:moveTo>
                    <a:pt x="111157" y="0"/>
                  </a:moveTo>
                  <a:lnTo>
                    <a:pt x="0" y="0"/>
                  </a:lnTo>
                  <a:lnTo>
                    <a:pt x="0" y="108395"/>
                  </a:lnTo>
                  <a:lnTo>
                    <a:pt x="111157" y="108395"/>
                  </a:lnTo>
                  <a:lnTo>
                    <a:pt x="111157" y="0"/>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016BFC3B-9270-477B-9962-61D38BE8FD3C}"/>
                </a:ext>
              </a:extLst>
            </p:cNvPr>
            <p:cNvSpPr/>
            <p:nvPr/>
          </p:nvSpPr>
          <p:spPr>
            <a:xfrm>
              <a:off x="6317646" y="3409473"/>
              <a:ext cx="111156" cy="108394"/>
            </a:xfrm>
            <a:custGeom>
              <a:avLst/>
              <a:gdLst>
                <a:gd name="connsiteX0" fmla="*/ 111157 w 111156"/>
                <a:gd name="connsiteY0" fmla="*/ 0 h 108394"/>
                <a:gd name="connsiteX1" fmla="*/ 0 w 111156"/>
                <a:gd name="connsiteY1" fmla="*/ 0 h 108394"/>
                <a:gd name="connsiteX2" fmla="*/ 0 w 111156"/>
                <a:gd name="connsiteY2" fmla="*/ 108395 h 108394"/>
                <a:gd name="connsiteX3" fmla="*/ 111157 w 111156"/>
                <a:gd name="connsiteY3" fmla="*/ 108395 h 108394"/>
                <a:gd name="connsiteX4" fmla="*/ 111157 w 111156"/>
                <a:gd name="connsiteY4" fmla="*/ 0 h 10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6" h="108394">
                  <a:moveTo>
                    <a:pt x="111157" y="0"/>
                  </a:moveTo>
                  <a:lnTo>
                    <a:pt x="0" y="0"/>
                  </a:lnTo>
                  <a:lnTo>
                    <a:pt x="0" y="108395"/>
                  </a:lnTo>
                  <a:lnTo>
                    <a:pt x="111157" y="108395"/>
                  </a:lnTo>
                  <a:lnTo>
                    <a:pt x="111157" y="0"/>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65ACFD8E-F811-4D6A-8908-039DE0E8A6E6}"/>
                </a:ext>
              </a:extLst>
            </p:cNvPr>
            <p:cNvSpPr/>
            <p:nvPr/>
          </p:nvSpPr>
          <p:spPr>
            <a:xfrm>
              <a:off x="6040183" y="3138487"/>
              <a:ext cx="111156" cy="108394"/>
            </a:xfrm>
            <a:custGeom>
              <a:avLst/>
              <a:gdLst>
                <a:gd name="connsiteX0" fmla="*/ 111157 w 111156"/>
                <a:gd name="connsiteY0" fmla="*/ 0 h 108394"/>
                <a:gd name="connsiteX1" fmla="*/ 0 w 111156"/>
                <a:gd name="connsiteY1" fmla="*/ 0 h 108394"/>
                <a:gd name="connsiteX2" fmla="*/ 0 w 111156"/>
                <a:gd name="connsiteY2" fmla="*/ 108395 h 108394"/>
                <a:gd name="connsiteX3" fmla="*/ 111157 w 111156"/>
                <a:gd name="connsiteY3" fmla="*/ 108395 h 108394"/>
                <a:gd name="connsiteX4" fmla="*/ 111157 w 111156"/>
                <a:gd name="connsiteY4" fmla="*/ 0 h 10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6" h="108394">
                  <a:moveTo>
                    <a:pt x="111157" y="0"/>
                  </a:moveTo>
                  <a:lnTo>
                    <a:pt x="0" y="0"/>
                  </a:lnTo>
                  <a:lnTo>
                    <a:pt x="0" y="108395"/>
                  </a:lnTo>
                  <a:lnTo>
                    <a:pt x="111157" y="108395"/>
                  </a:lnTo>
                  <a:lnTo>
                    <a:pt x="111157" y="0"/>
                  </a:ln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81476A6-023A-4DDD-874A-EE5107FB0FD0}"/>
                </a:ext>
              </a:extLst>
            </p:cNvPr>
            <p:cNvSpPr/>
            <p:nvPr/>
          </p:nvSpPr>
          <p:spPr>
            <a:xfrm>
              <a:off x="6038564" y="3598830"/>
              <a:ext cx="112776" cy="112776"/>
            </a:xfrm>
            <a:custGeom>
              <a:avLst/>
              <a:gdLst>
                <a:gd name="connsiteX0" fmla="*/ 112776 w 112776"/>
                <a:gd name="connsiteY0" fmla="*/ 56388 h 112776"/>
                <a:gd name="connsiteX1" fmla="*/ 56388 w 112776"/>
                <a:gd name="connsiteY1" fmla="*/ 112776 h 112776"/>
                <a:gd name="connsiteX2" fmla="*/ 0 w 112776"/>
                <a:gd name="connsiteY2" fmla="*/ 56388 h 112776"/>
                <a:gd name="connsiteX3" fmla="*/ 56388 w 112776"/>
                <a:gd name="connsiteY3" fmla="*/ 0 h 112776"/>
                <a:gd name="connsiteX4" fmla="*/ 112776 w 112776"/>
                <a:gd name="connsiteY4" fmla="*/ 56388 h 112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76" h="112776">
                  <a:moveTo>
                    <a:pt x="112776" y="56388"/>
                  </a:moveTo>
                  <a:cubicBezTo>
                    <a:pt x="112776" y="87530"/>
                    <a:pt x="87530" y="112776"/>
                    <a:pt x="56388" y="112776"/>
                  </a:cubicBezTo>
                  <a:cubicBezTo>
                    <a:pt x="25246" y="112776"/>
                    <a:pt x="0" y="87530"/>
                    <a:pt x="0" y="56388"/>
                  </a:cubicBezTo>
                  <a:cubicBezTo>
                    <a:pt x="0" y="25246"/>
                    <a:pt x="25246" y="0"/>
                    <a:pt x="56388" y="0"/>
                  </a:cubicBezTo>
                  <a:cubicBezTo>
                    <a:pt x="87530" y="0"/>
                    <a:pt x="112776" y="25246"/>
                    <a:pt x="112776" y="56388"/>
                  </a:cubicBezTo>
                  <a:close/>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87" name="Graphic 455">
              <a:extLst>
                <a:ext uri="{FF2B5EF4-FFF2-40B4-BE49-F238E27FC236}">
                  <a16:creationId xmlns:a16="http://schemas.microsoft.com/office/drawing/2014/main" id="{CC62F9EB-74B2-4E76-A923-FA6F8E53E08F}"/>
                </a:ext>
              </a:extLst>
            </p:cNvPr>
            <p:cNvGrpSpPr/>
            <p:nvPr/>
          </p:nvGrpSpPr>
          <p:grpSpPr>
            <a:xfrm>
              <a:off x="6226206" y="3598734"/>
              <a:ext cx="70485" cy="123635"/>
              <a:chOff x="6226206" y="3598734"/>
              <a:chExt cx="70485" cy="123635"/>
            </a:xfrm>
            <a:noFill/>
          </p:grpSpPr>
          <p:sp>
            <p:nvSpPr>
              <p:cNvPr id="188" name="Freeform: Shape 187">
                <a:extLst>
                  <a:ext uri="{FF2B5EF4-FFF2-40B4-BE49-F238E27FC236}">
                    <a16:creationId xmlns:a16="http://schemas.microsoft.com/office/drawing/2014/main" id="{F7A30724-C7EB-4CA1-ABB1-B944AD3F2F25}"/>
                  </a:ext>
                </a:extLst>
              </p:cNvPr>
              <p:cNvSpPr/>
              <p:nvPr/>
            </p:nvSpPr>
            <p:spPr>
              <a:xfrm>
                <a:off x="6230969" y="3598734"/>
                <a:ext cx="65722" cy="49434"/>
              </a:xfrm>
              <a:custGeom>
                <a:avLst/>
                <a:gdLst>
                  <a:gd name="connsiteX0" fmla="*/ 0 w 65722"/>
                  <a:gd name="connsiteY0" fmla="*/ 49435 h 49434"/>
                  <a:gd name="connsiteX1" fmla="*/ 65723 w 65722"/>
                  <a:gd name="connsiteY1" fmla="*/ 0 h 49434"/>
                </a:gdLst>
                <a:ahLst/>
                <a:cxnLst>
                  <a:cxn ang="0">
                    <a:pos x="connsiteX0" y="connsiteY0"/>
                  </a:cxn>
                  <a:cxn ang="0">
                    <a:pos x="connsiteX1" y="connsiteY1"/>
                  </a:cxn>
                </a:cxnLst>
                <a:rect l="l" t="t" r="r" b="b"/>
                <a:pathLst>
                  <a:path w="65722" h="49434">
                    <a:moveTo>
                      <a:pt x="0" y="49435"/>
                    </a:moveTo>
                    <a:cubicBezTo>
                      <a:pt x="65723" y="0"/>
                      <a:pt x="65723" y="0"/>
                      <a:pt x="65723" y="0"/>
                    </a:cubicBez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2958339-AFE2-4B78-BD87-BBF7D2944FF7}"/>
                  </a:ext>
                </a:extLst>
              </p:cNvPr>
              <p:cNvSpPr/>
              <p:nvPr/>
            </p:nvSpPr>
            <p:spPr>
              <a:xfrm>
                <a:off x="6226206" y="3645312"/>
                <a:ext cx="53149" cy="77057"/>
              </a:xfrm>
              <a:custGeom>
                <a:avLst/>
                <a:gdLst>
                  <a:gd name="connsiteX0" fmla="*/ 8573 w 53149"/>
                  <a:gd name="connsiteY0" fmla="*/ 0 h 77057"/>
                  <a:gd name="connsiteX1" fmla="*/ 0 w 53149"/>
                  <a:gd name="connsiteY1" fmla="*/ 6477 h 77057"/>
                  <a:gd name="connsiteX2" fmla="*/ 53150 w 53149"/>
                  <a:gd name="connsiteY2" fmla="*/ 77057 h 77057"/>
                </a:gdLst>
                <a:ahLst/>
                <a:cxnLst>
                  <a:cxn ang="0">
                    <a:pos x="connsiteX0" y="connsiteY0"/>
                  </a:cxn>
                  <a:cxn ang="0">
                    <a:pos x="connsiteX1" y="connsiteY1"/>
                  </a:cxn>
                  <a:cxn ang="0">
                    <a:pos x="connsiteX2" y="connsiteY2"/>
                  </a:cxn>
                </a:cxnLst>
                <a:rect l="l" t="t" r="r" b="b"/>
                <a:pathLst>
                  <a:path w="53149" h="77057">
                    <a:moveTo>
                      <a:pt x="8573" y="0"/>
                    </a:moveTo>
                    <a:cubicBezTo>
                      <a:pt x="0" y="6477"/>
                      <a:pt x="0" y="6477"/>
                      <a:pt x="0" y="6477"/>
                    </a:cubicBezTo>
                    <a:cubicBezTo>
                      <a:pt x="53150" y="77057"/>
                      <a:pt x="53150" y="77057"/>
                      <a:pt x="53150" y="77057"/>
                    </a:cubicBezTo>
                  </a:path>
                </a:pathLst>
              </a:custGeom>
              <a:ln w="1270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0" name="Rectangle: Rounded Corners 99">
            <a:extLst>
              <a:ext uri="{FF2B5EF4-FFF2-40B4-BE49-F238E27FC236}">
                <a16:creationId xmlns:a16="http://schemas.microsoft.com/office/drawing/2014/main" id="{2C8E11B0-8E9C-47CA-A594-18DCFB0707F7}"/>
              </a:ext>
            </a:extLst>
          </p:cNvPr>
          <p:cNvSpPr/>
          <p:nvPr/>
        </p:nvSpPr>
        <p:spPr bwMode="auto">
          <a:xfrm>
            <a:off x="4361345" y="3740566"/>
            <a:ext cx="3500130" cy="1059592"/>
          </a:xfrm>
          <a:prstGeom prst="roundRect">
            <a:avLst>
              <a:gd name="adj" fmla="val 4444"/>
            </a:avLst>
          </a:prstGeom>
          <a:noFill/>
          <a:ln w="9525" cap="flat" cmpd="sng" algn="ctr">
            <a:solidFill>
              <a:schemeClr val="tx2"/>
            </a:solidFill>
            <a:prstDash val="dash"/>
            <a:miter lim="800000"/>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600"/>
              </a:spcAft>
              <a:buClrTx/>
              <a:buSzPct val="90000"/>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URCHASE PROTECTION </a:t>
            </a:r>
            <a:r>
              <a:rPr kumimoji="0" lang="en-US" sz="1600" b="0" i="0" u="none" strike="noStrike" kern="1200" cap="none" spc="0" normalizeH="0" baseline="0" noProof="0">
                <a:ln>
                  <a:noFill/>
                </a:ln>
                <a:solidFill>
                  <a:srgbClr val="0078D4"/>
                </a:solidFill>
                <a:effectLst/>
                <a:uLnTx/>
                <a:uFillTx/>
                <a:latin typeface="Segoe UI"/>
                <a:ea typeface="+mn-ea"/>
                <a:cs typeface="+mn-cs"/>
              </a:rPr>
              <a:t>features</a:t>
            </a:r>
          </a:p>
        </p:txBody>
      </p:sp>
      <p:sp>
        <p:nvSpPr>
          <p:cNvPr id="146" name="TextBox 145">
            <a:extLst>
              <a:ext uri="{FF2B5EF4-FFF2-40B4-BE49-F238E27FC236}">
                <a16:creationId xmlns:a16="http://schemas.microsoft.com/office/drawing/2014/main" id="{1B80489A-C9DC-43DB-B60F-C4A3BA82D7C3}"/>
              </a:ext>
            </a:extLst>
          </p:cNvPr>
          <p:cNvSpPr txBox="1"/>
          <p:nvPr/>
        </p:nvSpPr>
        <p:spPr>
          <a:xfrm>
            <a:off x="4262520" y="5328700"/>
            <a:ext cx="1930485"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Transaction acceptance</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booster </a:t>
            </a:r>
          </a:p>
        </p:txBody>
      </p:sp>
      <p:sp>
        <p:nvSpPr>
          <p:cNvPr id="147" name="TextBox 146">
            <a:extLst>
              <a:ext uri="{FF2B5EF4-FFF2-40B4-BE49-F238E27FC236}">
                <a16:creationId xmlns:a16="http://schemas.microsoft.com/office/drawing/2014/main" id="{64703B31-2019-4EAF-ADE3-031E9BA93628}"/>
              </a:ext>
            </a:extLst>
          </p:cNvPr>
          <p:cNvSpPr txBox="1"/>
          <p:nvPr/>
        </p:nvSpPr>
        <p:spPr>
          <a:xfrm>
            <a:off x="6112802" y="5328700"/>
            <a:ext cx="1930485"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Customer escalation</a:t>
            </a:r>
            <a:br>
              <a:rPr kumimoji="0" lang="en-US" sz="1400" b="0" i="0" u="none" strike="noStrike" kern="1200" cap="none" spc="0" normalizeH="0" baseline="0" noProof="0">
                <a:ln>
                  <a:noFill/>
                </a:ln>
                <a:solidFill>
                  <a:srgbClr val="000000"/>
                </a:solidFill>
                <a:effectLst/>
                <a:uLnTx/>
                <a:uFillTx/>
                <a:latin typeface="Segoe UI Semibold"/>
                <a:ea typeface="+mn-ea"/>
                <a:cs typeface="+mn-cs"/>
              </a:rPr>
            </a:br>
            <a:r>
              <a:rPr kumimoji="0" lang="en-US" sz="1400" b="0" i="0" u="none" strike="noStrike" kern="1200" cap="none" spc="0" normalizeH="0" baseline="0" noProof="0">
                <a:ln>
                  <a:noFill/>
                </a:ln>
                <a:solidFill>
                  <a:srgbClr val="000000"/>
                </a:solidFill>
                <a:effectLst/>
                <a:uLnTx/>
                <a:uFillTx/>
                <a:latin typeface="Segoe UI Semibold"/>
                <a:ea typeface="+mn-ea"/>
                <a:cs typeface="+mn-cs"/>
              </a:rPr>
              <a:t>support tool</a:t>
            </a:r>
          </a:p>
        </p:txBody>
      </p:sp>
      <p:grpSp>
        <p:nvGrpSpPr>
          <p:cNvPr id="82" name="Group 81">
            <a:extLst>
              <a:ext uri="{FF2B5EF4-FFF2-40B4-BE49-F238E27FC236}">
                <a16:creationId xmlns:a16="http://schemas.microsoft.com/office/drawing/2014/main" id="{71FDAA63-5052-4B13-9F60-9796145507D8}"/>
              </a:ext>
            </a:extLst>
          </p:cNvPr>
          <p:cNvGrpSpPr/>
          <p:nvPr/>
        </p:nvGrpSpPr>
        <p:grpSpPr>
          <a:xfrm>
            <a:off x="4694879" y="4223314"/>
            <a:ext cx="1071522" cy="1071522"/>
            <a:chOff x="1132480" y="4631050"/>
            <a:chExt cx="526344" cy="526344"/>
          </a:xfrm>
        </p:grpSpPr>
        <p:sp>
          <p:nvSpPr>
            <p:cNvPr id="83" name="Oval 82">
              <a:extLst>
                <a:ext uri="{FF2B5EF4-FFF2-40B4-BE49-F238E27FC236}">
                  <a16:creationId xmlns:a16="http://schemas.microsoft.com/office/drawing/2014/main" id="{2B953C0C-7064-4BE9-847D-8124A5FF8F5D}"/>
                </a:ext>
              </a:extLst>
            </p:cNvPr>
            <p:cNvSpPr/>
            <p:nvPr/>
          </p:nvSpPr>
          <p:spPr bwMode="auto">
            <a:xfrm>
              <a:off x="1161627" y="4660197"/>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0A9DBA1C-D468-415E-A52C-3D1FAC8A8F20}"/>
                </a:ext>
              </a:extLst>
            </p:cNvPr>
            <p:cNvSpPr/>
            <p:nvPr/>
          </p:nvSpPr>
          <p:spPr bwMode="auto">
            <a:xfrm>
              <a:off x="1132480" y="4631050"/>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grpSp>
        <p:nvGrpSpPr>
          <p:cNvPr id="85" name="Group 84">
            <a:extLst>
              <a:ext uri="{FF2B5EF4-FFF2-40B4-BE49-F238E27FC236}">
                <a16:creationId xmlns:a16="http://schemas.microsoft.com/office/drawing/2014/main" id="{E164D5E0-093C-40B7-9622-5608DB7BAEEB}"/>
              </a:ext>
            </a:extLst>
          </p:cNvPr>
          <p:cNvGrpSpPr/>
          <p:nvPr/>
        </p:nvGrpSpPr>
        <p:grpSpPr>
          <a:xfrm>
            <a:off x="6449697" y="4223314"/>
            <a:ext cx="1071522" cy="1071522"/>
            <a:chOff x="1132480" y="4631050"/>
            <a:chExt cx="526344" cy="526344"/>
          </a:xfrm>
        </p:grpSpPr>
        <p:sp>
          <p:nvSpPr>
            <p:cNvPr id="86" name="Oval 85">
              <a:extLst>
                <a:ext uri="{FF2B5EF4-FFF2-40B4-BE49-F238E27FC236}">
                  <a16:creationId xmlns:a16="http://schemas.microsoft.com/office/drawing/2014/main" id="{008AE3B5-FC7A-416E-AAC4-B5BC19A8C1EE}"/>
                </a:ext>
              </a:extLst>
            </p:cNvPr>
            <p:cNvSpPr/>
            <p:nvPr/>
          </p:nvSpPr>
          <p:spPr bwMode="auto">
            <a:xfrm>
              <a:off x="1161627" y="4660197"/>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74843DF4-5C4F-46BE-980F-4CEC8F3997BB}"/>
                </a:ext>
              </a:extLst>
            </p:cNvPr>
            <p:cNvSpPr/>
            <p:nvPr/>
          </p:nvSpPr>
          <p:spPr bwMode="auto">
            <a:xfrm>
              <a:off x="1132480" y="4631050"/>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sp>
        <p:nvSpPr>
          <p:cNvPr id="101" name="Rectangle: Rounded Corners 100">
            <a:extLst>
              <a:ext uri="{FF2B5EF4-FFF2-40B4-BE49-F238E27FC236}">
                <a16:creationId xmlns:a16="http://schemas.microsoft.com/office/drawing/2014/main" id="{1B185544-F551-471B-8D95-DA2D0E980762}"/>
              </a:ext>
            </a:extLst>
          </p:cNvPr>
          <p:cNvSpPr/>
          <p:nvPr/>
        </p:nvSpPr>
        <p:spPr bwMode="auto">
          <a:xfrm>
            <a:off x="8093953" y="3740566"/>
            <a:ext cx="3500130" cy="1059592"/>
          </a:xfrm>
          <a:prstGeom prst="roundRect">
            <a:avLst>
              <a:gd name="adj" fmla="val 4444"/>
            </a:avLst>
          </a:prstGeom>
          <a:noFill/>
          <a:ln w="9525" cap="flat" cmpd="sng" algn="ctr">
            <a:solidFill>
              <a:schemeClr val="tx2"/>
            </a:solidFill>
            <a:prstDash val="dash"/>
            <a:miter lim="800000"/>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600"/>
              </a:spcBef>
              <a:spcAft>
                <a:spcPts val="600"/>
              </a:spcAft>
              <a:buClrTx/>
              <a:buSzPct val="90000"/>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LOSS PREVENTION </a:t>
            </a:r>
            <a:r>
              <a:rPr kumimoji="0" lang="en-US" sz="1600" b="0" i="0" u="none" strike="noStrike" kern="1200" cap="none" spc="0" normalizeH="0" baseline="0" noProof="0">
                <a:ln>
                  <a:noFill/>
                </a:ln>
                <a:solidFill>
                  <a:srgbClr val="0078D4"/>
                </a:solidFill>
                <a:effectLst/>
                <a:uLnTx/>
                <a:uFillTx/>
                <a:latin typeface="Segoe UI"/>
                <a:ea typeface="+mn-ea"/>
                <a:cs typeface="+mn-cs"/>
              </a:rPr>
              <a:t>features</a:t>
            </a:r>
          </a:p>
        </p:txBody>
      </p:sp>
      <p:sp>
        <p:nvSpPr>
          <p:cNvPr id="149" name="TextBox 148">
            <a:extLst>
              <a:ext uri="{FF2B5EF4-FFF2-40B4-BE49-F238E27FC236}">
                <a16:creationId xmlns:a16="http://schemas.microsoft.com/office/drawing/2014/main" id="{70A3FF7F-8558-4A85-ACCD-8CD8359A1D53}"/>
              </a:ext>
            </a:extLst>
          </p:cNvPr>
          <p:cNvSpPr txBox="1"/>
          <p:nvPr/>
        </p:nvSpPr>
        <p:spPr>
          <a:xfrm>
            <a:off x="8090907" y="5328700"/>
            <a:ext cx="1745312"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Business intelligence reporting</a:t>
            </a:r>
          </a:p>
        </p:txBody>
      </p:sp>
      <p:sp>
        <p:nvSpPr>
          <p:cNvPr id="150" name="TextBox 149">
            <a:extLst>
              <a:ext uri="{FF2B5EF4-FFF2-40B4-BE49-F238E27FC236}">
                <a16:creationId xmlns:a16="http://schemas.microsoft.com/office/drawing/2014/main" id="{6AF19EBE-BB81-4511-BB96-5D9379A09151}"/>
              </a:ext>
            </a:extLst>
          </p:cNvPr>
          <p:cNvSpPr txBox="1"/>
          <p:nvPr/>
        </p:nvSpPr>
        <p:spPr>
          <a:xfrm>
            <a:off x="9941257" y="5328700"/>
            <a:ext cx="1546084" cy="462171"/>
          </a:xfrm>
          <a:prstGeom prst="rect">
            <a:avLst/>
          </a:prstGeom>
          <a:noFill/>
        </p:spPr>
        <p:txBody>
          <a:bodyPr wrap="square"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utomated discovery</a:t>
            </a:r>
          </a:p>
        </p:txBody>
      </p:sp>
      <p:grpSp>
        <p:nvGrpSpPr>
          <p:cNvPr id="88" name="Group 87">
            <a:extLst>
              <a:ext uri="{FF2B5EF4-FFF2-40B4-BE49-F238E27FC236}">
                <a16:creationId xmlns:a16="http://schemas.microsoft.com/office/drawing/2014/main" id="{F337966D-4640-4F79-A9B3-87B28E71D520}"/>
              </a:ext>
            </a:extLst>
          </p:cNvPr>
          <p:cNvGrpSpPr/>
          <p:nvPr/>
        </p:nvGrpSpPr>
        <p:grpSpPr>
          <a:xfrm>
            <a:off x="8427802" y="4223314"/>
            <a:ext cx="1071522" cy="1071522"/>
            <a:chOff x="1132480" y="4631050"/>
            <a:chExt cx="526344" cy="526344"/>
          </a:xfrm>
        </p:grpSpPr>
        <p:sp>
          <p:nvSpPr>
            <p:cNvPr id="89" name="Oval 88">
              <a:extLst>
                <a:ext uri="{FF2B5EF4-FFF2-40B4-BE49-F238E27FC236}">
                  <a16:creationId xmlns:a16="http://schemas.microsoft.com/office/drawing/2014/main" id="{8370203E-C54D-4ABA-9A57-475A75AA39B6}"/>
                </a:ext>
              </a:extLst>
            </p:cNvPr>
            <p:cNvSpPr/>
            <p:nvPr/>
          </p:nvSpPr>
          <p:spPr bwMode="auto">
            <a:xfrm>
              <a:off x="1161627" y="4660197"/>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DAAAE0BC-3519-4220-80A0-DDAF4292DC9F}"/>
                </a:ext>
              </a:extLst>
            </p:cNvPr>
            <p:cNvSpPr/>
            <p:nvPr/>
          </p:nvSpPr>
          <p:spPr bwMode="auto">
            <a:xfrm>
              <a:off x="1132480" y="4631050"/>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grpSp>
        <p:nvGrpSpPr>
          <p:cNvPr id="91" name="Group 90">
            <a:extLst>
              <a:ext uri="{FF2B5EF4-FFF2-40B4-BE49-F238E27FC236}">
                <a16:creationId xmlns:a16="http://schemas.microsoft.com/office/drawing/2014/main" id="{05DD19B8-8754-4D0D-994D-AC5C7B938834}"/>
              </a:ext>
            </a:extLst>
          </p:cNvPr>
          <p:cNvGrpSpPr/>
          <p:nvPr/>
        </p:nvGrpSpPr>
        <p:grpSpPr>
          <a:xfrm>
            <a:off x="10182620" y="4204324"/>
            <a:ext cx="1071522" cy="1071522"/>
            <a:chOff x="1132480" y="4601905"/>
            <a:chExt cx="526344" cy="526344"/>
          </a:xfrm>
        </p:grpSpPr>
        <p:sp>
          <p:nvSpPr>
            <p:cNvPr id="92" name="Oval 91">
              <a:extLst>
                <a:ext uri="{FF2B5EF4-FFF2-40B4-BE49-F238E27FC236}">
                  <a16:creationId xmlns:a16="http://schemas.microsoft.com/office/drawing/2014/main" id="{6C83D028-C33D-4BC6-872E-005D9851AF81}"/>
                </a:ext>
              </a:extLst>
            </p:cNvPr>
            <p:cNvSpPr/>
            <p:nvPr/>
          </p:nvSpPr>
          <p:spPr bwMode="auto">
            <a:xfrm>
              <a:off x="1161627" y="4634174"/>
              <a:ext cx="468051" cy="46805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2CF75B80-7A6D-4721-88B9-F268ABB103A4}"/>
                </a:ext>
              </a:extLst>
            </p:cNvPr>
            <p:cNvSpPr/>
            <p:nvPr/>
          </p:nvSpPr>
          <p:spPr bwMode="auto">
            <a:xfrm>
              <a:off x="1132480" y="4601905"/>
              <a:ext cx="526344" cy="526344"/>
            </a:xfrm>
            <a:prstGeom prst="ellipse">
              <a:avLst/>
            </a:prstGeom>
            <a:noFill/>
            <a:ln w="9525" cap="flat" cmpd="sng" algn="ctr">
              <a:solidFill>
                <a:schemeClr val="tx2"/>
              </a:solid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50" normalizeH="0" baseline="0" noProof="0">
                <a:ln>
                  <a:noFill/>
                </a:ln>
                <a:solidFill>
                  <a:prstClr val="white"/>
                </a:solidFill>
                <a:effectLst/>
                <a:uLnTx/>
                <a:uFillTx/>
                <a:latin typeface="Segoe UI Semibold"/>
                <a:ea typeface="+mn-ea"/>
                <a:cs typeface="Segoe UI" panose="020B0502040204020203" pitchFamily="34" charset="0"/>
              </a:endParaRPr>
            </a:p>
          </p:txBody>
        </p:sp>
      </p:grpSp>
      <p:grpSp>
        <p:nvGrpSpPr>
          <p:cNvPr id="16" name="Group 15">
            <a:extLst>
              <a:ext uri="{FF2B5EF4-FFF2-40B4-BE49-F238E27FC236}">
                <a16:creationId xmlns:a16="http://schemas.microsoft.com/office/drawing/2014/main" id="{29C61F2D-0B44-4150-BFD9-816D75ACC6A0}"/>
              </a:ext>
            </a:extLst>
          </p:cNvPr>
          <p:cNvGrpSpPr/>
          <p:nvPr/>
        </p:nvGrpSpPr>
        <p:grpSpPr>
          <a:xfrm>
            <a:off x="1272478" y="4523850"/>
            <a:ext cx="457201" cy="457198"/>
            <a:chOff x="359988" y="5455703"/>
            <a:chExt cx="270294" cy="270294"/>
          </a:xfrm>
        </p:grpSpPr>
        <p:sp>
          <p:nvSpPr>
            <p:cNvPr id="4" name="Freeform: Shape 3">
              <a:extLst>
                <a:ext uri="{FF2B5EF4-FFF2-40B4-BE49-F238E27FC236}">
                  <a16:creationId xmlns:a16="http://schemas.microsoft.com/office/drawing/2014/main" id="{A8255A18-3006-42F7-9875-01BB1473544D}"/>
                </a:ext>
              </a:extLst>
            </p:cNvPr>
            <p:cNvSpPr/>
            <p:nvPr/>
          </p:nvSpPr>
          <p:spPr>
            <a:xfrm>
              <a:off x="483647" y="5535075"/>
              <a:ext cx="84725" cy="75968"/>
            </a:xfrm>
            <a:custGeom>
              <a:avLst/>
              <a:gdLst>
                <a:gd name="connsiteX0" fmla="*/ 299638 w 305977"/>
                <a:gd name="connsiteY0" fmla="*/ 156869 h 249261"/>
                <a:gd name="connsiteX1" fmla="*/ 256109 w 305977"/>
                <a:gd name="connsiteY1" fmla="*/ 113720 h 249261"/>
                <a:gd name="connsiteX2" fmla="*/ 250870 w 305977"/>
                <a:gd name="connsiteY2" fmla="*/ 111625 h 249261"/>
                <a:gd name="connsiteX3" fmla="*/ 224009 w 305977"/>
                <a:gd name="connsiteY3" fmla="*/ 111625 h 249261"/>
                <a:gd name="connsiteX4" fmla="*/ 220771 w 305977"/>
                <a:gd name="connsiteY4" fmla="*/ 94480 h 249261"/>
                <a:gd name="connsiteX5" fmla="*/ 255632 w 305977"/>
                <a:gd name="connsiteY5" fmla="*/ 87812 h 249261"/>
                <a:gd name="connsiteX6" fmla="*/ 264205 w 305977"/>
                <a:gd name="connsiteY6" fmla="*/ 79430 h 249261"/>
                <a:gd name="connsiteX7" fmla="*/ 278778 w 305977"/>
                <a:gd name="connsiteY7" fmla="*/ 13613 h 249261"/>
                <a:gd name="connsiteX8" fmla="*/ 270781 w 305977"/>
                <a:gd name="connsiteY8" fmla="*/ 345 h 249261"/>
                <a:gd name="connsiteX9" fmla="*/ 270491 w 305977"/>
                <a:gd name="connsiteY9" fmla="*/ 278 h 249261"/>
                <a:gd name="connsiteX10" fmla="*/ 257585 w 305977"/>
                <a:gd name="connsiteY10" fmla="*/ 8347 h 249261"/>
                <a:gd name="connsiteX11" fmla="*/ 257537 w 305977"/>
                <a:gd name="connsiteY11" fmla="*/ 8564 h 249261"/>
                <a:gd name="connsiteX12" fmla="*/ 244488 w 305977"/>
                <a:gd name="connsiteY12" fmla="*/ 67429 h 249261"/>
                <a:gd name="connsiteX13" fmla="*/ 214770 w 305977"/>
                <a:gd name="connsiteY13" fmla="*/ 73049 h 249261"/>
                <a:gd name="connsiteX14" fmla="*/ 207722 w 305977"/>
                <a:gd name="connsiteY14" fmla="*/ 57428 h 249261"/>
                <a:gd name="connsiteX15" fmla="*/ 96279 w 305977"/>
                <a:gd name="connsiteY15" fmla="*/ 57428 h 249261"/>
                <a:gd name="connsiteX16" fmla="*/ 89231 w 305977"/>
                <a:gd name="connsiteY16" fmla="*/ 73334 h 249261"/>
                <a:gd name="connsiteX17" fmla="*/ 59513 w 305977"/>
                <a:gd name="connsiteY17" fmla="*/ 67715 h 249261"/>
                <a:gd name="connsiteX18" fmla="*/ 46559 w 305977"/>
                <a:gd name="connsiteY18" fmla="*/ 8850 h 249261"/>
                <a:gd name="connsiteX19" fmla="*/ 32904 w 305977"/>
                <a:gd name="connsiteY19" fmla="*/ 1535 h 249261"/>
                <a:gd name="connsiteX20" fmla="*/ 25223 w 305977"/>
                <a:gd name="connsiteY20" fmla="*/ 13517 h 249261"/>
                <a:gd name="connsiteX21" fmla="*/ 39796 w 305977"/>
                <a:gd name="connsiteY21" fmla="*/ 79335 h 249261"/>
                <a:gd name="connsiteX22" fmla="*/ 48368 w 305977"/>
                <a:gd name="connsiteY22" fmla="*/ 87717 h 249261"/>
                <a:gd name="connsiteX23" fmla="*/ 83230 w 305977"/>
                <a:gd name="connsiteY23" fmla="*/ 94385 h 249261"/>
                <a:gd name="connsiteX24" fmla="*/ 80087 w 305977"/>
                <a:gd name="connsiteY24" fmla="*/ 111530 h 249261"/>
                <a:gd name="connsiteX25" fmla="*/ 52845 w 305977"/>
                <a:gd name="connsiteY25" fmla="*/ 111530 h 249261"/>
                <a:gd name="connsiteX26" fmla="*/ 47511 w 305977"/>
                <a:gd name="connsiteY26" fmla="*/ 113625 h 249261"/>
                <a:gd name="connsiteX27" fmla="*/ 4363 w 305977"/>
                <a:gd name="connsiteY27" fmla="*/ 156869 h 249261"/>
                <a:gd name="connsiteX28" fmla="*/ 2172 w 305977"/>
                <a:gd name="connsiteY28" fmla="*/ 172109 h 249261"/>
                <a:gd name="connsiteX29" fmla="*/ 17412 w 305977"/>
                <a:gd name="connsiteY29" fmla="*/ 174299 h 249261"/>
                <a:gd name="connsiteX30" fmla="*/ 58560 w 305977"/>
                <a:gd name="connsiteY30" fmla="*/ 132866 h 249261"/>
                <a:gd name="connsiteX31" fmla="*/ 77610 w 305977"/>
                <a:gd name="connsiteY31" fmla="*/ 132866 h 249261"/>
                <a:gd name="connsiteX32" fmla="*/ 77610 w 305977"/>
                <a:gd name="connsiteY32" fmla="*/ 141438 h 249261"/>
                <a:gd name="connsiteX33" fmla="*/ 79610 w 305977"/>
                <a:gd name="connsiteY33" fmla="*/ 158297 h 249261"/>
                <a:gd name="connsiteX34" fmla="*/ 51797 w 305977"/>
                <a:gd name="connsiteY34" fmla="*/ 165251 h 249261"/>
                <a:gd name="connsiteX35" fmla="*/ 44177 w 305977"/>
                <a:gd name="connsiteY35" fmla="*/ 172109 h 249261"/>
                <a:gd name="connsiteX36" fmla="*/ 21413 w 305977"/>
                <a:gd name="connsiteY36" fmla="*/ 234402 h 249261"/>
                <a:gd name="connsiteX37" fmla="*/ 27890 w 305977"/>
                <a:gd name="connsiteY37" fmla="*/ 248404 h 249261"/>
                <a:gd name="connsiteX38" fmla="*/ 31604 w 305977"/>
                <a:gd name="connsiteY38" fmla="*/ 249071 h 249261"/>
                <a:gd name="connsiteX39" fmla="*/ 41891 w 305977"/>
                <a:gd name="connsiteY39" fmla="*/ 241927 h 249261"/>
                <a:gd name="connsiteX40" fmla="*/ 62656 w 305977"/>
                <a:gd name="connsiteY40" fmla="*/ 184777 h 249261"/>
                <a:gd name="connsiteX41" fmla="*/ 87802 w 305977"/>
                <a:gd name="connsiteY41" fmla="*/ 178490 h 249261"/>
                <a:gd name="connsiteX42" fmla="*/ 139332 w 305977"/>
                <a:gd name="connsiteY42" fmla="*/ 213828 h 249261"/>
                <a:gd name="connsiteX43" fmla="*/ 142856 w 305977"/>
                <a:gd name="connsiteY43" fmla="*/ 212685 h 249261"/>
                <a:gd name="connsiteX44" fmla="*/ 142856 w 305977"/>
                <a:gd name="connsiteY44" fmla="*/ 133628 h 249261"/>
                <a:gd name="connsiteX45" fmla="*/ 152381 w 305977"/>
                <a:gd name="connsiteY45" fmla="*/ 124103 h 249261"/>
                <a:gd name="connsiteX46" fmla="*/ 161906 w 305977"/>
                <a:gd name="connsiteY46" fmla="*/ 133628 h 249261"/>
                <a:gd name="connsiteX47" fmla="*/ 161906 w 305977"/>
                <a:gd name="connsiteY47" fmla="*/ 212876 h 249261"/>
                <a:gd name="connsiteX48" fmla="*/ 165431 w 305977"/>
                <a:gd name="connsiteY48" fmla="*/ 214019 h 249261"/>
                <a:gd name="connsiteX49" fmla="*/ 216961 w 305977"/>
                <a:gd name="connsiteY49" fmla="*/ 178681 h 249261"/>
                <a:gd name="connsiteX50" fmla="*/ 242107 w 305977"/>
                <a:gd name="connsiteY50" fmla="*/ 184967 h 249261"/>
                <a:gd name="connsiteX51" fmla="*/ 262967 w 305977"/>
                <a:gd name="connsiteY51" fmla="*/ 242117 h 249261"/>
                <a:gd name="connsiteX52" fmla="*/ 273158 w 305977"/>
                <a:gd name="connsiteY52" fmla="*/ 249261 h 249261"/>
                <a:gd name="connsiteX53" fmla="*/ 276873 w 305977"/>
                <a:gd name="connsiteY53" fmla="*/ 248594 h 249261"/>
                <a:gd name="connsiteX54" fmla="*/ 283350 w 305977"/>
                <a:gd name="connsiteY54" fmla="*/ 234593 h 249261"/>
                <a:gd name="connsiteX55" fmla="*/ 260204 w 305977"/>
                <a:gd name="connsiteY55" fmla="*/ 171728 h 249261"/>
                <a:gd name="connsiteX56" fmla="*/ 252584 w 305977"/>
                <a:gd name="connsiteY56" fmla="*/ 164870 h 249261"/>
                <a:gd name="connsiteX57" fmla="*/ 224771 w 305977"/>
                <a:gd name="connsiteY57" fmla="*/ 157916 h 249261"/>
                <a:gd name="connsiteX58" fmla="*/ 226772 w 305977"/>
                <a:gd name="connsiteY58" fmla="*/ 141057 h 249261"/>
                <a:gd name="connsiteX59" fmla="*/ 226772 w 305977"/>
                <a:gd name="connsiteY59" fmla="*/ 132485 h 249261"/>
                <a:gd name="connsiteX60" fmla="*/ 245822 w 305977"/>
                <a:gd name="connsiteY60" fmla="*/ 132485 h 249261"/>
                <a:gd name="connsiteX61" fmla="*/ 286970 w 305977"/>
                <a:gd name="connsiteY61" fmla="*/ 173918 h 249261"/>
                <a:gd name="connsiteX62" fmla="*/ 302295 w 305977"/>
                <a:gd name="connsiteY62" fmla="*/ 174891 h 249261"/>
                <a:gd name="connsiteX63" fmla="*/ 303268 w 305977"/>
                <a:gd name="connsiteY63" fmla="*/ 159566 h 249261"/>
                <a:gd name="connsiteX64" fmla="*/ 299638 w 305977"/>
                <a:gd name="connsiteY64" fmla="*/ 156869 h 24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5977" h="249261">
                  <a:moveTo>
                    <a:pt x="299638" y="156869"/>
                  </a:moveTo>
                  <a:lnTo>
                    <a:pt x="256109" y="113720"/>
                  </a:lnTo>
                  <a:cubicBezTo>
                    <a:pt x="254585" y="112560"/>
                    <a:pt x="252774" y="111836"/>
                    <a:pt x="250870" y="111625"/>
                  </a:cubicBezTo>
                  <a:lnTo>
                    <a:pt x="224009" y="111625"/>
                  </a:lnTo>
                  <a:cubicBezTo>
                    <a:pt x="223057" y="105910"/>
                    <a:pt x="222009" y="100100"/>
                    <a:pt x="220771" y="94480"/>
                  </a:cubicBezTo>
                  <a:lnTo>
                    <a:pt x="255632" y="87812"/>
                  </a:lnTo>
                  <a:cubicBezTo>
                    <a:pt x="259925" y="87016"/>
                    <a:pt x="263312" y="83704"/>
                    <a:pt x="264205" y="79430"/>
                  </a:cubicBezTo>
                  <a:lnTo>
                    <a:pt x="278778" y="13613"/>
                  </a:lnTo>
                  <a:cubicBezTo>
                    <a:pt x="280234" y="7740"/>
                    <a:pt x="276653" y="1801"/>
                    <a:pt x="270781" y="345"/>
                  </a:cubicBezTo>
                  <a:cubicBezTo>
                    <a:pt x="270685" y="321"/>
                    <a:pt x="270589" y="298"/>
                    <a:pt x="270491" y="278"/>
                  </a:cubicBezTo>
                  <a:cubicBezTo>
                    <a:pt x="264699" y="-1058"/>
                    <a:pt x="258920" y="2555"/>
                    <a:pt x="257585" y="8347"/>
                  </a:cubicBezTo>
                  <a:cubicBezTo>
                    <a:pt x="257569" y="8419"/>
                    <a:pt x="257553" y="8492"/>
                    <a:pt x="257537" y="8564"/>
                  </a:cubicBezTo>
                  <a:lnTo>
                    <a:pt x="244488" y="67429"/>
                  </a:lnTo>
                  <a:lnTo>
                    <a:pt x="214770" y="73049"/>
                  </a:lnTo>
                  <a:cubicBezTo>
                    <a:pt x="213102" y="67560"/>
                    <a:pt x="210733" y="62310"/>
                    <a:pt x="207722" y="57428"/>
                  </a:cubicBezTo>
                  <a:lnTo>
                    <a:pt x="96279" y="57428"/>
                  </a:lnTo>
                  <a:cubicBezTo>
                    <a:pt x="93245" y="62400"/>
                    <a:pt x="90876" y="67747"/>
                    <a:pt x="89231" y="73334"/>
                  </a:cubicBezTo>
                  <a:lnTo>
                    <a:pt x="59513" y="67715"/>
                  </a:lnTo>
                  <a:lnTo>
                    <a:pt x="46559" y="8850"/>
                  </a:lnTo>
                  <a:cubicBezTo>
                    <a:pt x="44808" y="3059"/>
                    <a:pt x="38695" y="-216"/>
                    <a:pt x="32904" y="1535"/>
                  </a:cubicBezTo>
                  <a:cubicBezTo>
                    <a:pt x="27744" y="3095"/>
                    <a:pt x="24485" y="8178"/>
                    <a:pt x="25223" y="13517"/>
                  </a:cubicBezTo>
                  <a:lnTo>
                    <a:pt x="39796" y="79335"/>
                  </a:lnTo>
                  <a:cubicBezTo>
                    <a:pt x="40735" y="83584"/>
                    <a:pt x="44099" y="86874"/>
                    <a:pt x="48368" y="87717"/>
                  </a:cubicBezTo>
                  <a:lnTo>
                    <a:pt x="83230" y="94385"/>
                  </a:lnTo>
                  <a:cubicBezTo>
                    <a:pt x="81992" y="100004"/>
                    <a:pt x="80944" y="105815"/>
                    <a:pt x="80087" y="111530"/>
                  </a:cubicBezTo>
                  <a:lnTo>
                    <a:pt x="52845" y="111530"/>
                  </a:lnTo>
                  <a:cubicBezTo>
                    <a:pt x="50907" y="111719"/>
                    <a:pt x="49060" y="112445"/>
                    <a:pt x="47511" y="113625"/>
                  </a:cubicBezTo>
                  <a:lnTo>
                    <a:pt x="4363" y="156869"/>
                  </a:lnTo>
                  <a:cubicBezTo>
                    <a:pt x="-450" y="160472"/>
                    <a:pt x="-1431" y="167296"/>
                    <a:pt x="2172" y="172109"/>
                  </a:cubicBezTo>
                  <a:cubicBezTo>
                    <a:pt x="5775" y="176921"/>
                    <a:pt x="12599" y="177903"/>
                    <a:pt x="17412" y="174299"/>
                  </a:cubicBezTo>
                  <a:lnTo>
                    <a:pt x="58560" y="132866"/>
                  </a:lnTo>
                  <a:lnTo>
                    <a:pt x="77610" y="132866"/>
                  </a:lnTo>
                  <a:cubicBezTo>
                    <a:pt x="77610" y="136104"/>
                    <a:pt x="77610" y="138962"/>
                    <a:pt x="77610" y="141438"/>
                  </a:cubicBezTo>
                  <a:cubicBezTo>
                    <a:pt x="77642" y="147115"/>
                    <a:pt x="78313" y="152771"/>
                    <a:pt x="79610" y="158297"/>
                  </a:cubicBezTo>
                  <a:lnTo>
                    <a:pt x="51797" y="165251"/>
                  </a:lnTo>
                  <a:cubicBezTo>
                    <a:pt x="48270" y="166118"/>
                    <a:pt x="45411" y="168692"/>
                    <a:pt x="44177" y="172109"/>
                  </a:cubicBezTo>
                  <a:lnTo>
                    <a:pt x="21413" y="234402"/>
                  </a:lnTo>
                  <a:cubicBezTo>
                    <a:pt x="19361" y="240056"/>
                    <a:pt x="22253" y="246306"/>
                    <a:pt x="27890" y="248404"/>
                  </a:cubicBezTo>
                  <a:cubicBezTo>
                    <a:pt x="29088" y="248809"/>
                    <a:pt x="30339" y="249033"/>
                    <a:pt x="31604" y="249071"/>
                  </a:cubicBezTo>
                  <a:cubicBezTo>
                    <a:pt x="36191" y="249078"/>
                    <a:pt x="40296" y="246227"/>
                    <a:pt x="41891" y="241927"/>
                  </a:cubicBezTo>
                  <a:lnTo>
                    <a:pt x="62656" y="184777"/>
                  </a:lnTo>
                  <a:lnTo>
                    <a:pt x="87802" y="178490"/>
                  </a:lnTo>
                  <a:cubicBezTo>
                    <a:pt x="98891" y="197326"/>
                    <a:pt x="117767" y="210270"/>
                    <a:pt x="139332" y="213828"/>
                  </a:cubicBezTo>
                  <a:lnTo>
                    <a:pt x="142856" y="212685"/>
                  </a:lnTo>
                  <a:lnTo>
                    <a:pt x="142856" y="133628"/>
                  </a:lnTo>
                  <a:cubicBezTo>
                    <a:pt x="142856" y="128367"/>
                    <a:pt x="147121" y="124103"/>
                    <a:pt x="152381" y="124103"/>
                  </a:cubicBezTo>
                  <a:cubicBezTo>
                    <a:pt x="157642" y="124103"/>
                    <a:pt x="161906" y="128367"/>
                    <a:pt x="161906" y="133628"/>
                  </a:cubicBezTo>
                  <a:lnTo>
                    <a:pt x="161906" y="212876"/>
                  </a:lnTo>
                  <a:lnTo>
                    <a:pt x="165431" y="214019"/>
                  </a:lnTo>
                  <a:cubicBezTo>
                    <a:pt x="187017" y="210511"/>
                    <a:pt x="205912" y="197554"/>
                    <a:pt x="216961" y="178681"/>
                  </a:cubicBezTo>
                  <a:lnTo>
                    <a:pt x="242107" y="184967"/>
                  </a:lnTo>
                  <a:lnTo>
                    <a:pt x="262967" y="242117"/>
                  </a:lnTo>
                  <a:cubicBezTo>
                    <a:pt x="264503" y="246421"/>
                    <a:pt x="268589" y="249285"/>
                    <a:pt x="273158" y="249261"/>
                  </a:cubicBezTo>
                  <a:cubicBezTo>
                    <a:pt x="274423" y="249224"/>
                    <a:pt x="275675" y="248999"/>
                    <a:pt x="276873" y="248594"/>
                  </a:cubicBezTo>
                  <a:cubicBezTo>
                    <a:pt x="282510" y="246497"/>
                    <a:pt x="285401" y="240247"/>
                    <a:pt x="283350" y="234593"/>
                  </a:cubicBezTo>
                  <a:lnTo>
                    <a:pt x="260204" y="171728"/>
                  </a:lnTo>
                  <a:cubicBezTo>
                    <a:pt x="258971" y="168311"/>
                    <a:pt x="256112" y="165737"/>
                    <a:pt x="252584" y="164870"/>
                  </a:cubicBezTo>
                  <a:lnTo>
                    <a:pt x="224771" y="157916"/>
                  </a:lnTo>
                  <a:cubicBezTo>
                    <a:pt x="226069" y="152389"/>
                    <a:pt x="226740" y="146734"/>
                    <a:pt x="226772" y="141057"/>
                  </a:cubicBezTo>
                  <a:cubicBezTo>
                    <a:pt x="226772" y="138581"/>
                    <a:pt x="226772" y="135723"/>
                    <a:pt x="226772" y="132485"/>
                  </a:cubicBezTo>
                  <a:lnTo>
                    <a:pt x="245822" y="132485"/>
                  </a:lnTo>
                  <a:lnTo>
                    <a:pt x="286970" y="173918"/>
                  </a:lnTo>
                  <a:cubicBezTo>
                    <a:pt x="290933" y="178419"/>
                    <a:pt x="297795" y="178854"/>
                    <a:pt x="302295" y="174891"/>
                  </a:cubicBezTo>
                  <a:cubicBezTo>
                    <a:pt x="306796" y="170927"/>
                    <a:pt x="307231" y="164067"/>
                    <a:pt x="303268" y="159566"/>
                  </a:cubicBezTo>
                  <a:cubicBezTo>
                    <a:pt x="302260" y="158422"/>
                    <a:pt x="301024" y="157503"/>
                    <a:pt x="299638" y="156869"/>
                  </a:cubicBez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B252784-5016-4AA4-853B-5E51118F922A}"/>
                </a:ext>
              </a:extLst>
            </p:cNvPr>
            <p:cNvSpPr/>
            <p:nvPr/>
          </p:nvSpPr>
          <p:spPr>
            <a:xfrm>
              <a:off x="509156" y="5512014"/>
              <a:ext cx="33355" cy="34756"/>
            </a:xfrm>
            <a:custGeom>
              <a:avLst/>
              <a:gdLst>
                <a:gd name="connsiteX0" fmla="*/ 116452 w 120460"/>
                <a:gd name="connsiteY0" fmla="*/ 13456 h 114040"/>
                <a:gd name="connsiteX1" fmla="*/ 119786 w 120460"/>
                <a:gd name="connsiteY1" fmla="*/ 3931 h 114040"/>
                <a:gd name="connsiteX2" fmla="*/ 110261 w 120460"/>
                <a:gd name="connsiteY2" fmla="*/ 693 h 114040"/>
                <a:gd name="connsiteX3" fmla="*/ 87782 w 120460"/>
                <a:gd name="connsiteY3" fmla="*/ 21076 h 114040"/>
                <a:gd name="connsiteX4" fmla="*/ 78257 w 120460"/>
                <a:gd name="connsiteY4" fmla="*/ 41460 h 114040"/>
                <a:gd name="connsiteX5" fmla="*/ 42253 w 120460"/>
                <a:gd name="connsiteY5" fmla="*/ 41460 h 114040"/>
                <a:gd name="connsiteX6" fmla="*/ 32728 w 120460"/>
                <a:gd name="connsiteY6" fmla="*/ 21076 h 114040"/>
                <a:gd name="connsiteX7" fmla="*/ 10249 w 120460"/>
                <a:gd name="connsiteY7" fmla="*/ 693 h 114040"/>
                <a:gd name="connsiteX8" fmla="*/ 724 w 120460"/>
                <a:gd name="connsiteY8" fmla="*/ 3931 h 114040"/>
                <a:gd name="connsiteX9" fmla="*/ 3962 w 120460"/>
                <a:gd name="connsiteY9" fmla="*/ 13456 h 114040"/>
                <a:gd name="connsiteX10" fmla="*/ 20059 w 120460"/>
                <a:gd name="connsiteY10" fmla="*/ 28315 h 114040"/>
                <a:gd name="connsiteX11" fmla="*/ 28727 w 120460"/>
                <a:gd name="connsiteY11" fmla="*/ 48318 h 114040"/>
                <a:gd name="connsiteX12" fmla="*/ 2724 w 120460"/>
                <a:gd name="connsiteY12" fmla="*/ 104515 h 114040"/>
                <a:gd name="connsiteX13" fmla="*/ 3391 w 120460"/>
                <a:gd name="connsiteY13" fmla="*/ 114040 h 114040"/>
                <a:gd name="connsiteX14" fmla="*/ 116357 w 120460"/>
                <a:gd name="connsiteY14" fmla="*/ 114040 h 114040"/>
                <a:gd name="connsiteX15" fmla="*/ 117024 w 120460"/>
                <a:gd name="connsiteY15" fmla="*/ 104515 h 114040"/>
                <a:gd name="connsiteX16" fmla="*/ 91021 w 120460"/>
                <a:gd name="connsiteY16" fmla="*/ 48699 h 114040"/>
                <a:gd name="connsiteX17" fmla="*/ 99688 w 120460"/>
                <a:gd name="connsiteY17" fmla="*/ 28696 h 114040"/>
                <a:gd name="connsiteX18" fmla="*/ 116452 w 120460"/>
                <a:gd name="connsiteY18" fmla="*/ 13456 h 1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460" h="114040">
                  <a:moveTo>
                    <a:pt x="116452" y="13456"/>
                  </a:moveTo>
                  <a:cubicBezTo>
                    <a:pt x="119958" y="11707"/>
                    <a:pt x="121436" y="7485"/>
                    <a:pt x="119786" y="3931"/>
                  </a:cubicBezTo>
                  <a:cubicBezTo>
                    <a:pt x="117969" y="501"/>
                    <a:pt x="113793" y="-919"/>
                    <a:pt x="110261" y="693"/>
                  </a:cubicBezTo>
                  <a:cubicBezTo>
                    <a:pt x="101085" y="5361"/>
                    <a:pt x="93323" y="12399"/>
                    <a:pt x="87782" y="21076"/>
                  </a:cubicBezTo>
                  <a:cubicBezTo>
                    <a:pt x="83756" y="27439"/>
                    <a:pt x="80554" y="34288"/>
                    <a:pt x="78257" y="41460"/>
                  </a:cubicBezTo>
                  <a:cubicBezTo>
                    <a:pt x="66691" y="36887"/>
                    <a:pt x="53819" y="36887"/>
                    <a:pt x="42253" y="41460"/>
                  </a:cubicBezTo>
                  <a:cubicBezTo>
                    <a:pt x="40035" y="34258"/>
                    <a:pt x="36829" y="27398"/>
                    <a:pt x="32728" y="21076"/>
                  </a:cubicBezTo>
                  <a:cubicBezTo>
                    <a:pt x="27208" y="12380"/>
                    <a:pt x="19441" y="5337"/>
                    <a:pt x="10249" y="693"/>
                  </a:cubicBezTo>
                  <a:cubicBezTo>
                    <a:pt x="6720" y="-971"/>
                    <a:pt x="2507" y="461"/>
                    <a:pt x="724" y="3931"/>
                  </a:cubicBezTo>
                  <a:cubicBezTo>
                    <a:pt x="-995" y="7457"/>
                    <a:pt x="451" y="11708"/>
                    <a:pt x="3962" y="13456"/>
                  </a:cubicBezTo>
                  <a:cubicBezTo>
                    <a:pt x="10522" y="16935"/>
                    <a:pt x="16067" y="22054"/>
                    <a:pt x="20059" y="28315"/>
                  </a:cubicBezTo>
                  <a:cubicBezTo>
                    <a:pt x="24008" y="34471"/>
                    <a:pt x="26935" y="41226"/>
                    <a:pt x="28727" y="48318"/>
                  </a:cubicBezTo>
                  <a:cubicBezTo>
                    <a:pt x="11760" y="61962"/>
                    <a:pt x="2142" y="82751"/>
                    <a:pt x="2724" y="104515"/>
                  </a:cubicBezTo>
                  <a:cubicBezTo>
                    <a:pt x="2753" y="107700"/>
                    <a:pt x="2975" y="110882"/>
                    <a:pt x="3391" y="114040"/>
                  </a:cubicBezTo>
                  <a:lnTo>
                    <a:pt x="116357" y="114040"/>
                  </a:lnTo>
                  <a:cubicBezTo>
                    <a:pt x="116772" y="110882"/>
                    <a:pt x="116994" y="107700"/>
                    <a:pt x="117024" y="104515"/>
                  </a:cubicBezTo>
                  <a:cubicBezTo>
                    <a:pt x="117472" y="82886"/>
                    <a:pt x="107867" y="62271"/>
                    <a:pt x="91021" y="48699"/>
                  </a:cubicBezTo>
                  <a:cubicBezTo>
                    <a:pt x="92812" y="41607"/>
                    <a:pt x="95739" y="34852"/>
                    <a:pt x="99688" y="28696"/>
                  </a:cubicBezTo>
                  <a:cubicBezTo>
                    <a:pt x="103812" y="22208"/>
                    <a:pt x="109601" y="16944"/>
                    <a:pt x="116452" y="13456"/>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8AF9105B-6837-4CA8-AE7C-2CB4249C1FD0}"/>
                </a:ext>
              </a:extLst>
            </p:cNvPr>
            <p:cNvSpPr/>
            <p:nvPr/>
          </p:nvSpPr>
          <p:spPr>
            <a:xfrm flipH="1">
              <a:off x="359988" y="5455703"/>
              <a:ext cx="270294" cy="270294"/>
            </a:xfrm>
            <a:custGeom>
              <a:avLst/>
              <a:gdLst>
                <a:gd name="connsiteX0" fmla="*/ 923480 w 945819"/>
                <a:gd name="connsiteY0" fmla="*/ 815628 h 945833"/>
                <a:gd name="connsiteX1" fmla="*/ 721740 w 945819"/>
                <a:gd name="connsiteY1" fmla="*/ 613898 h 945833"/>
                <a:gd name="connsiteX2" fmla="*/ 630662 w 945819"/>
                <a:gd name="connsiteY2" fmla="*/ 600344 h 945833"/>
                <a:gd name="connsiteX3" fmla="*/ 615994 w 945819"/>
                <a:gd name="connsiteY3" fmla="*/ 105549 h 945833"/>
                <a:gd name="connsiteX4" fmla="*/ 105549 w 945819"/>
                <a:gd name="connsiteY4" fmla="*/ 105549 h 945833"/>
                <a:gd name="connsiteX5" fmla="*/ 105549 w 945819"/>
                <a:gd name="connsiteY5" fmla="*/ 616013 h 945833"/>
                <a:gd name="connsiteX6" fmla="*/ 600316 w 945819"/>
                <a:gd name="connsiteY6" fmla="*/ 630681 h 945833"/>
                <a:gd name="connsiteX7" fmla="*/ 613879 w 945819"/>
                <a:gd name="connsiteY7" fmla="*/ 721759 h 945833"/>
                <a:gd name="connsiteX8" fmla="*/ 815600 w 945819"/>
                <a:gd name="connsiteY8" fmla="*/ 923489 h 945833"/>
                <a:gd name="connsiteX9" fmla="*/ 923489 w 945819"/>
                <a:gd name="connsiteY9" fmla="*/ 923480 h 945833"/>
                <a:gd name="connsiteX10" fmla="*/ 923480 w 945819"/>
                <a:gd name="connsiteY10" fmla="*/ 815628 h 945833"/>
                <a:gd name="connsiteX11" fmla="*/ 360781 w 945819"/>
                <a:gd name="connsiteY11" fmla="*/ 636520 h 945833"/>
                <a:gd name="connsiteX12" fmla="*/ 85051 w 945819"/>
                <a:gd name="connsiteY12" fmla="*/ 360790 h 945833"/>
                <a:gd name="connsiteX13" fmla="*/ 360762 w 945819"/>
                <a:gd name="connsiteY13" fmla="*/ 85070 h 945833"/>
                <a:gd name="connsiteX14" fmla="*/ 636482 w 945819"/>
                <a:gd name="connsiteY14" fmla="*/ 360790 h 945833"/>
                <a:gd name="connsiteX15" fmla="*/ 360781 w 945819"/>
                <a:gd name="connsiteY15" fmla="*/ 636520 h 94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19" h="945833">
                  <a:moveTo>
                    <a:pt x="923480" y="815628"/>
                  </a:moveTo>
                  <a:lnTo>
                    <a:pt x="721740" y="613898"/>
                  </a:lnTo>
                  <a:cubicBezTo>
                    <a:pt x="691508" y="624147"/>
                    <a:pt x="657475" y="619604"/>
                    <a:pt x="630662" y="600344"/>
                  </a:cubicBezTo>
                  <a:cubicBezTo>
                    <a:pt x="756468" y="458774"/>
                    <a:pt x="751611" y="241185"/>
                    <a:pt x="615994" y="105549"/>
                  </a:cubicBezTo>
                  <a:cubicBezTo>
                    <a:pt x="475271" y="-35183"/>
                    <a:pt x="246281" y="-35183"/>
                    <a:pt x="105549" y="105549"/>
                  </a:cubicBezTo>
                  <a:cubicBezTo>
                    <a:pt x="-35183" y="246290"/>
                    <a:pt x="-35183" y="475271"/>
                    <a:pt x="105549" y="616013"/>
                  </a:cubicBezTo>
                  <a:cubicBezTo>
                    <a:pt x="241175" y="751639"/>
                    <a:pt x="458774" y="756487"/>
                    <a:pt x="600316" y="630681"/>
                  </a:cubicBezTo>
                  <a:cubicBezTo>
                    <a:pt x="619566" y="657475"/>
                    <a:pt x="624119" y="691517"/>
                    <a:pt x="613879" y="721759"/>
                  </a:cubicBezTo>
                  <a:lnTo>
                    <a:pt x="815600" y="923489"/>
                  </a:lnTo>
                  <a:cubicBezTo>
                    <a:pt x="845394" y="953283"/>
                    <a:pt x="893686" y="953283"/>
                    <a:pt x="923489" y="923480"/>
                  </a:cubicBezTo>
                  <a:cubicBezTo>
                    <a:pt x="953264" y="893705"/>
                    <a:pt x="953264" y="845413"/>
                    <a:pt x="923480" y="815628"/>
                  </a:cubicBezTo>
                  <a:close/>
                  <a:moveTo>
                    <a:pt x="360781" y="636520"/>
                  </a:moveTo>
                  <a:cubicBezTo>
                    <a:pt x="208733" y="636491"/>
                    <a:pt x="85051" y="512819"/>
                    <a:pt x="85051" y="360790"/>
                  </a:cubicBezTo>
                  <a:cubicBezTo>
                    <a:pt x="85061" y="208762"/>
                    <a:pt x="208733" y="85070"/>
                    <a:pt x="360762" y="85070"/>
                  </a:cubicBezTo>
                  <a:cubicBezTo>
                    <a:pt x="512800" y="85070"/>
                    <a:pt x="636472" y="208752"/>
                    <a:pt x="636482" y="360790"/>
                  </a:cubicBezTo>
                  <a:cubicBezTo>
                    <a:pt x="636472" y="512819"/>
                    <a:pt x="512800" y="636501"/>
                    <a:pt x="360781" y="636520"/>
                  </a:cubicBez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CE9F94D4-7685-41BC-BBD9-2409236664DF}"/>
              </a:ext>
            </a:extLst>
          </p:cNvPr>
          <p:cNvGrpSpPr/>
          <p:nvPr/>
        </p:nvGrpSpPr>
        <p:grpSpPr>
          <a:xfrm>
            <a:off x="3092949" y="4566645"/>
            <a:ext cx="325892" cy="465548"/>
            <a:chOff x="11157391" y="300986"/>
            <a:chExt cx="156631" cy="223756"/>
          </a:xfrm>
        </p:grpSpPr>
        <p:sp>
          <p:nvSpPr>
            <p:cNvPr id="208" name="Freeform: Shape 207">
              <a:extLst>
                <a:ext uri="{FF2B5EF4-FFF2-40B4-BE49-F238E27FC236}">
                  <a16:creationId xmlns:a16="http://schemas.microsoft.com/office/drawing/2014/main" id="{8800BB05-12DA-4E99-9CAF-622A0D00873D}"/>
                </a:ext>
              </a:extLst>
            </p:cNvPr>
            <p:cNvSpPr/>
            <p:nvPr/>
          </p:nvSpPr>
          <p:spPr>
            <a:xfrm>
              <a:off x="11157391" y="300986"/>
              <a:ext cx="142027" cy="131427"/>
            </a:xfrm>
            <a:custGeom>
              <a:avLst/>
              <a:gdLst>
                <a:gd name="connsiteX0" fmla="*/ 197168 w 574357"/>
                <a:gd name="connsiteY0" fmla="*/ 483870 h 531494"/>
                <a:gd name="connsiteX1" fmla="*/ 47625 w 574357"/>
                <a:gd name="connsiteY1" fmla="*/ 483870 h 531494"/>
                <a:gd name="connsiteX2" fmla="*/ 47625 w 574357"/>
                <a:gd name="connsiteY2" fmla="*/ 48578 h 531494"/>
                <a:gd name="connsiteX3" fmla="*/ 526733 w 574357"/>
                <a:gd name="connsiteY3" fmla="*/ 48578 h 531494"/>
                <a:gd name="connsiteX4" fmla="*/ 526733 w 574357"/>
                <a:gd name="connsiteY4" fmla="*/ 478155 h 531494"/>
                <a:gd name="connsiteX5" fmla="*/ 552450 w 574357"/>
                <a:gd name="connsiteY5" fmla="*/ 500063 h 531494"/>
                <a:gd name="connsiteX6" fmla="*/ 574358 w 574357"/>
                <a:gd name="connsiteY6" fmla="*/ 496253 h 531494"/>
                <a:gd name="connsiteX7" fmla="*/ 574358 w 574357"/>
                <a:gd name="connsiteY7" fmla="*/ 23813 h 531494"/>
                <a:gd name="connsiteX8" fmla="*/ 550545 w 574357"/>
                <a:gd name="connsiteY8" fmla="*/ 0 h 531494"/>
                <a:gd name="connsiteX9" fmla="*/ 23813 w 574357"/>
                <a:gd name="connsiteY9" fmla="*/ 0 h 531494"/>
                <a:gd name="connsiteX10" fmla="*/ 0 w 574357"/>
                <a:gd name="connsiteY10" fmla="*/ 23813 h 531494"/>
                <a:gd name="connsiteX11" fmla="*/ 0 w 574357"/>
                <a:gd name="connsiteY11" fmla="*/ 507683 h 531494"/>
                <a:gd name="connsiteX12" fmla="*/ 23813 w 574357"/>
                <a:gd name="connsiteY12" fmla="*/ 531495 h 531494"/>
                <a:gd name="connsiteX13" fmla="*/ 197168 w 574357"/>
                <a:gd name="connsiteY13" fmla="*/ 531495 h 531494"/>
                <a:gd name="connsiteX14" fmla="*/ 197168 w 574357"/>
                <a:gd name="connsiteY14" fmla="*/ 483870 h 53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4357" h="531494">
                  <a:moveTo>
                    <a:pt x="197168" y="483870"/>
                  </a:moveTo>
                  <a:lnTo>
                    <a:pt x="47625" y="483870"/>
                  </a:lnTo>
                  <a:lnTo>
                    <a:pt x="47625" y="48578"/>
                  </a:lnTo>
                  <a:lnTo>
                    <a:pt x="526733" y="48578"/>
                  </a:lnTo>
                  <a:lnTo>
                    <a:pt x="526733" y="478155"/>
                  </a:lnTo>
                  <a:cubicBezTo>
                    <a:pt x="537210" y="483870"/>
                    <a:pt x="545783" y="491490"/>
                    <a:pt x="552450" y="500063"/>
                  </a:cubicBezTo>
                  <a:cubicBezTo>
                    <a:pt x="559118" y="498158"/>
                    <a:pt x="566738" y="496253"/>
                    <a:pt x="574358" y="496253"/>
                  </a:cubicBezTo>
                  <a:lnTo>
                    <a:pt x="574358" y="23813"/>
                  </a:lnTo>
                  <a:cubicBezTo>
                    <a:pt x="574358" y="10477"/>
                    <a:pt x="563880" y="0"/>
                    <a:pt x="550545" y="0"/>
                  </a:cubicBezTo>
                  <a:lnTo>
                    <a:pt x="23813" y="0"/>
                  </a:lnTo>
                  <a:cubicBezTo>
                    <a:pt x="10478" y="0"/>
                    <a:pt x="0" y="10477"/>
                    <a:pt x="0" y="23813"/>
                  </a:cubicBezTo>
                  <a:lnTo>
                    <a:pt x="0" y="507683"/>
                  </a:lnTo>
                  <a:cubicBezTo>
                    <a:pt x="0" y="521018"/>
                    <a:pt x="11430" y="531495"/>
                    <a:pt x="23813" y="531495"/>
                  </a:cubicBezTo>
                  <a:lnTo>
                    <a:pt x="197168" y="531495"/>
                  </a:lnTo>
                  <a:lnTo>
                    <a:pt x="197168" y="483870"/>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11F11260-9F90-4909-90B1-EBA09755E2F7}"/>
                </a:ext>
              </a:extLst>
            </p:cNvPr>
            <p:cNvSpPr/>
            <p:nvPr/>
          </p:nvSpPr>
          <p:spPr>
            <a:xfrm>
              <a:off x="11176823" y="367171"/>
              <a:ext cx="137199" cy="157571"/>
            </a:xfrm>
            <a:custGeom>
              <a:avLst/>
              <a:gdLst>
                <a:gd name="connsiteX0" fmla="*/ 554831 w 554831"/>
                <a:gd name="connsiteY0" fmla="*/ 317183 h 637222"/>
                <a:gd name="connsiteX1" fmla="*/ 502444 w 554831"/>
                <a:gd name="connsiteY1" fmla="*/ 264795 h 637222"/>
                <a:gd name="connsiteX2" fmla="*/ 457676 w 554831"/>
                <a:gd name="connsiteY2" fmla="*/ 289560 h 637222"/>
                <a:gd name="connsiteX3" fmla="*/ 457676 w 554831"/>
                <a:gd name="connsiteY3" fmla="*/ 288608 h 637222"/>
                <a:gd name="connsiteX4" fmla="*/ 404336 w 554831"/>
                <a:gd name="connsiteY4" fmla="*/ 235267 h 637222"/>
                <a:gd name="connsiteX5" fmla="*/ 359569 w 554831"/>
                <a:gd name="connsiteY5" fmla="*/ 260033 h 637222"/>
                <a:gd name="connsiteX6" fmla="*/ 359569 w 554831"/>
                <a:gd name="connsiteY6" fmla="*/ 259080 h 637222"/>
                <a:gd name="connsiteX7" fmla="*/ 306229 w 554831"/>
                <a:gd name="connsiteY7" fmla="*/ 205740 h 637222"/>
                <a:gd name="connsiteX8" fmla="*/ 261461 w 554831"/>
                <a:gd name="connsiteY8" fmla="*/ 230505 h 637222"/>
                <a:gd name="connsiteX9" fmla="*/ 261461 w 554831"/>
                <a:gd name="connsiteY9" fmla="*/ 52387 h 637222"/>
                <a:gd name="connsiteX10" fmla="*/ 246221 w 554831"/>
                <a:gd name="connsiteY10" fmla="*/ 15240 h 637222"/>
                <a:gd name="connsiteX11" fmla="*/ 209074 w 554831"/>
                <a:gd name="connsiteY11" fmla="*/ 0 h 637222"/>
                <a:gd name="connsiteX12" fmla="*/ 209074 w 554831"/>
                <a:gd name="connsiteY12" fmla="*/ 0 h 637222"/>
                <a:gd name="connsiteX13" fmla="*/ 156686 w 554831"/>
                <a:gd name="connsiteY13" fmla="*/ 53340 h 637222"/>
                <a:gd name="connsiteX14" fmla="*/ 156686 w 554831"/>
                <a:gd name="connsiteY14" fmla="*/ 380048 h 637222"/>
                <a:gd name="connsiteX15" fmla="*/ 151924 w 554831"/>
                <a:gd name="connsiteY15" fmla="*/ 386715 h 637222"/>
                <a:gd name="connsiteX16" fmla="*/ 144304 w 554831"/>
                <a:gd name="connsiteY16" fmla="*/ 384810 h 637222"/>
                <a:gd name="connsiteX17" fmla="*/ 90964 w 554831"/>
                <a:gd name="connsiteY17" fmla="*/ 331470 h 637222"/>
                <a:gd name="connsiteX18" fmla="*/ 23336 w 554831"/>
                <a:gd name="connsiteY18" fmla="*/ 324802 h 637222"/>
                <a:gd name="connsiteX19" fmla="*/ 476 w 554831"/>
                <a:gd name="connsiteY19" fmla="*/ 361950 h 637222"/>
                <a:gd name="connsiteX20" fmla="*/ 11906 w 554831"/>
                <a:gd name="connsiteY20" fmla="*/ 403860 h 637222"/>
                <a:gd name="connsiteX21" fmla="*/ 145256 w 554831"/>
                <a:gd name="connsiteY21" fmla="*/ 564833 h 637222"/>
                <a:gd name="connsiteX22" fmla="*/ 298609 w 554831"/>
                <a:gd name="connsiteY22" fmla="*/ 637223 h 637222"/>
                <a:gd name="connsiteX23" fmla="*/ 380524 w 554831"/>
                <a:gd name="connsiteY23" fmla="*/ 637223 h 637222"/>
                <a:gd name="connsiteX24" fmla="*/ 503396 w 554831"/>
                <a:gd name="connsiteY24" fmla="*/ 585788 h 637222"/>
                <a:gd name="connsiteX25" fmla="*/ 554831 w 554831"/>
                <a:gd name="connsiteY25" fmla="*/ 462915 h 637222"/>
                <a:gd name="connsiteX26" fmla="*/ 554831 w 554831"/>
                <a:gd name="connsiteY26" fmla="*/ 317183 h 63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4831" h="637222">
                  <a:moveTo>
                    <a:pt x="554831" y="317183"/>
                  </a:moveTo>
                  <a:cubicBezTo>
                    <a:pt x="554831" y="287655"/>
                    <a:pt x="531019" y="264795"/>
                    <a:pt x="502444" y="264795"/>
                  </a:cubicBezTo>
                  <a:cubicBezTo>
                    <a:pt x="483394" y="264795"/>
                    <a:pt x="467201" y="274320"/>
                    <a:pt x="457676" y="289560"/>
                  </a:cubicBezTo>
                  <a:lnTo>
                    <a:pt x="457676" y="288608"/>
                  </a:lnTo>
                  <a:cubicBezTo>
                    <a:pt x="457676" y="259080"/>
                    <a:pt x="433864" y="235267"/>
                    <a:pt x="404336" y="235267"/>
                  </a:cubicBezTo>
                  <a:cubicBezTo>
                    <a:pt x="385286" y="235267"/>
                    <a:pt x="369094" y="244792"/>
                    <a:pt x="359569" y="260033"/>
                  </a:cubicBezTo>
                  <a:lnTo>
                    <a:pt x="359569" y="259080"/>
                  </a:lnTo>
                  <a:cubicBezTo>
                    <a:pt x="359569" y="229553"/>
                    <a:pt x="335756" y="205740"/>
                    <a:pt x="306229" y="205740"/>
                  </a:cubicBezTo>
                  <a:cubicBezTo>
                    <a:pt x="287179" y="205740"/>
                    <a:pt x="270986" y="215265"/>
                    <a:pt x="261461" y="230505"/>
                  </a:cubicBezTo>
                  <a:lnTo>
                    <a:pt x="261461" y="52387"/>
                  </a:lnTo>
                  <a:cubicBezTo>
                    <a:pt x="261461" y="38100"/>
                    <a:pt x="255746" y="24765"/>
                    <a:pt x="246221" y="15240"/>
                  </a:cubicBezTo>
                  <a:cubicBezTo>
                    <a:pt x="236696" y="5715"/>
                    <a:pt x="223361" y="0"/>
                    <a:pt x="209074" y="0"/>
                  </a:cubicBezTo>
                  <a:cubicBezTo>
                    <a:pt x="209074" y="0"/>
                    <a:pt x="209074" y="0"/>
                    <a:pt x="209074" y="0"/>
                  </a:cubicBezTo>
                  <a:cubicBezTo>
                    <a:pt x="179546" y="0"/>
                    <a:pt x="156686" y="23812"/>
                    <a:pt x="156686" y="53340"/>
                  </a:cubicBezTo>
                  <a:lnTo>
                    <a:pt x="156686" y="380048"/>
                  </a:lnTo>
                  <a:cubicBezTo>
                    <a:pt x="156686" y="382905"/>
                    <a:pt x="154781" y="385762"/>
                    <a:pt x="151924" y="386715"/>
                  </a:cubicBezTo>
                  <a:cubicBezTo>
                    <a:pt x="149066" y="387668"/>
                    <a:pt x="146209" y="387668"/>
                    <a:pt x="144304" y="384810"/>
                  </a:cubicBezTo>
                  <a:lnTo>
                    <a:pt x="90964" y="331470"/>
                  </a:lnTo>
                  <a:cubicBezTo>
                    <a:pt x="72866" y="313373"/>
                    <a:pt x="44291" y="310515"/>
                    <a:pt x="23336" y="324802"/>
                  </a:cubicBezTo>
                  <a:cubicBezTo>
                    <a:pt x="10954" y="333375"/>
                    <a:pt x="2381" y="346710"/>
                    <a:pt x="476" y="361950"/>
                  </a:cubicBezTo>
                  <a:cubicBezTo>
                    <a:pt x="-1429" y="377190"/>
                    <a:pt x="2381" y="392430"/>
                    <a:pt x="11906" y="403860"/>
                  </a:cubicBezTo>
                  <a:lnTo>
                    <a:pt x="145256" y="564833"/>
                  </a:lnTo>
                  <a:cubicBezTo>
                    <a:pt x="183356" y="610552"/>
                    <a:pt x="238601" y="637223"/>
                    <a:pt x="298609" y="637223"/>
                  </a:cubicBezTo>
                  <a:lnTo>
                    <a:pt x="380524" y="637223"/>
                  </a:lnTo>
                  <a:cubicBezTo>
                    <a:pt x="427196" y="637223"/>
                    <a:pt x="471011" y="619125"/>
                    <a:pt x="503396" y="585788"/>
                  </a:cubicBezTo>
                  <a:cubicBezTo>
                    <a:pt x="536734" y="552450"/>
                    <a:pt x="554831" y="508635"/>
                    <a:pt x="554831" y="462915"/>
                  </a:cubicBezTo>
                  <a:lnTo>
                    <a:pt x="554831" y="317183"/>
                  </a:ln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AB820694-C74F-490C-8BC6-678FA649F673}"/>
                </a:ext>
              </a:extLst>
            </p:cNvPr>
            <p:cNvSpPr/>
            <p:nvPr/>
          </p:nvSpPr>
          <p:spPr>
            <a:xfrm>
              <a:off x="11199081" y="350684"/>
              <a:ext cx="58884" cy="40040"/>
            </a:xfrm>
            <a:custGeom>
              <a:avLst/>
              <a:gdLst>
                <a:gd name="connsiteX0" fmla="*/ 213360 w 238125"/>
                <a:gd name="connsiteY0" fmla="*/ 160973 h 161924"/>
                <a:gd name="connsiteX1" fmla="*/ 218123 w 238125"/>
                <a:gd name="connsiteY1" fmla="*/ 161925 h 161924"/>
                <a:gd name="connsiteX2" fmla="*/ 233363 w 238125"/>
                <a:gd name="connsiteY2" fmla="*/ 150495 h 161924"/>
                <a:gd name="connsiteX3" fmla="*/ 238125 w 238125"/>
                <a:gd name="connsiteY3" fmla="*/ 119062 h 161924"/>
                <a:gd name="connsiteX4" fmla="*/ 119063 w 238125"/>
                <a:gd name="connsiteY4" fmla="*/ 0 h 161924"/>
                <a:gd name="connsiteX5" fmla="*/ 0 w 238125"/>
                <a:gd name="connsiteY5" fmla="*/ 119062 h 161924"/>
                <a:gd name="connsiteX6" fmla="*/ 4763 w 238125"/>
                <a:gd name="connsiteY6" fmla="*/ 150495 h 161924"/>
                <a:gd name="connsiteX7" fmla="*/ 24765 w 238125"/>
                <a:gd name="connsiteY7" fmla="*/ 160973 h 161924"/>
                <a:gd name="connsiteX8" fmla="*/ 35243 w 238125"/>
                <a:gd name="connsiteY8" fmla="*/ 140970 h 161924"/>
                <a:gd name="connsiteX9" fmla="*/ 32385 w 238125"/>
                <a:gd name="connsiteY9" fmla="*/ 118110 h 161924"/>
                <a:gd name="connsiteX10" fmla="*/ 120015 w 238125"/>
                <a:gd name="connsiteY10" fmla="*/ 30480 h 161924"/>
                <a:gd name="connsiteX11" fmla="*/ 207645 w 238125"/>
                <a:gd name="connsiteY11" fmla="*/ 118110 h 161924"/>
                <a:gd name="connsiteX12" fmla="*/ 204788 w 238125"/>
                <a:gd name="connsiteY12" fmla="*/ 140970 h 161924"/>
                <a:gd name="connsiteX13" fmla="*/ 213360 w 238125"/>
                <a:gd name="connsiteY13" fmla="*/ 160973 h 1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161924">
                  <a:moveTo>
                    <a:pt x="213360" y="160973"/>
                  </a:moveTo>
                  <a:cubicBezTo>
                    <a:pt x="215265" y="160973"/>
                    <a:pt x="216218" y="161925"/>
                    <a:pt x="218123" y="161925"/>
                  </a:cubicBezTo>
                  <a:cubicBezTo>
                    <a:pt x="224790" y="161925"/>
                    <a:pt x="231458" y="157162"/>
                    <a:pt x="233363" y="150495"/>
                  </a:cubicBezTo>
                  <a:cubicBezTo>
                    <a:pt x="236220" y="140970"/>
                    <a:pt x="238125" y="130492"/>
                    <a:pt x="238125" y="119062"/>
                  </a:cubicBezTo>
                  <a:cubicBezTo>
                    <a:pt x="238125" y="53340"/>
                    <a:pt x="184785" y="0"/>
                    <a:pt x="119063" y="0"/>
                  </a:cubicBezTo>
                  <a:cubicBezTo>
                    <a:pt x="53340" y="0"/>
                    <a:pt x="0" y="53340"/>
                    <a:pt x="0" y="119062"/>
                  </a:cubicBezTo>
                  <a:cubicBezTo>
                    <a:pt x="0" y="130492"/>
                    <a:pt x="1905" y="140970"/>
                    <a:pt x="4763" y="150495"/>
                  </a:cubicBezTo>
                  <a:cubicBezTo>
                    <a:pt x="7620" y="159067"/>
                    <a:pt x="16193" y="163830"/>
                    <a:pt x="24765" y="160973"/>
                  </a:cubicBezTo>
                  <a:cubicBezTo>
                    <a:pt x="33338" y="158115"/>
                    <a:pt x="38100" y="149542"/>
                    <a:pt x="35243" y="140970"/>
                  </a:cubicBezTo>
                  <a:cubicBezTo>
                    <a:pt x="33338" y="134303"/>
                    <a:pt x="32385" y="126683"/>
                    <a:pt x="32385" y="118110"/>
                  </a:cubicBezTo>
                  <a:cubicBezTo>
                    <a:pt x="32385" y="70485"/>
                    <a:pt x="71438" y="30480"/>
                    <a:pt x="120015" y="30480"/>
                  </a:cubicBezTo>
                  <a:cubicBezTo>
                    <a:pt x="168593" y="30480"/>
                    <a:pt x="207645" y="69532"/>
                    <a:pt x="207645" y="118110"/>
                  </a:cubicBezTo>
                  <a:cubicBezTo>
                    <a:pt x="207645" y="126683"/>
                    <a:pt x="206693" y="134303"/>
                    <a:pt x="204788" y="140970"/>
                  </a:cubicBezTo>
                  <a:cubicBezTo>
                    <a:pt x="200977" y="149542"/>
                    <a:pt x="205740" y="159067"/>
                    <a:pt x="213360" y="160973"/>
                  </a:cubicBez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5A9D4BDE-D6A2-411F-AD73-21F6825629C2}"/>
                </a:ext>
              </a:extLst>
            </p:cNvPr>
            <p:cNvSpPr/>
            <p:nvPr/>
          </p:nvSpPr>
          <p:spPr>
            <a:xfrm>
              <a:off x="11182829" y="334667"/>
              <a:ext cx="90916" cy="64867"/>
            </a:xfrm>
            <a:custGeom>
              <a:avLst/>
              <a:gdLst>
                <a:gd name="connsiteX0" fmla="*/ 334328 w 367664"/>
                <a:gd name="connsiteY0" fmla="*/ 260985 h 262325"/>
                <a:gd name="connsiteX1" fmla="*/ 340043 w 367664"/>
                <a:gd name="connsiteY1" fmla="*/ 261938 h 262325"/>
                <a:gd name="connsiteX2" fmla="*/ 354330 w 367664"/>
                <a:gd name="connsiteY2" fmla="*/ 252413 h 262325"/>
                <a:gd name="connsiteX3" fmla="*/ 367665 w 367664"/>
                <a:gd name="connsiteY3" fmla="*/ 183833 h 262325"/>
                <a:gd name="connsiteX4" fmla="*/ 183833 w 367664"/>
                <a:gd name="connsiteY4" fmla="*/ 0 h 262325"/>
                <a:gd name="connsiteX5" fmla="*/ 0 w 367664"/>
                <a:gd name="connsiteY5" fmla="*/ 183833 h 262325"/>
                <a:gd name="connsiteX6" fmla="*/ 13335 w 367664"/>
                <a:gd name="connsiteY6" fmla="*/ 252413 h 262325"/>
                <a:gd name="connsiteX7" fmla="*/ 34290 w 367664"/>
                <a:gd name="connsiteY7" fmla="*/ 260985 h 262325"/>
                <a:gd name="connsiteX8" fmla="*/ 42862 w 367664"/>
                <a:gd name="connsiteY8" fmla="*/ 240030 h 262325"/>
                <a:gd name="connsiteX9" fmla="*/ 31432 w 367664"/>
                <a:gd name="connsiteY9" fmla="*/ 182880 h 262325"/>
                <a:gd name="connsiteX10" fmla="*/ 183833 w 367664"/>
                <a:gd name="connsiteY10" fmla="*/ 30480 h 262325"/>
                <a:gd name="connsiteX11" fmla="*/ 336233 w 367664"/>
                <a:gd name="connsiteY11" fmla="*/ 182880 h 262325"/>
                <a:gd name="connsiteX12" fmla="*/ 324803 w 367664"/>
                <a:gd name="connsiteY12" fmla="*/ 240030 h 262325"/>
                <a:gd name="connsiteX13" fmla="*/ 334328 w 367664"/>
                <a:gd name="connsiteY13" fmla="*/ 260985 h 26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664" h="262325">
                  <a:moveTo>
                    <a:pt x="334328" y="260985"/>
                  </a:moveTo>
                  <a:cubicBezTo>
                    <a:pt x="336233" y="261938"/>
                    <a:pt x="338137" y="261938"/>
                    <a:pt x="340043" y="261938"/>
                  </a:cubicBezTo>
                  <a:cubicBezTo>
                    <a:pt x="346710" y="261938"/>
                    <a:pt x="352425" y="258128"/>
                    <a:pt x="354330" y="252413"/>
                  </a:cubicBezTo>
                  <a:cubicBezTo>
                    <a:pt x="362902" y="230505"/>
                    <a:pt x="367665" y="207645"/>
                    <a:pt x="367665" y="183833"/>
                  </a:cubicBezTo>
                  <a:cubicBezTo>
                    <a:pt x="367665" y="82868"/>
                    <a:pt x="285750" y="0"/>
                    <a:pt x="183833" y="0"/>
                  </a:cubicBezTo>
                  <a:cubicBezTo>
                    <a:pt x="82867" y="0"/>
                    <a:pt x="0" y="81915"/>
                    <a:pt x="0" y="183833"/>
                  </a:cubicBezTo>
                  <a:cubicBezTo>
                    <a:pt x="0" y="207645"/>
                    <a:pt x="4763" y="230505"/>
                    <a:pt x="13335" y="252413"/>
                  </a:cubicBezTo>
                  <a:cubicBezTo>
                    <a:pt x="16192" y="260033"/>
                    <a:pt x="25717" y="264795"/>
                    <a:pt x="34290" y="260985"/>
                  </a:cubicBezTo>
                  <a:cubicBezTo>
                    <a:pt x="41910" y="258128"/>
                    <a:pt x="46672" y="248603"/>
                    <a:pt x="42862" y="240030"/>
                  </a:cubicBezTo>
                  <a:cubicBezTo>
                    <a:pt x="35242" y="221933"/>
                    <a:pt x="31432" y="202883"/>
                    <a:pt x="31432" y="182880"/>
                  </a:cubicBezTo>
                  <a:cubicBezTo>
                    <a:pt x="31432" y="99060"/>
                    <a:pt x="100012" y="30480"/>
                    <a:pt x="183833" y="30480"/>
                  </a:cubicBezTo>
                  <a:cubicBezTo>
                    <a:pt x="267653" y="30480"/>
                    <a:pt x="336233" y="99060"/>
                    <a:pt x="336233" y="182880"/>
                  </a:cubicBezTo>
                  <a:cubicBezTo>
                    <a:pt x="336233" y="201930"/>
                    <a:pt x="332423" y="220980"/>
                    <a:pt x="324803" y="240030"/>
                  </a:cubicBezTo>
                  <a:cubicBezTo>
                    <a:pt x="321945" y="248603"/>
                    <a:pt x="325755" y="258128"/>
                    <a:pt x="334328" y="260985"/>
                  </a:cubicBez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A8A10630-7C2C-4A53-9C7B-77FBF373B654}"/>
              </a:ext>
            </a:extLst>
          </p:cNvPr>
          <p:cNvGrpSpPr/>
          <p:nvPr/>
        </p:nvGrpSpPr>
        <p:grpSpPr>
          <a:xfrm>
            <a:off x="5035751" y="4521895"/>
            <a:ext cx="389890" cy="474357"/>
            <a:chOff x="4954079" y="6547562"/>
            <a:chExt cx="179303" cy="218151"/>
          </a:xfrm>
        </p:grpSpPr>
        <p:sp>
          <p:nvSpPr>
            <p:cNvPr id="10" name="Freeform: Shape 9">
              <a:extLst>
                <a:ext uri="{FF2B5EF4-FFF2-40B4-BE49-F238E27FC236}">
                  <a16:creationId xmlns:a16="http://schemas.microsoft.com/office/drawing/2014/main" id="{1387559B-6E2A-4E7B-B491-059456489730}"/>
                </a:ext>
              </a:extLst>
            </p:cNvPr>
            <p:cNvSpPr/>
            <p:nvPr/>
          </p:nvSpPr>
          <p:spPr>
            <a:xfrm>
              <a:off x="5014284" y="6603421"/>
              <a:ext cx="58886" cy="106497"/>
            </a:xfrm>
            <a:custGeom>
              <a:avLst/>
              <a:gdLst>
                <a:gd name="connsiteX0" fmla="*/ 46338 w 109691"/>
                <a:gd name="connsiteY0" fmla="*/ 205343 h 201832"/>
                <a:gd name="connsiteX1" fmla="*/ 65205 w 109691"/>
                <a:gd name="connsiteY1" fmla="*/ 205343 h 201832"/>
                <a:gd name="connsiteX2" fmla="*/ 72664 w 109691"/>
                <a:gd name="connsiteY2" fmla="*/ 197883 h 201832"/>
                <a:gd name="connsiteX3" fmla="*/ 72664 w 109691"/>
                <a:gd name="connsiteY3" fmla="*/ 181649 h 201832"/>
                <a:gd name="connsiteX4" fmla="*/ 111275 w 109691"/>
                <a:gd name="connsiteY4" fmla="*/ 139089 h 201832"/>
                <a:gd name="connsiteX5" fmla="*/ 98990 w 109691"/>
                <a:gd name="connsiteY5" fmla="*/ 101355 h 201832"/>
                <a:gd name="connsiteX6" fmla="*/ 63011 w 109691"/>
                <a:gd name="connsiteY6" fmla="*/ 85559 h 201832"/>
                <a:gd name="connsiteX7" fmla="*/ 48970 w 109691"/>
                <a:gd name="connsiteY7" fmla="*/ 85559 h 201832"/>
                <a:gd name="connsiteX8" fmla="*/ 38001 w 109691"/>
                <a:gd name="connsiteY8" fmla="*/ 80733 h 201832"/>
                <a:gd name="connsiteX9" fmla="*/ 34052 w 109691"/>
                <a:gd name="connsiteY9" fmla="*/ 69325 h 201832"/>
                <a:gd name="connsiteX10" fmla="*/ 49848 w 109691"/>
                <a:gd name="connsiteY10" fmla="*/ 56162 h 201832"/>
                <a:gd name="connsiteX11" fmla="*/ 66521 w 109691"/>
                <a:gd name="connsiteY11" fmla="*/ 56162 h 201832"/>
                <a:gd name="connsiteX12" fmla="*/ 75296 w 109691"/>
                <a:gd name="connsiteY12" fmla="*/ 63621 h 201832"/>
                <a:gd name="connsiteX13" fmla="*/ 82755 w 109691"/>
                <a:gd name="connsiteY13" fmla="*/ 69325 h 201832"/>
                <a:gd name="connsiteX14" fmla="*/ 101622 w 109691"/>
                <a:gd name="connsiteY14" fmla="*/ 69325 h 201832"/>
                <a:gd name="connsiteX15" fmla="*/ 107326 w 109691"/>
                <a:gd name="connsiteY15" fmla="*/ 66692 h 201832"/>
                <a:gd name="connsiteX16" fmla="*/ 109081 w 109691"/>
                <a:gd name="connsiteY16" fmla="*/ 60988 h 201832"/>
                <a:gd name="connsiteX17" fmla="*/ 72664 w 109691"/>
                <a:gd name="connsiteY17" fmla="*/ 22816 h 201832"/>
                <a:gd name="connsiteX18" fmla="*/ 72664 w 109691"/>
                <a:gd name="connsiteY18" fmla="*/ 7459 h 201832"/>
                <a:gd name="connsiteX19" fmla="*/ 65205 w 109691"/>
                <a:gd name="connsiteY19" fmla="*/ 0 h 201832"/>
                <a:gd name="connsiteX20" fmla="*/ 46338 w 109691"/>
                <a:gd name="connsiteY20" fmla="*/ 0 h 201832"/>
                <a:gd name="connsiteX21" fmla="*/ 38879 w 109691"/>
                <a:gd name="connsiteY21" fmla="*/ 7459 h 201832"/>
                <a:gd name="connsiteX22" fmla="*/ 38879 w 109691"/>
                <a:gd name="connsiteY22" fmla="*/ 23255 h 201832"/>
                <a:gd name="connsiteX23" fmla="*/ 267 w 109691"/>
                <a:gd name="connsiteY23" fmla="*/ 75907 h 201832"/>
                <a:gd name="connsiteX24" fmla="*/ 50725 w 109691"/>
                <a:gd name="connsiteY24" fmla="*/ 119783 h 201832"/>
                <a:gd name="connsiteX25" fmla="*/ 63011 w 109691"/>
                <a:gd name="connsiteY25" fmla="*/ 119783 h 201832"/>
                <a:gd name="connsiteX26" fmla="*/ 73980 w 109691"/>
                <a:gd name="connsiteY26" fmla="*/ 124610 h 201832"/>
                <a:gd name="connsiteX27" fmla="*/ 77929 w 109691"/>
                <a:gd name="connsiteY27" fmla="*/ 136017 h 201832"/>
                <a:gd name="connsiteX28" fmla="*/ 62133 w 109691"/>
                <a:gd name="connsiteY28" fmla="*/ 149180 h 201832"/>
                <a:gd name="connsiteX29" fmla="*/ 45460 w 109691"/>
                <a:gd name="connsiteY29" fmla="*/ 149180 h 201832"/>
                <a:gd name="connsiteX30" fmla="*/ 36246 w 109691"/>
                <a:gd name="connsiteY30" fmla="*/ 141721 h 201832"/>
                <a:gd name="connsiteX31" fmla="*/ 28787 w 109691"/>
                <a:gd name="connsiteY31" fmla="*/ 136017 h 201832"/>
                <a:gd name="connsiteX32" fmla="*/ 9920 w 109691"/>
                <a:gd name="connsiteY32" fmla="*/ 136017 h 201832"/>
                <a:gd name="connsiteX33" fmla="*/ 4216 w 109691"/>
                <a:gd name="connsiteY33" fmla="*/ 138650 h 201832"/>
                <a:gd name="connsiteX34" fmla="*/ 2461 w 109691"/>
                <a:gd name="connsiteY34" fmla="*/ 144354 h 201832"/>
                <a:gd name="connsiteX35" fmla="*/ 38879 w 109691"/>
                <a:gd name="connsiteY35" fmla="*/ 182527 h 201832"/>
                <a:gd name="connsiteX36" fmla="*/ 38879 w 109691"/>
                <a:gd name="connsiteY36" fmla="*/ 197883 h 201832"/>
                <a:gd name="connsiteX37" fmla="*/ 46338 w 109691"/>
                <a:gd name="connsiteY37" fmla="*/ 205343 h 20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691" h="201832">
                  <a:moveTo>
                    <a:pt x="46338" y="205343"/>
                  </a:moveTo>
                  <a:lnTo>
                    <a:pt x="65205" y="205343"/>
                  </a:lnTo>
                  <a:cubicBezTo>
                    <a:pt x="69153" y="205343"/>
                    <a:pt x="72664" y="201832"/>
                    <a:pt x="72664" y="197883"/>
                  </a:cubicBezTo>
                  <a:lnTo>
                    <a:pt x="72664" y="181649"/>
                  </a:lnTo>
                  <a:cubicBezTo>
                    <a:pt x="93724" y="176823"/>
                    <a:pt x="109520" y="159711"/>
                    <a:pt x="111275" y="139089"/>
                  </a:cubicBezTo>
                  <a:cubicBezTo>
                    <a:pt x="112591" y="125048"/>
                    <a:pt x="108204" y="111885"/>
                    <a:pt x="98990" y="101355"/>
                  </a:cubicBezTo>
                  <a:cubicBezTo>
                    <a:pt x="89775" y="91263"/>
                    <a:pt x="76612" y="85559"/>
                    <a:pt x="63011" y="85559"/>
                  </a:cubicBezTo>
                  <a:lnTo>
                    <a:pt x="48970" y="85559"/>
                  </a:lnTo>
                  <a:cubicBezTo>
                    <a:pt x="44583" y="85559"/>
                    <a:pt x="40634" y="83804"/>
                    <a:pt x="38001" y="80733"/>
                  </a:cubicBezTo>
                  <a:cubicBezTo>
                    <a:pt x="34930" y="77662"/>
                    <a:pt x="33613" y="73274"/>
                    <a:pt x="34052" y="69325"/>
                  </a:cubicBezTo>
                  <a:cubicBezTo>
                    <a:pt x="34930" y="61866"/>
                    <a:pt x="41950" y="56162"/>
                    <a:pt x="49848" y="56162"/>
                  </a:cubicBezTo>
                  <a:lnTo>
                    <a:pt x="66521" y="56162"/>
                  </a:lnTo>
                  <a:cubicBezTo>
                    <a:pt x="70908" y="56162"/>
                    <a:pt x="74419" y="59233"/>
                    <a:pt x="75296" y="63621"/>
                  </a:cubicBezTo>
                  <a:cubicBezTo>
                    <a:pt x="76174" y="67131"/>
                    <a:pt x="79245" y="69325"/>
                    <a:pt x="82755" y="69325"/>
                  </a:cubicBezTo>
                  <a:lnTo>
                    <a:pt x="101622" y="69325"/>
                  </a:lnTo>
                  <a:cubicBezTo>
                    <a:pt x="103816" y="69325"/>
                    <a:pt x="106010" y="68448"/>
                    <a:pt x="107326" y="66692"/>
                  </a:cubicBezTo>
                  <a:cubicBezTo>
                    <a:pt x="108642" y="64937"/>
                    <a:pt x="109520" y="63182"/>
                    <a:pt x="109081" y="60988"/>
                  </a:cubicBezTo>
                  <a:cubicBezTo>
                    <a:pt x="106887" y="41244"/>
                    <a:pt x="91969" y="25887"/>
                    <a:pt x="72664" y="22816"/>
                  </a:cubicBezTo>
                  <a:lnTo>
                    <a:pt x="72664" y="7459"/>
                  </a:lnTo>
                  <a:cubicBezTo>
                    <a:pt x="72664" y="3510"/>
                    <a:pt x="69153" y="0"/>
                    <a:pt x="65205" y="0"/>
                  </a:cubicBezTo>
                  <a:lnTo>
                    <a:pt x="46338" y="0"/>
                  </a:lnTo>
                  <a:cubicBezTo>
                    <a:pt x="42389" y="0"/>
                    <a:pt x="38879" y="3510"/>
                    <a:pt x="38879" y="7459"/>
                  </a:cubicBezTo>
                  <a:lnTo>
                    <a:pt x="38879" y="23255"/>
                  </a:lnTo>
                  <a:cubicBezTo>
                    <a:pt x="14746" y="28081"/>
                    <a:pt x="-2365" y="50458"/>
                    <a:pt x="267" y="75907"/>
                  </a:cubicBezTo>
                  <a:cubicBezTo>
                    <a:pt x="2461" y="100477"/>
                    <a:pt x="24838" y="119783"/>
                    <a:pt x="50725" y="119783"/>
                  </a:cubicBezTo>
                  <a:lnTo>
                    <a:pt x="63011" y="119783"/>
                  </a:lnTo>
                  <a:cubicBezTo>
                    <a:pt x="67398" y="119783"/>
                    <a:pt x="71347" y="121538"/>
                    <a:pt x="73980" y="124610"/>
                  </a:cubicBezTo>
                  <a:cubicBezTo>
                    <a:pt x="77051" y="127681"/>
                    <a:pt x="78368" y="132069"/>
                    <a:pt x="77929" y="136017"/>
                  </a:cubicBezTo>
                  <a:cubicBezTo>
                    <a:pt x="77051" y="143476"/>
                    <a:pt x="70031" y="149180"/>
                    <a:pt x="62133" y="149180"/>
                  </a:cubicBezTo>
                  <a:lnTo>
                    <a:pt x="45460" y="149180"/>
                  </a:lnTo>
                  <a:cubicBezTo>
                    <a:pt x="41072" y="149180"/>
                    <a:pt x="37562" y="146109"/>
                    <a:pt x="36246" y="141721"/>
                  </a:cubicBezTo>
                  <a:cubicBezTo>
                    <a:pt x="35368" y="138211"/>
                    <a:pt x="32297" y="136017"/>
                    <a:pt x="28787" y="136017"/>
                  </a:cubicBezTo>
                  <a:lnTo>
                    <a:pt x="9920" y="136017"/>
                  </a:lnTo>
                  <a:cubicBezTo>
                    <a:pt x="7726" y="136017"/>
                    <a:pt x="5532" y="136895"/>
                    <a:pt x="4216" y="138650"/>
                  </a:cubicBezTo>
                  <a:cubicBezTo>
                    <a:pt x="2900" y="139966"/>
                    <a:pt x="2022" y="142160"/>
                    <a:pt x="2461" y="144354"/>
                  </a:cubicBezTo>
                  <a:cubicBezTo>
                    <a:pt x="4216" y="164098"/>
                    <a:pt x="19573" y="179455"/>
                    <a:pt x="38879" y="182527"/>
                  </a:cubicBezTo>
                  <a:lnTo>
                    <a:pt x="38879" y="197883"/>
                  </a:lnTo>
                  <a:cubicBezTo>
                    <a:pt x="38879" y="201832"/>
                    <a:pt x="41950" y="205343"/>
                    <a:pt x="46338" y="205343"/>
                  </a:cubicBezTo>
                  <a:close/>
                </a:path>
              </a:pathLst>
            </a:custGeom>
            <a:solidFill>
              <a:schemeClr val="accent2"/>
            </a:solidFill>
            <a:ln w="438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5823AE2-37A1-4414-9535-CB7E80EA274C}"/>
                </a:ext>
              </a:extLst>
            </p:cNvPr>
            <p:cNvSpPr/>
            <p:nvPr/>
          </p:nvSpPr>
          <p:spPr>
            <a:xfrm>
              <a:off x="4956725" y="6547562"/>
              <a:ext cx="176657" cy="85660"/>
            </a:xfrm>
            <a:custGeom>
              <a:avLst/>
              <a:gdLst>
                <a:gd name="connsiteX0" fmla="*/ 59233 w 329074"/>
                <a:gd name="connsiteY0" fmla="*/ 165963 h 162343"/>
                <a:gd name="connsiteX1" fmla="*/ 75907 w 329074"/>
                <a:gd name="connsiteY1" fmla="*/ 149290 h 162343"/>
                <a:gd name="connsiteX2" fmla="*/ 59233 w 329074"/>
                <a:gd name="connsiteY2" fmla="*/ 132617 h 162343"/>
                <a:gd name="connsiteX3" fmla="*/ 33346 w 329074"/>
                <a:gd name="connsiteY3" fmla="*/ 106730 h 162343"/>
                <a:gd name="connsiteX4" fmla="*/ 59233 w 329074"/>
                <a:gd name="connsiteY4" fmla="*/ 80843 h 162343"/>
                <a:gd name="connsiteX5" fmla="*/ 273790 w 329074"/>
                <a:gd name="connsiteY5" fmla="*/ 80843 h 162343"/>
                <a:gd name="connsiteX6" fmla="*/ 254923 w 329074"/>
                <a:gd name="connsiteY6" fmla="*/ 99271 h 162343"/>
                <a:gd name="connsiteX7" fmla="*/ 254923 w 329074"/>
                <a:gd name="connsiteY7" fmla="*/ 122525 h 162343"/>
                <a:gd name="connsiteX8" fmla="*/ 266770 w 329074"/>
                <a:gd name="connsiteY8" fmla="*/ 127352 h 162343"/>
                <a:gd name="connsiteX9" fmla="*/ 278616 w 329074"/>
                <a:gd name="connsiteY9" fmla="*/ 122525 h 162343"/>
                <a:gd name="connsiteX10" fmla="*/ 326003 w 329074"/>
                <a:gd name="connsiteY10" fmla="*/ 75139 h 162343"/>
                <a:gd name="connsiteX11" fmla="*/ 326003 w 329074"/>
                <a:gd name="connsiteY11" fmla="*/ 51884 h 162343"/>
                <a:gd name="connsiteX12" fmla="*/ 278178 w 329074"/>
                <a:gd name="connsiteY12" fmla="*/ 4936 h 162343"/>
                <a:gd name="connsiteX13" fmla="*/ 254923 w 329074"/>
                <a:gd name="connsiteY13" fmla="*/ 4936 h 162343"/>
                <a:gd name="connsiteX14" fmla="*/ 254923 w 329074"/>
                <a:gd name="connsiteY14" fmla="*/ 28191 h 162343"/>
                <a:gd name="connsiteX15" fmla="*/ 273790 w 329074"/>
                <a:gd name="connsiteY15" fmla="*/ 47058 h 162343"/>
                <a:gd name="connsiteX16" fmla="*/ 59233 w 329074"/>
                <a:gd name="connsiteY16" fmla="*/ 47058 h 162343"/>
                <a:gd name="connsiteX17" fmla="*/ 0 w 329074"/>
                <a:gd name="connsiteY17" fmla="*/ 106291 h 162343"/>
                <a:gd name="connsiteX18" fmla="*/ 59233 w 329074"/>
                <a:gd name="connsiteY18" fmla="*/ 165963 h 16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074" h="162343">
                  <a:moveTo>
                    <a:pt x="59233" y="165963"/>
                  </a:moveTo>
                  <a:cubicBezTo>
                    <a:pt x="68448" y="165963"/>
                    <a:pt x="75907" y="158504"/>
                    <a:pt x="75907" y="149290"/>
                  </a:cubicBezTo>
                  <a:cubicBezTo>
                    <a:pt x="75907" y="140076"/>
                    <a:pt x="68448" y="132617"/>
                    <a:pt x="59233" y="132617"/>
                  </a:cubicBezTo>
                  <a:cubicBezTo>
                    <a:pt x="44754" y="132617"/>
                    <a:pt x="33346" y="120770"/>
                    <a:pt x="33346" y="106730"/>
                  </a:cubicBezTo>
                  <a:cubicBezTo>
                    <a:pt x="33346" y="92251"/>
                    <a:pt x="45193" y="80843"/>
                    <a:pt x="59233" y="80843"/>
                  </a:cubicBezTo>
                  <a:lnTo>
                    <a:pt x="273790" y="80843"/>
                  </a:lnTo>
                  <a:lnTo>
                    <a:pt x="254923" y="99271"/>
                  </a:lnTo>
                  <a:cubicBezTo>
                    <a:pt x="248342" y="105852"/>
                    <a:pt x="248342" y="116383"/>
                    <a:pt x="254923" y="122525"/>
                  </a:cubicBezTo>
                  <a:cubicBezTo>
                    <a:pt x="257994" y="125597"/>
                    <a:pt x="262382" y="127352"/>
                    <a:pt x="266770" y="127352"/>
                  </a:cubicBezTo>
                  <a:cubicBezTo>
                    <a:pt x="271157" y="127352"/>
                    <a:pt x="275106" y="125597"/>
                    <a:pt x="278616" y="122525"/>
                  </a:cubicBezTo>
                  <a:lnTo>
                    <a:pt x="326003" y="75139"/>
                  </a:lnTo>
                  <a:cubicBezTo>
                    <a:pt x="332585" y="68557"/>
                    <a:pt x="332585" y="58027"/>
                    <a:pt x="326003" y="51884"/>
                  </a:cubicBezTo>
                  <a:lnTo>
                    <a:pt x="278178" y="4936"/>
                  </a:lnTo>
                  <a:cubicBezTo>
                    <a:pt x="271596" y="-1645"/>
                    <a:pt x="261066" y="-1645"/>
                    <a:pt x="254923" y="4936"/>
                  </a:cubicBezTo>
                  <a:cubicBezTo>
                    <a:pt x="248342" y="11518"/>
                    <a:pt x="248342" y="22048"/>
                    <a:pt x="254923" y="28191"/>
                  </a:cubicBezTo>
                  <a:lnTo>
                    <a:pt x="273790" y="47058"/>
                  </a:lnTo>
                  <a:lnTo>
                    <a:pt x="59233" y="47058"/>
                  </a:lnTo>
                  <a:cubicBezTo>
                    <a:pt x="26765" y="47058"/>
                    <a:pt x="0" y="73822"/>
                    <a:pt x="0" y="106291"/>
                  </a:cubicBezTo>
                  <a:cubicBezTo>
                    <a:pt x="0" y="139199"/>
                    <a:pt x="26326" y="165963"/>
                    <a:pt x="59233" y="165963"/>
                  </a:cubicBezTo>
                  <a:close/>
                </a:path>
              </a:pathLst>
            </a:custGeom>
            <a:solidFill>
              <a:schemeClr val="accent1"/>
            </a:solidFill>
            <a:ln w="438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8D59067F-2F45-44EE-B550-A3239946C200}"/>
                </a:ext>
              </a:extLst>
            </p:cNvPr>
            <p:cNvSpPr/>
            <p:nvPr/>
          </p:nvSpPr>
          <p:spPr>
            <a:xfrm>
              <a:off x="4954079" y="6680053"/>
              <a:ext cx="176657" cy="85660"/>
            </a:xfrm>
            <a:custGeom>
              <a:avLst/>
              <a:gdLst>
                <a:gd name="connsiteX0" fmla="*/ 271267 w 329074"/>
                <a:gd name="connsiteY0" fmla="*/ 0 h 162343"/>
                <a:gd name="connsiteX1" fmla="*/ 254594 w 329074"/>
                <a:gd name="connsiteY1" fmla="*/ 16673 h 162343"/>
                <a:gd name="connsiteX2" fmla="*/ 271267 w 329074"/>
                <a:gd name="connsiteY2" fmla="*/ 33346 h 162343"/>
                <a:gd name="connsiteX3" fmla="*/ 297154 w 329074"/>
                <a:gd name="connsiteY3" fmla="*/ 59233 h 162343"/>
                <a:gd name="connsiteX4" fmla="*/ 271267 w 329074"/>
                <a:gd name="connsiteY4" fmla="*/ 85121 h 162343"/>
                <a:gd name="connsiteX5" fmla="*/ 56711 w 329074"/>
                <a:gd name="connsiteY5" fmla="*/ 85121 h 162343"/>
                <a:gd name="connsiteX6" fmla="*/ 75577 w 329074"/>
                <a:gd name="connsiteY6" fmla="*/ 66254 h 162343"/>
                <a:gd name="connsiteX7" fmla="*/ 75577 w 329074"/>
                <a:gd name="connsiteY7" fmla="*/ 42999 h 162343"/>
                <a:gd name="connsiteX8" fmla="*/ 52323 w 329074"/>
                <a:gd name="connsiteY8" fmla="*/ 42999 h 162343"/>
                <a:gd name="connsiteX9" fmla="*/ 4936 w 329074"/>
                <a:gd name="connsiteY9" fmla="*/ 90386 h 162343"/>
                <a:gd name="connsiteX10" fmla="*/ 4936 w 329074"/>
                <a:gd name="connsiteY10" fmla="*/ 113640 h 162343"/>
                <a:gd name="connsiteX11" fmla="*/ 52323 w 329074"/>
                <a:gd name="connsiteY11" fmla="*/ 161027 h 162343"/>
                <a:gd name="connsiteX12" fmla="*/ 64170 w 329074"/>
                <a:gd name="connsiteY12" fmla="*/ 165854 h 162343"/>
                <a:gd name="connsiteX13" fmla="*/ 76016 w 329074"/>
                <a:gd name="connsiteY13" fmla="*/ 161027 h 162343"/>
                <a:gd name="connsiteX14" fmla="*/ 76016 w 329074"/>
                <a:gd name="connsiteY14" fmla="*/ 137773 h 162343"/>
                <a:gd name="connsiteX15" fmla="*/ 57149 w 329074"/>
                <a:gd name="connsiteY15" fmla="*/ 118906 h 162343"/>
                <a:gd name="connsiteX16" fmla="*/ 271706 w 329074"/>
                <a:gd name="connsiteY16" fmla="*/ 118906 h 162343"/>
                <a:gd name="connsiteX17" fmla="*/ 330939 w 329074"/>
                <a:gd name="connsiteY17" fmla="*/ 59672 h 162343"/>
                <a:gd name="connsiteX18" fmla="*/ 271267 w 329074"/>
                <a:gd name="connsiteY18" fmla="*/ 0 h 16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074" h="162343">
                  <a:moveTo>
                    <a:pt x="271267" y="0"/>
                  </a:moveTo>
                  <a:cubicBezTo>
                    <a:pt x="262053" y="0"/>
                    <a:pt x="254594" y="7459"/>
                    <a:pt x="254594" y="16673"/>
                  </a:cubicBezTo>
                  <a:cubicBezTo>
                    <a:pt x="254594" y="25887"/>
                    <a:pt x="262053" y="33346"/>
                    <a:pt x="271267" y="33346"/>
                  </a:cubicBezTo>
                  <a:cubicBezTo>
                    <a:pt x="285746" y="33346"/>
                    <a:pt x="297154" y="45193"/>
                    <a:pt x="297154" y="59233"/>
                  </a:cubicBezTo>
                  <a:cubicBezTo>
                    <a:pt x="297154" y="73713"/>
                    <a:pt x="285308" y="85121"/>
                    <a:pt x="271267" y="85121"/>
                  </a:cubicBezTo>
                  <a:lnTo>
                    <a:pt x="56711" y="85121"/>
                  </a:lnTo>
                  <a:lnTo>
                    <a:pt x="75577" y="66254"/>
                  </a:lnTo>
                  <a:cubicBezTo>
                    <a:pt x="82159" y="59672"/>
                    <a:pt x="82159" y="49142"/>
                    <a:pt x="75577" y="42999"/>
                  </a:cubicBezTo>
                  <a:cubicBezTo>
                    <a:pt x="68996" y="36418"/>
                    <a:pt x="58466" y="36418"/>
                    <a:pt x="52323" y="42999"/>
                  </a:cubicBezTo>
                  <a:lnTo>
                    <a:pt x="4936" y="90386"/>
                  </a:lnTo>
                  <a:cubicBezTo>
                    <a:pt x="-1645" y="96967"/>
                    <a:pt x="-1645" y="107498"/>
                    <a:pt x="4936" y="113640"/>
                  </a:cubicBezTo>
                  <a:lnTo>
                    <a:pt x="52323" y="161027"/>
                  </a:lnTo>
                  <a:cubicBezTo>
                    <a:pt x="55394" y="164098"/>
                    <a:pt x="59782" y="165854"/>
                    <a:pt x="64170" y="165854"/>
                  </a:cubicBezTo>
                  <a:cubicBezTo>
                    <a:pt x="68557" y="165854"/>
                    <a:pt x="72506" y="164098"/>
                    <a:pt x="76016" y="161027"/>
                  </a:cubicBezTo>
                  <a:cubicBezTo>
                    <a:pt x="82598" y="154446"/>
                    <a:pt x="82598" y="143915"/>
                    <a:pt x="76016" y="137773"/>
                  </a:cubicBezTo>
                  <a:lnTo>
                    <a:pt x="57149" y="118906"/>
                  </a:lnTo>
                  <a:lnTo>
                    <a:pt x="271706" y="118906"/>
                  </a:lnTo>
                  <a:cubicBezTo>
                    <a:pt x="304175" y="118906"/>
                    <a:pt x="330939" y="92141"/>
                    <a:pt x="330939" y="59672"/>
                  </a:cubicBezTo>
                  <a:cubicBezTo>
                    <a:pt x="330501" y="26765"/>
                    <a:pt x="304175" y="0"/>
                    <a:pt x="271267" y="0"/>
                  </a:cubicBezTo>
                  <a:close/>
                </a:path>
              </a:pathLst>
            </a:custGeom>
            <a:solidFill>
              <a:schemeClr val="accent1"/>
            </a:solidFill>
            <a:ln w="438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36A524A4-9C51-41EE-A3A2-E8CBA9DF0DC1}"/>
              </a:ext>
            </a:extLst>
          </p:cNvPr>
          <p:cNvGrpSpPr/>
          <p:nvPr/>
        </p:nvGrpSpPr>
        <p:grpSpPr>
          <a:xfrm>
            <a:off x="6779718" y="4593679"/>
            <a:ext cx="411480" cy="411480"/>
            <a:chOff x="6916016" y="6591345"/>
            <a:chExt cx="234469" cy="214512"/>
          </a:xfrm>
        </p:grpSpPr>
        <p:sp>
          <p:nvSpPr>
            <p:cNvPr id="13" name="Freeform: Shape 12">
              <a:extLst>
                <a:ext uri="{FF2B5EF4-FFF2-40B4-BE49-F238E27FC236}">
                  <a16:creationId xmlns:a16="http://schemas.microsoft.com/office/drawing/2014/main" id="{4CE567B1-64E6-4F34-A837-0FF488759C8B}"/>
                </a:ext>
              </a:extLst>
            </p:cNvPr>
            <p:cNvSpPr/>
            <p:nvPr/>
          </p:nvSpPr>
          <p:spPr>
            <a:xfrm>
              <a:off x="6916016" y="6591345"/>
              <a:ext cx="107804" cy="93388"/>
            </a:xfrm>
            <a:custGeom>
              <a:avLst/>
              <a:gdLst>
                <a:gd name="connsiteX0" fmla="*/ 336709 w 428625"/>
                <a:gd name="connsiteY0" fmla="*/ 202072 h 381000"/>
                <a:gd name="connsiteX1" fmla="*/ 471440 w 428625"/>
                <a:gd name="connsiteY1" fmla="*/ 67340 h 381000"/>
                <a:gd name="connsiteX2" fmla="*/ 269367 w 428625"/>
                <a:gd name="connsiteY2" fmla="*/ 0 h 381000"/>
                <a:gd name="connsiteX3" fmla="*/ 202025 w 428625"/>
                <a:gd name="connsiteY3" fmla="*/ 67340 h 381000"/>
                <a:gd name="connsiteX4" fmla="*/ 168354 w 428625"/>
                <a:gd name="connsiteY4" fmla="*/ 33669 h 381000"/>
                <a:gd name="connsiteX5" fmla="*/ 67342 w 428625"/>
                <a:gd name="connsiteY5" fmla="*/ 134682 h 381000"/>
                <a:gd name="connsiteX6" fmla="*/ 101013 w 428625"/>
                <a:gd name="connsiteY6" fmla="*/ 168353 h 381000"/>
                <a:gd name="connsiteX7" fmla="*/ 0 w 428625"/>
                <a:gd name="connsiteY7" fmla="*/ 269414 h 381000"/>
                <a:gd name="connsiteX8" fmla="*/ 134683 w 428625"/>
                <a:gd name="connsiteY8" fmla="*/ 404097 h 381000"/>
                <a:gd name="connsiteX9" fmla="*/ 235696 w 428625"/>
                <a:gd name="connsiteY9" fmla="*/ 303085 h 381000"/>
                <a:gd name="connsiteX10" fmla="*/ 359426 w 428625"/>
                <a:gd name="connsiteY10" fmla="*/ 426814 h 381000"/>
                <a:gd name="connsiteX11" fmla="*/ 460438 w 428625"/>
                <a:gd name="connsiteY11" fmla="*/ 32575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381000">
                  <a:moveTo>
                    <a:pt x="336709" y="202072"/>
                  </a:moveTo>
                  <a:lnTo>
                    <a:pt x="471440" y="67340"/>
                  </a:lnTo>
                  <a:lnTo>
                    <a:pt x="269367" y="0"/>
                  </a:lnTo>
                  <a:lnTo>
                    <a:pt x="202025" y="67340"/>
                  </a:lnTo>
                  <a:lnTo>
                    <a:pt x="168354" y="33669"/>
                  </a:lnTo>
                  <a:lnTo>
                    <a:pt x="67342" y="134682"/>
                  </a:lnTo>
                  <a:lnTo>
                    <a:pt x="101013" y="168353"/>
                  </a:lnTo>
                  <a:lnTo>
                    <a:pt x="0" y="269414"/>
                  </a:lnTo>
                  <a:lnTo>
                    <a:pt x="134683" y="404097"/>
                  </a:lnTo>
                  <a:lnTo>
                    <a:pt x="235696" y="303085"/>
                  </a:lnTo>
                  <a:lnTo>
                    <a:pt x="359426" y="426814"/>
                  </a:lnTo>
                  <a:lnTo>
                    <a:pt x="460438" y="325755"/>
                  </a:lnTo>
                  <a:close/>
                </a:path>
              </a:pathLst>
            </a:custGeom>
            <a:solidFill>
              <a:schemeClr val="accent1"/>
            </a:solidFill>
            <a:ln w="476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09A2CCDF-6BBE-4EDA-8CE0-93D8D00970C6}"/>
                </a:ext>
              </a:extLst>
            </p:cNvPr>
            <p:cNvSpPr/>
            <p:nvPr/>
          </p:nvSpPr>
          <p:spPr>
            <a:xfrm>
              <a:off x="7048759" y="6712469"/>
              <a:ext cx="95826" cy="93388"/>
            </a:xfrm>
            <a:custGeom>
              <a:avLst/>
              <a:gdLst>
                <a:gd name="connsiteX0" fmla="*/ 263557 w 381000"/>
                <a:gd name="connsiteY0" fmla="*/ 364569 h 381000"/>
                <a:gd name="connsiteX1" fmla="*/ 364617 w 381000"/>
                <a:gd name="connsiteY1" fmla="*/ 364569 h 381000"/>
                <a:gd name="connsiteX2" fmla="*/ 364617 w 381000"/>
                <a:gd name="connsiteY2" fmla="*/ 263557 h 381000"/>
                <a:gd name="connsiteX3" fmla="*/ 101060 w 381000"/>
                <a:gd name="connsiteY3" fmla="*/ 0 h 381000"/>
                <a:gd name="connsiteX4" fmla="*/ 0 w 381000"/>
                <a:gd name="connsiteY4" fmla="*/ 101013 h 381000"/>
                <a:gd name="connsiteX5" fmla="*/ 263557 w 381000"/>
                <a:gd name="connsiteY5" fmla="*/ 36456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0" h="381000">
                  <a:moveTo>
                    <a:pt x="263557" y="364569"/>
                  </a:moveTo>
                  <a:cubicBezTo>
                    <a:pt x="291465" y="392478"/>
                    <a:pt x="336709" y="392478"/>
                    <a:pt x="364617" y="364569"/>
                  </a:cubicBezTo>
                  <a:cubicBezTo>
                    <a:pt x="392478" y="336661"/>
                    <a:pt x="392525" y="291465"/>
                    <a:pt x="364617" y="263557"/>
                  </a:cubicBezTo>
                  <a:lnTo>
                    <a:pt x="101060" y="0"/>
                  </a:lnTo>
                  <a:lnTo>
                    <a:pt x="0" y="101013"/>
                  </a:lnTo>
                  <a:lnTo>
                    <a:pt x="263557" y="364569"/>
                  </a:lnTo>
                  <a:close/>
                </a:path>
              </a:pathLst>
            </a:custGeom>
            <a:solidFill>
              <a:schemeClr val="accent1"/>
            </a:solidFill>
            <a:ln w="476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1FDAEDF-4008-4B09-9DBB-329DCCCBC26D}"/>
                </a:ext>
              </a:extLst>
            </p:cNvPr>
            <p:cNvSpPr/>
            <p:nvPr/>
          </p:nvSpPr>
          <p:spPr>
            <a:xfrm>
              <a:off x="6934876" y="6591851"/>
              <a:ext cx="215609" cy="210123"/>
            </a:xfrm>
            <a:custGeom>
              <a:avLst/>
              <a:gdLst>
                <a:gd name="connsiteX0" fmla="*/ 829128 w 857250"/>
                <a:gd name="connsiteY0" fmla="*/ 284158 h 857250"/>
                <a:gd name="connsiteX1" fmla="*/ 867847 w 857250"/>
                <a:gd name="connsiteY1" fmla="*/ 110708 h 857250"/>
                <a:gd name="connsiteX2" fmla="*/ 795457 w 857250"/>
                <a:gd name="connsiteY2" fmla="*/ 183146 h 857250"/>
                <a:gd name="connsiteX3" fmla="*/ 694396 w 857250"/>
                <a:gd name="connsiteY3" fmla="*/ 183146 h 857250"/>
                <a:gd name="connsiteX4" fmla="*/ 694396 w 857250"/>
                <a:gd name="connsiteY4" fmla="*/ 82086 h 857250"/>
                <a:gd name="connsiteX5" fmla="*/ 766834 w 857250"/>
                <a:gd name="connsiteY5" fmla="*/ 9647 h 857250"/>
                <a:gd name="connsiteX6" fmla="*/ 593384 w 857250"/>
                <a:gd name="connsiteY6" fmla="*/ 48415 h 857250"/>
                <a:gd name="connsiteX7" fmla="*/ 554665 w 857250"/>
                <a:gd name="connsiteY7" fmla="*/ 221912 h 857250"/>
                <a:gd name="connsiteX8" fmla="*/ 419124 w 857250"/>
                <a:gd name="connsiteY8" fmla="*/ 357405 h 857250"/>
                <a:gd name="connsiteX9" fmla="*/ 318111 w 857250"/>
                <a:gd name="connsiteY9" fmla="*/ 458418 h 857250"/>
                <a:gd name="connsiteX10" fmla="*/ 20931 w 857250"/>
                <a:gd name="connsiteY10" fmla="*/ 755645 h 857250"/>
                <a:gd name="connsiteX11" fmla="*/ 20931 w 857250"/>
                <a:gd name="connsiteY11" fmla="*/ 856658 h 857250"/>
                <a:gd name="connsiteX12" fmla="*/ 121944 w 857250"/>
                <a:gd name="connsiteY12" fmla="*/ 856658 h 857250"/>
                <a:gd name="connsiteX13" fmla="*/ 419124 w 857250"/>
                <a:gd name="connsiteY13" fmla="*/ 559431 h 857250"/>
                <a:gd name="connsiteX14" fmla="*/ 520184 w 857250"/>
                <a:gd name="connsiteY14" fmla="*/ 458418 h 857250"/>
                <a:gd name="connsiteX15" fmla="*/ 655677 w 857250"/>
                <a:gd name="connsiteY15" fmla="*/ 322925 h 857250"/>
                <a:gd name="connsiteX16" fmla="*/ 829128 w 857250"/>
                <a:gd name="connsiteY16" fmla="*/ 284158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0" h="857250">
                  <a:moveTo>
                    <a:pt x="829128" y="284158"/>
                  </a:moveTo>
                  <a:cubicBezTo>
                    <a:pt x="876038" y="237200"/>
                    <a:pt x="888563" y="169382"/>
                    <a:pt x="867847" y="110708"/>
                  </a:cubicBezTo>
                  <a:lnTo>
                    <a:pt x="795457" y="183146"/>
                  </a:lnTo>
                  <a:cubicBezTo>
                    <a:pt x="767548" y="211054"/>
                    <a:pt x="722305" y="211007"/>
                    <a:pt x="694396" y="183146"/>
                  </a:cubicBezTo>
                  <a:cubicBezTo>
                    <a:pt x="666536" y="155237"/>
                    <a:pt x="666488" y="109994"/>
                    <a:pt x="694396" y="82086"/>
                  </a:cubicBezTo>
                  <a:lnTo>
                    <a:pt x="766834" y="9647"/>
                  </a:lnTo>
                  <a:cubicBezTo>
                    <a:pt x="708208" y="-11069"/>
                    <a:pt x="640342" y="1456"/>
                    <a:pt x="593384" y="48415"/>
                  </a:cubicBezTo>
                  <a:cubicBezTo>
                    <a:pt x="546473" y="95373"/>
                    <a:pt x="533900" y="163190"/>
                    <a:pt x="554665" y="221912"/>
                  </a:cubicBezTo>
                  <a:lnTo>
                    <a:pt x="419124" y="357405"/>
                  </a:lnTo>
                  <a:lnTo>
                    <a:pt x="318111" y="458418"/>
                  </a:lnTo>
                  <a:lnTo>
                    <a:pt x="20931" y="755645"/>
                  </a:lnTo>
                  <a:cubicBezTo>
                    <a:pt x="-6977" y="783554"/>
                    <a:pt x="-6977" y="828750"/>
                    <a:pt x="20931" y="856658"/>
                  </a:cubicBezTo>
                  <a:cubicBezTo>
                    <a:pt x="48792" y="884566"/>
                    <a:pt x="94036" y="884566"/>
                    <a:pt x="121944" y="856658"/>
                  </a:cubicBezTo>
                  <a:lnTo>
                    <a:pt x="419124" y="559431"/>
                  </a:lnTo>
                  <a:lnTo>
                    <a:pt x="520184" y="458418"/>
                  </a:lnTo>
                  <a:lnTo>
                    <a:pt x="655677" y="322925"/>
                  </a:lnTo>
                  <a:cubicBezTo>
                    <a:pt x="714351" y="343642"/>
                    <a:pt x="782169" y="331116"/>
                    <a:pt x="829128" y="284158"/>
                  </a:cubicBezTo>
                  <a:close/>
                </a:path>
              </a:pathLst>
            </a:custGeom>
            <a:solidFill>
              <a:schemeClr val="accent2"/>
            </a:solidFill>
            <a:ln w="476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9" name="Group 218">
            <a:extLst>
              <a:ext uri="{FF2B5EF4-FFF2-40B4-BE49-F238E27FC236}">
                <a16:creationId xmlns:a16="http://schemas.microsoft.com/office/drawing/2014/main" id="{C49A972C-E9C3-4713-961C-31A29A530084}"/>
              </a:ext>
            </a:extLst>
          </p:cNvPr>
          <p:cNvGrpSpPr/>
          <p:nvPr/>
        </p:nvGrpSpPr>
        <p:grpSpPr>
          <a:xfrm>
            <a:off x="8734963" y="4513527"/>
            <a:ext cx="457200" cy="457201"/>
            <a:chOff x="7863891" y="642310"/>
            <a:chExt cx="243798" cy="253510"/>
          </a:xfrm>
        </p:grpSpPr>
        <p:sp>
          <p:nvSpPr>
            <p:cNvPr id="220" name="Freeform: Shape 219">
              <a:extLst>
                <a:ext uri="{FF2B5EF4-FFF2-40B4-BE49-F238E27FC236}">
                  <a16:creationId xmlns:a16="http://schemas.microsoft.com/office/drawing/2014/main" id="{4A0CAF7A-AE62-4921-B250-D8CDD9D0F9A0}"/>
                </a:ext>
              </a:extLst>
            </p:cNvPr>
            <p:cNvSpPr/>
            <p:nvPr/>
          </p:nvSpPr>
          <p:spPr>
            <a:xfrm>
              <a:off x="7878573" y="709215"/>
              <a:ext cx="214433" cy="163405"/>
            </a:xfrm>
            <a:custGeom>
              <a:avLst/>
              <a:gdLst>
                <a:gd name="connsiteX0" fmla="*/ 624791 w 624791"/>
                <a:gd name="connsiteY0" fmla="*/ 33267 h 475269"/>
                <a:gd name="connsiteX1" fmla="*/ 591525 w 624791"/>
                <a:gd name="connsiteY1" fmla="*/ 0 h 475269"/>
                <a:gd name="connsiteX2" fmla="*/ 490502 w 624791"/>
                <a:gd name="connsiteY2" fmla="*/ 0 h 475269"/>
                <a:gd name="connsiteX3" fmla="*/ 482886 w 624791"/>
                <a:gd name="connsiteY3" fmla="*/ 29328 h 475269"/>
                <a:gd name="connsiteX4" fmla="*/ 576468 w 624791"/>
                <a:gd name="connsiteY4" fmla="*/ 29328 h 475269"/>
                <a:gd name="connsiteX5" fmla="*/ 593977 w 624791"/>
                <a:gd name="connsiteY5" fmla="*/ 46836 h 475269"/>
                <a:gd name="connsiteX6" fmla="*/ 593977 w 624791"/>
                <a:gd name="connsiteY6" fmla="*/ 428434 h 475269"/>
                <a:gd name="connsiteX7" fmla="*/ 576468 w 624791"/>
                <a:gd name="connsiteY7" fmla="*/ 445942 h 475269"/>
                <a:gd name="connsiteX8" fmla="*/ 48324 w 624791"/>
                <a:gd name="connsiteY8" fmla="*/ 445942 h 475269"/>
                <a:gd name="connsiteX9" fmla="*/ 30815 w 624791"/>
                <a:gd name="connsiteY9" fmla="*/ 428434 h 475269"/>
                <a:gd name="connsiteX10" fmla="*/ 30815 w 624791"/>
                <a:gd name="connsiteY10" fmla="*/ 46836 h 475269"/>
                <a:gd name="connsiteX11" fmla="*/ 48324 w 624791"/>
                <a:gd name="connsiteY11" fmla="*/ 29328 h 475269"/>
                <a:gd name="connsiteX12" fmla="*/ 142082 w 624791"/>
                <a:gd name="connsiteY12" fmla="*/ 29328 h 475269"/>
                <a:gd name="connsiteX13" fmla="*/ 134378 w 624791"/>
                <a:gd name="connsiteY13" fmla="*/ 0 h 475269"/>
                <a:gd name="connsiteX14" fmla="*/ 33266 w 624791"/>
                <a:gd name="connsiteY14" fmla="*/ 0 h 475269"/>
                <a:gd name="connsiteX15" fmla="*/ 0 w 624791"/>
                <a:gd name="connsiteY15" fmla="*/ 33267 h 475269"/>
                <a:gd name="connsiteX16" fmla="*/ 0 w 624791"/>
                <a:gd name="connsiteY16" fmla="*/ 475270 h 475269"/>
                <a:gd name="connsiteX17" fmla="*/ 624791 w 624791"/>
                <a:gd name="connsiteY17" fmla="*/ 475270 h 475269"/>
                <a:gd name="connsiteX18" fmla="*/ 624791 w 624791"/>
                <a:gd name="connsiteY18" fmla="*/ 33267 h 47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791" h="475269">
                  <a:moveTo>
                    <a:pt x="624791" y="33267"/>
                  </a:moveTo>
                  <a:cubicBezTo>
                    <a:pt x="624791" y="14882"/>
                    <a:pt x="609910" y="0"/>
                    <a:pt x="591525" y="0"/>
                  </a:cubicBezTo>
                  <a:lnTo>
                    <a:pt x="490502" y="0"/>
                  </a:lnTo>
                  <a:cubicBezTo>
                    <a:pt x="488838" y="10068"/>
                    <a:pt x="486212" y="19872"/>
                    <a:pt x="482886" y="29328"/>
                  </a:cubicBezTo>
                  <a:lnTo>
                    <a:pt x="576468" y="29328"/>
                  </a:lnTo>
                  <a:cubicBezTo>
                    <a:pt x="586098" y="29328"/>
                    <a:pt x="593977" y="37206"/>
                    <a:pt x="593977" y="46836"/>
                  </a:cubicBezTo>
                  <a:lnTo>
                    <a:pt x="593977" y="428434"/>
                  </a:lnTo>
                  <a:cubicBezTo>
                    <a:pt x="593977" y="438063"/>
                    <a:pt x="586098" y="445942"/>
                    <a:pt x="576468" y="445942"/>
                  </a:cubicBezTo>
                  <a:lnTo>
                    <a:pt x="48324" y="445942"/>
                  </a:lnTo>
                  <a:cubicBezTo>
                    <a:pt x="38694" y="445942"/>
                    <a:pt x="30815" y="438063"/>
                    <a:pt x="30815" y="428434"/>
                  </a:cubicBezTo>
                  <a:lnTo>
                    <a:pt x="30815" y="46836"/>
                  </a:lnTo>
                  <a:cubicBezTo>
                    <a:pt x="30815" y="37206"/>
                    <a:pt x="38694" y="29328"/>
                    <a:pt x="48324" y="29328"/>
                  </a:cubicBezTo>
                  <a:lnTo>
                    <a:pt x="142082" y="29328"/>
                  </a:lnTo>
                  <a:cubicBezTo>
                    <a:pt x="138668" y="19785"/>
                    <a:pt x="136042" y="9980"/>
                    <a:pt x="134378" y="0"/>
                  </a:cubicBezTo>
                  <a:lnTo>
                    <a:pt x="33266" y="0"/>
                  </a:lnTo>
                  <a:cubicBezTo>
                    <a:pt x="14882" y="0"/>
                    <a:pt x="0" y="14882"/>
                    <a:pt x="0" y="33267"/>
                  </a:cubicBezTo>
                  <a:lnTo>
                    <a:pt x="0" y="475270"/>
                  </a:lnTo>
                  <a:lnTo>
                    <a:pt x="624791" y="475270"/>
                  </a:lnTo>
                  <a:lnTo>
                    <a:pt x="624791" y="33267"/>
                  </a:lnTo>
                  <a:close/>
                </a:path>
              </a:pathLst>
            </a:custGeom>
            <a:solidFill>
              <a:schemeClr val="accent1"/>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2C437697-B814-49A4-A6F4-BF5E1940029E}"/>
                </a:ext>
              </a:extLst>
            </p:cNvPr>
            <p:cNvSpPr/>
            <p:nvPr/>
          </p:nvSpPr>
          <p:spPr>
            <a:xfrm>
              <a:off x="7863891" y="878633"/>
              <a:ext cx="243798" cy="17187"/>
            </a:xfrm>
            <a:custGeom>
              <a:avLst/>
              <a:gdLst>
                <a:gd name="connsiteX0" fmla="*/ 685357 w 710351"/>
                <a:gd name="connsiteY0" fmla="*/ 0 h 49990"/>
                <a:gd name="connsiteX1" fmla="*/ 24995 w 710351"/>
                <a:gd name="connsiteY1" fmla="*/ 0 h 49990"/>
                <a:gd name="connsiteX2" fmla="*/ 7332 w 710351"/>
                <a:gd name="connsiteY2" fmla="*/ 7332 h 49990"/>
                <a:gd name="connsiteX3" fmla="*/ 0 w 710351"/>
                <a:gd name="connsiteY3" fmla="*/ 24995 h 49990"/>
                <a:gd name="connsiteX4" fmla="*/ 24995 w 710351"/>
                <a:gd name="connsiteY4" fmla="*/ 49990 h 49990"/>
                <a:gd name="connsiteX5" fmla="*/ 685357 w 710351"/>
                <a:gd name="connsiteY5" fmla="*/ 49990 h 49990"/>
                <a:gd name="connsiteX6" fmla="*/ 710352 w 710351"/>
                <a:gd name="connsiteY6" fmla="*/ 24995 h 49990"/>
                <a:gd name="connsiteX7" fmla="*/ 685357 w 710351"/>
                <a:gd name="connsiteY7" fmla="*/ 0 h 4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0351" h="49990">
                  <a:moveTo>
                    <a:pt x="685357" y="0"/>
                  </a:moveTo>
                  <a:cubicBezTo>
                    <a:pt x="591079" y="0"/>
                    <a:pt x="119148" y="0"/>
                    <a:pt x="24995" y="0"/>
                  </a:cubicBezTo>
                  <a:cubicBezTo>
                    <a:pt x="18079" y="0"/>
                    <a:pt x="11914" y="2750"/>
                    <a:pt x="7332" y="7332"/>
                  </a:cubicBezTo>
                  <a:cubicBezTo>
                    <a:pt x="2832" y="11832"/>
                    <a:pt x="0" y="18080"/>
                    <a:pt x="0" y="24995"/>
                  </a:cubicBezTo>
                  <a:cubicBezTo>
                    <a:pt x="0" y="38826"/>
                    <a:pt x="11247" y="49990"/>
                    <a:pt x="24995" y="49990"/>
                  </a:cubicBezTo>
                  <a:lnTo>
                    <a:pt x="685357" y="49990"/>
                  </a:lnTo>
                  <a:cubicBezTo>
                    <a:pt x="699104" y="49990"/>
                    <a:pt x="710352" y="38826"/>
                    <a:pt x="710352" y="24995"/>
                  </a:cubicBezTo>
                  <a:cubicBezTo>
                    <a:pt x="710352" y="11164"/>
                    <a:pt x="699104" y="0"/>
                    <a:pt x="685357" y="0"/>
                  </a:cubicBezTo>
                  <a:close/>
                </a:path>
              </a:pathLst>
            </a:custGeom>
            <a:solidFill>
              <a:schemeClr val="accent1"/>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A8ACF02F-4B11-4276-A5A0-D75E36799CE5}"/>
                </a:ext>
              </a:extLst>
            </p:cNvPr>
            <p:cNvSpPr/>
            <p:nvPr/>
          </p:nvSpPr>
          <p:spPr>
            <a:xfrm>
              <a:off x="7929723" y="642310"/>
              <a:ext cx="112115" cy="113317"/>
            </a:xfrm>
            <a:custGeom>
              <a:avLst/>
              <a:gdLst>
                <a:gd name="connsiteX0" fmla="*/ 81025 w 326668"/>
                <a:gd name="connsiteY0" fmla="*/ 329587 h 329587"/>
                <a:gd name="connsiteX1" fmla="*/ 245517 w 326668"/>
                <a:gd name="connsiteY1" fmla="*/ 329587 h 329587"/>
                <a:gd name="connsiteX2" fmla="*/ 280184 w 326668"/>
                <a:gd name="connsiteY2" fmla="*/ 277324 h 329587"/>
                <a:gd name="connsiteX3" fmla="*/ 326669 w 326668"/>
                <a:gd name="connsiteY3" fmla="*/ 163345 h 329587"/>
                <a:gd name="connsiteX4" fmla="*/ 144669 w 326668"/>
                <a:gd name="connsiteY4" fmla="*/ 1040 h 329587"/>
                <a:gd name="connsiteX5" fmla="*/ 922 w 326668"/>
                <a:gd name="connsiteY5" fmla="*/ 145923 h 329587"/>
                <a:gd name="connsiteX6" fmla="*/ 46007 w 326668"/>
                <a:gd name="connsiteY6" fmla="*/ 276799 h 329587"/>
                <a:gd name="connsiteX7" fmla="*/ 81025 w 326668"/>
                <a:gd name="connsiteY7" fmla="*/ 329587 h 32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668" h="329587">
                  <a:moveTo>
                    <a:pt x="81025" y="329587"/>
                  </a:moveTo>
                  <a:lnTo>
                    <a:pt x="245517" y="329587"/>
                  </a:lnTo>
                  <a:cubicBezTo>
                    <a:pt x="253571" y="310240"/>
                    <a:pt x="265302" y="292469"/>
                    <a:pt x="280184" y="277324"/>
                  </a:cubicBezTo>
                  <a:cubicBezTo>
                    <a:pt x="308986" y="247910"/>
                    <a:pt x="326669" y="207728"/>
                    <a:pt x="326669" y="163345"/>
                  </a:cubicBezTo>
                  <a:cubicBezTo>
                    <a:pt x="326669" y="66960"/>
                    <a:pt x="243240" y="-9903"/>
                    <a:pt x="144669" y="1040"/>
                  </a:cubicBezTo>
                  <a:cubicBezTo>
                    <a:pt x="69381" y="9357"/>
                    <a:pt x="8714" y="70549"/>
                    <a:pt x="922" y="145923"/>
                  </a:cubicBezTo>
                  <a:cubicBezTo>
                    <a:pt x="-4417" y="196873"/>
                    <a:pt x="13792" y="243620"/>
                    <a:pt x="46007" y="276799"/>
                  </a:cubicBezTo>
                  <a:cubicBezTo>
                    <a:pt x="60977" y="292207"/>
                    <a:pt x="72796" y="310153"/>
                    <a:pt x="81025" y="329587"/>
                  </a:cubicBezTo>
                  <a:close/>
                </a:path>
              </a:pathLst>
            </a:custGeom>
            <a:solidFill>
              <a:schemeClr val="accent2"/>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55D30DBE-BA21-4422-BD51-8A7921AFC585}"/>
                </a:ext>
              </a:extLst>
            </p:cNvPr>
            <p:cNvSpPr/>
            <p:nvPr/>
          </p:nvSpPr>
          <p:spPr>
            <a:xfrm>
              <a:off x="7959664" y="761635"/>
              <a:ext cx="52121" cy="25521"/>
            </a:xfrm>
            <a:custGeom>
              <a:avLst/>
              <a:gdLst>
                <a:gd name="connsiteX0" fmla="*/ 144758 w 151865"/>
                <a:gd name="connsiteY0" fmla="*/ 52343 h 74229"/>
                <a:gd name="connsiteX1" fmla="*/ 144758 w 151865"/>
                <a:gd name="connsiteY1" fmla="*/ 48518 h 74229"/>
                <a:gd name="connsiteX2" fmla="*/ 151865 w 151865"/>
                <a:gd name="connsiteY2" fmla="*/ 0 h 74229"/>
                <a:gd name="connsiteX3" fmla="*/ 0 w 151865"/>
                <a:gd name="connsiteY3" fmla="*/ 0 h 74229"/>
                <a:gd name="connsiteX4" fmla="*/ 7481 w 151865"/>
                <a:gd name="connsiteY4" fmla="*/ 48550 h 74229"/>
                <a:gd name="connsiteX5" fmla="*/ 7481 w 151865"/>
                <a:gd name="connsiteY5" fmla="*/ 52343 h 74229"/>
                <a:gd name="connsiteX6" fmla="*/ 29368 w 151865"/>
                <a:gd name="connsiteY6" fmla="*/ 74229 h 74229"/>
                <a:gd name="connsiteX7" fmla="*/ 122873 w 151865"/>
                <a:gd name="connsiteY7" fmla="*/ 74229 h 74229"/>
                <a:gd name="connsiteX8" fmla="*/ 144758 w 151865"/>
                <a:gd name="connsiteY8" fmla="*/ 52343 h 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65" h="74229">
                  <a:moveTo>
                    <a:pt x="144758" y="52343"/>
                  </a:moveTo>
                  <a:lnTo>
                    <a:pt x="144758" y="48518"/>
                  </a:lnTo>
                  <a:cubicBezTo>
                    <a:pt x="144758" y="31937"/>
                    <a:pt x="147192" y="15605"/>
                    <a:pt x="151865" y="0"/>
                  </a:cubicBezTo>
                  <a:lnTo>
                    <a:pt x="0" y="0"/>
                  </a:lnTo>
                  <a:cubicBezTo>
                    <a:pt x="4848" y="15572"/>
                    <a:pt x="7481" y="31861"/>
                    <a:pt x="7481" y="48550"/>
                  </a:cubicBezTo>
                  <a:lnTo>
                    <a:pt x="7481" y="52343"/>
                  </a:lnTo>
                  <a:cubicBezTo>
                    <a:pt x="7481" y="64431"/>
                    <a:pt x="17280" y="74229"/>
                    <a:pt x="29368" y="74229"/>
                  </a:cubicBezTo>
                  <a:lnTo>
                    <a:pt x="122873" y="74229"/>
                  </a:lnTo>
                  <a:cubicBezTo>
                    <a:pt x="134959" y="74229"/>
                    <a:pt x="144758" y="64431"/>
                    <a:pt x="144758" y="52343"/>
                  </a:cubicBezTo>
                  <a:close/>
                </a:path>
              </a:pathLst>
            </a:custGeom>
            <a:solidFill>
              <a:schemeClr val="accent1"/>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B7ABEB50-0A45-473A-AFC6-EE3D22C81F7D}"/>
                </a:ext>
              </a:extLst>
            </p:cNvPr>
            <p:cNvSpPr/>
            <p:nvPr/>
          </p:nvSpPr>
          <p:spPr>
            <a:xfrm>
              <a:off x="7974156" y="793190"/>
              <a:ext cx="23236" cy="8969"/>
            </a:xfrm>
            <a:custGeom>
              <a:avLst/>
              <a:gdLst>
                <a:gd name="connsiteX0" fmla="*/ 18752 w 67702"/>
                <a:gd name="connsiteY0" fmla="*/ 26087 h 26087"/>
                <a:gd name="connsiteX1" fmla="*/ 49050 w 67702"/>
                <a:gd name="connsiteY1" fmla="*/ 26087 h 26087"/>
                <a:gd name="connsiteX2" fmla="*/ 63460 w 67702"/>
                <a:gd name="connsiteY2" fmla="*/ 16021 h 26087"/>
                <a:gd name="connsiteX3" fmla="*/ 67703 w 67702"/>
                <a:gd name="connsiteY3" fmla="*/ 0 h 26087"/>
                <a:gd name="connsiteX4" fmla="*/ 0 w 67702"/>
                <a:gd name="connsiteY4" fmla="*/ 0 h 26087"/>
                <a:gd name="connsiteX5" fmla="*/ 4343 w 67702"/>
                <a:gd name="connsiteY5" fmla="*/ 16021 h 26087"/>
                <a:gd name="connsiteX6" fmla="*/ 18752 w 67702"/>
                <a:gd name="connsiteY6" fmla="*/ 26087 h 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02" h="26087">
                  <a:moveTo>
                    <a:pt x="18752" y="26087"/>
                  </a:moveTo>
                  <a:lnTo>
                    <a:pt x="49050" y="26087"/>
                  </a:lnTo>
                  <a:cubicBezTo>
                    <a:pt x="55860" y="26087"/>
                    <a:pt x="61881" y="21974"/>
                    <a:pt x="63460" y="16021"/>
                  </a:cubicBezTo>
                  <a:lnTo>
                    <a:pt x="67703" y="0"/>
                  </a:lnTo>
                  <a:lnTo>
                    <a:pt x="0" y="0"/>
                  </a:lnTo>
                  <a:lnTo>
                    <a:pt x="4343" y="16021"/>
                  </a:lnTo>
                  <a:cubicBezTo>
                    <a:pt x="5922" y="21974"/>
                    <a:pt x="11942" y="26087"/>
                    <a:pt x="18752" y="26087"/>
                  </a:cubicBezTo>
                  <a:close/>
                </a:path>
              </a:pathLst>
            </a:custGeom>
            <a:solidFill>
              <a:schemeClr val="accent1"/>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085EFE0-C9EE-42DB-9FC2-676F91C99039}"/>
                </a:ext>
              </a:extLst>
            </p:cNvPr>
            <p:cNvSpPr/>
            <p:nvPr/>
          </p:nvSpPr>
          <p:spPr>
            <a:xfrm>
              <a:off x="7908034" y="771459"/>
              <a:ext cx="18027" cy="66773"/>
            </a:xfrm>
            <a:custGeom>
              <a:avLst/>
              <a:gdLst>
                <a:gd name="connsiteX0" fmla="*/ 0 w 52525"/>
                <a:gd name="connsiteY0" fmla="*/ 26262 h 194213"/>
                <a:gd name="connsiteX1" fmla="*/ 0 w 52525"/>
                <a:gd name="connsiteY1" fmla="*/ 167951 h 194213"/>
                <a:gd name="connsiteX2" fmla="*/ 26262 w 52525"/>
                <a:gd name="connsiteY2" fmla="*/ 194214 h 194213"/>
                <a:gd name="connsiteX3" fmla="*/ 52526 w 52525"/>
                <a:gd name="connsiteY3" fmla="*/ 167951 h 194213"/>
                <a:gd name="connsiteX4" fmla="*/ 52526 w 52525"/>
                <a:gd name="connsiteY4" fmla="*/ 26262 h 194213"/>
                <a:gd name="connsiteX5" fmla="*/ 26262 w 52525"/>
                <a:gd name="connsiteY5" fmla="*/ 0 h 194213"/>
                <a:gd name="connsiteX6" fmla="*/ 0 w 52525"/>
                <a:gd name="connsiteY6" fmla="*/ 26262 h 19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25" h="194213">
                  <a:moveTo>
                    <a:pt x="0" y="26262"/>
                  </a:moveTo>
                  <a:lnTo>
                    <a:pt x="0" y="167951"/>
                  </a:lnTo>
                  <a:cubicBezTo>
                    <a:pt x="0" y="182456"/>
                    <a:pt x="11758" y="194214"/>
                    <a:pt x="26262" y="194214"/>
                  </a:cubicBezTo>
                  <a:cubicBezTo>
                    <a:pt x="40767" y="194214"/>
                    <a:pt x="52526" y="182456"/>
                    <a:pt x="52526" y="167951"/>
                  </a:cubicBezTo>
                  <a:lnTo>
                    <a:pt x="52526" y="26262"/>
                  </a:lnTo>
                  <a:cubicBezTo>
                    <a:pt x="52526" y="11758"/>
                    <a:pt x="40767" y="0"/>
                    <a:pt x="26262" y="0"/>
                  </a:cubicBezTo>
                  <a:cubicBezTo>
                    <a:pt x="11758" y="0"/>
                    <a:pt x="0" y="11758"/>
                    <a:pt x="0" y="26262"/>
                  </a:cubicBezTo>
                  <a:close/>
                </a:path>
              </a:pathLst>
            </a:custGeom>
            <a:solidFill>
              <a:schemeClr val="accent2"/>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863090EA-7453-4CAE-8A4F-F7984BA36FF3}"/>
                </a:ext>
              </a:extLst>
            </p:cNvPr>
            <p:cNvSpPr/>
            <p:nvPr/>
          </p:nvSpPr>
          <p:spPr>
            <a:xfrm>
              <a:off x="7941636" y="809605"/>
              <a:ext cx="18027" cy="28628"/>
            </a:xfrm>
            <a:custGeom>
              <a:avLst/>
              <a:gdLst>
                <a:gd name="connsiteX0" fmla="*/ 26262 w 52525"/>
                <a:gd name="connsiteY0" fmla="*/ 0 h 83265"/>
                <a:gd name="connsiteX1" fmla="*/ 0 w 52525"/>
                <a:gd name="connsiteY1" fmla="*/ 26262 h 83265"/>
                <a:gd name="connsiteX2" fmla="*/ 0 w 52525"/>
                <a:gd name="connsiteY2" fmla="*/ 57003 h 83265"/>
                <a:gd name="connsiteX3" fmla="*/ 26262 w 52525"/>
                <a:gd name="connsiteY3" fmla="*/ 83266 h 83265"/>
                <a:gd name="connsiteX4" fmla="*/ 52526 w 52525"/>
                <a:gd name="connsiteY4" fmla="*/ 57003 h 83265"/>
                <a:gd name="connsiteX5" fmla="*/ 52526 w 52525"/>
                <a:gd name="connsiteY5" fmla="*/ 26262 h 83265"/>
                <a:gd name="connsiteX6" fmla="*/ 26262 w 52525"/>
                <a:gd name="connsiteY6" fmla="*/ 0 h 8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25" h="83265">
                  <a:moveTo>
                    <a:pt x="26262" y="0"/>
                  </a:moveTo>
                  <a:cubicBezTo>
                    <a:pt x="11758" y="0"/>
                    <a:pt x="0" y="11758"/>
                    <a:pt x="0" y="26262"/>
                  </a:cubicBezTo>
                  <a:lnTo>
                    <a:pt x="0" y="57003"/>
                  </a:lnTo>
                  <a:cubicBezTo>
                    <a:pt x="0" y="71508"/>
                    <a:pt x="11758" y="83266"/>
                    <a:pt x="26262" y="83266"/>
                  </a:cubicBezTo>
                  <a:cubicBezTo>
                    <a:pt x="40767" y="83266"/>
                    <a:pt x="52526" y="71508"/>
                    <a:pt x="52526" y="57003"/>
                  </a:cubicBezTo>
                  <a:lnTo>
                    <a:pt x="52526" y="26262"/>
                  </a:lnTo>
                  <a:cubicBezTo>
                    <a:pt x="52526" y="11758"/>
                    <a:pt x="40767" y="0"/>
                    <a:pt x="26262" y="0"/>
                  </a:cubicBezTo>
                  <a:close/>
                </a:path>
              </a:pathLst>
            </a:custGeom>
            <a:solidFill>
              <a:schemeClr val="accent2"/>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98A94115-D2F4-4AFC-9C60-286D6AC31158}"/>
                </a:ext>
              </a:extLst>
            </p:cNvPr>
            <p:cNvSpPr/>
            <p:nvPr/>
          </p:nvSpPr>
          <p:spPr>
            <a:xfrm>
              <a:off x="8013867" y="798827"/>
              <a:ext cx="18027" cy="39405"/>
            </a:xfrm>
            <a:custGeom>
              <a:avLst/>
              <a:gdLst>
                <a:gd name="connsiteX0" fmla="*/ 0 w 52525"/>
                <a:gd name="connsiteY0" fmla="*/ 26263 h 114612"/>
                <a:gd name="connsiteX1" fmla="*/ 0 w 52525"/>
                <a:gd name="connsiteY1" fmla="*/ 88350 h 114612"/>
                <a:gd name="connsiteX2" fmla="*/ 26263 w 52525"/>
                <a:gd name="connsiteY2" fmla="*/ 114613 h 114612"/>
                <a:gd name="connsiteX3" fmla="*/ 52526 w 52525"/>
                <a:gd name="connsiteY3" fmla="*/ 88350 h 114612"/>
                <a:gd name="connsiteX4" fmla="*/ 52526 w 52525"/>
                <a:gd name="connsiteY4" fmla="*/ 26263 h 114612"/>
                <a:gd name="connsiteX5" fmla="*/ 26263 w 52525"/>
                <a:gd name="connsiteY5" fmla="*/ 0 h 114612"/>
                <a:gd name="connsiteX6" fmla="*/ 0 w 52525"/>
                <a:gd name="connsiteY6" fmla="*/ 26263 h 1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25" h="114612">
                  <a:moveTo>
                    <a:pt x="0" y="26263"/>
                  </a:moveTo>
                  <a:lnTo>
                    <a:pt x="0" y="88350"/>
                  </a:lnTo>
                  <a:cubicBezTo>
                    <a:pt x="0" y="102855"/>
                    <a:pt x="11759" y="114613"/>
                    <a:pt x="26263" y="114613"/>
                  </a:cubicBezTo>
                  <a:cubicBezTo>
                    <a:pt x="40768" y="114613"/>
                    <a:pt x="52526" y="102855"/>
                    <a:pt x="52526" y="88350"/>
                  </a:cubicBezTo>
                  <a:lnTo>
                    <a:pt x="52526" y="26263"/>
                  </a:lnTo>
                  <a:cubicBezTo>
                    <a:pt x="52526" y="11759"/>
                    <a:pt x="40768" y="0"/>
                    <a:pt x="26263" y="0"/>
                  </a:cubicBezTo>
                  <a:cubicBezTo>
                    <a:pt x="11759" y="0"/>
                    <a:pt x="0" y="11759"/>
                    <a:pt x="0" y="26263"/>
                  </a:cubicBezTo>
                  <a:close/>
                </a:path>
              </a:pathLst>
            </a:custGeom>
            <a:solidFill>
              <a:schemeClr val="accent2"/>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549690E1-5CFC-45EF-8113-FD72B04AC767}"/>
                </a:ext>
              </a:extLst>
            </p:cNvPr>
            <p:cNvSpPr/>
            <p:nvPr/>
          </p:nvSpPr>
          <p:spPr>
            <a:xfrm>
              <a:off x="8045517" y="771459"/>
              <a:ext cx="18027" cy="66773"/>
            </a:xfrm>
            <a:custGeom>
              <a:avLst/>
              <a:gdLst>
                <a:gd name="connsiteX0" fmla="*/ 52526 w 52525"/>
                <a:gd name="connsiteY0" fmla="*/ 167951 h 194213"/>
                <a:gd name="connsiteX1" fmla="*/ 52526 w 52525"/>
                <a:gd name="connsiteY1" fmla="*/ 26262 h 194213"/>
                <a:gd name="connsiteX2" fmla="*/ 26262 w 52525"/>
                <a:gd name="connsiteY2" fmla="*/ 0 h 194213"/>
                <a:gd name="connsiteX3" fmla="*/ 0 w 52525"/>
                <a:gd name="connsiteY3" fmla="*/ 26262 h 194213"/>
                <a:gd name="connsiteX4" fmla="*/ 0 w 52525"/>
                <a:gd name="connsiteY4" fmla="*/ 167951 h 194213"/>
                <a:gd name="connsiteX5" fmla="*/ 26262 w 52525"/>
                <a:gd name="connsiteY5" fmla="*/ 194214 h 194213"/>
                <a:gd name="connsiteX6" fmla="*/ 52526 w 52525"/>
                <a:gd name="connsiteY6" fmla="*/ 167951 h 19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25" h="194213">
                  <a:moveTo>
                    <a:pt x="52526" y="167951"/>
                  </a:moveTo>
                  <a:lnTo>
                    <a:pt x="52526" y="26262"/>
                  </a:lnTo>
                  <a:cubicBezTo>
                    <a:pt x="52526" y="11758"/>
                    <a:pt x="40767" y="0"/>
                    <a:pt x="26262" y="0"/>
                  </a:cubicBezTo>
                  <a:cubicBezTo>
                    <a:pt x="11758" y="0"/>
                    <a:pt x="0" y="11758"/>
                    <a:pt x="0" y="26262"/>
                  </a:cubicBezTo>
                  <a:lnTo>
                    <a:pt x="0" y="167951"/>
                  </a:lnTo>
                  <a:cubicBezTo>
                    <a:pt x="0" y="182456"/>
                    <a:pt x="11758" y="194214"/>
                    <a:pt x="26262" y="194214"/>
                  </a:cubicBezTo>
                  <a:cubicBezTo>
                    <a:pt x="40767" y="194214"/>
                    <a:pt x="52526" y="182456"/>
                    <a:pt x="52526" y="167951"/>
                  </a:cubicBezTo>
                  <a:close/>
                </a:path>
              </a:pathLst>
            </a:custGeom>
            <a:solidFill>
              <a:schemeClr val="accent2"/>
            </a:solidFill>
            <a:ln w="918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9" name="Group 228">
            <a:extLst>
              <a:ext uri="{FF2B5EF4-FFF2-40B4-BE49-F238E27FC236}">
                <a16:creationId xmlns:a16="http://schemas.microsoft.com/office/drawing/2014/main" id="{77F4D219-8781-4ADF-9930-838CDE613201}"/>
              </a:ext>
            </a:extLst>
          </p:cNvPr>
          <p:cNvGrpSpPr/>
          <p:nvPr/>
        </p:nvGrpSpPr>
        <p:grpSpPr>
          <a:xfrm>
            <a:off x="10458575" y="4459500"/>
            <a:ext cx="519543" cy="599141"/>
            <a:chOff x="8956105" y="1190389"/>
            <a:chExt cx="261604" cy="301683"/>
          </a:xfrm>
        </p:grpSpPr>
        <p:sp>
          <p:nvSpPr>
            <p:cNvPr id="230" name="Freeform: Shape 229">
              <a:extLst>
                <a:ext uri="{FF2B5EF4-FFF2-40B4-BE49-F238E27FC236}">
                  <a16:creationId xmlns:a16="http://schemas.microsoft.com/office/drawing/2014/main" id="{38C5F7E5-4276-4E8B-9491-C660A1203F39}"/>
                </a:ext>
              </a:extLst>
            </p:cNvPr>
            <p:cNvSpPr/>
            <p:nvPr/>
          </p:nvSpPr>
          <p:spPr>
            <a:xfrm>
              <a:off x="9003409" y="1258276"/>
              <a:ext cx="165849" cy="165909"/>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chemeClr val="tx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2D3F09FD-6D96-4D7C-9402-CB61B119F692}"/>
                </a:ext>
              </a:extLst>
            </p:cNvPr>
            <p:cNvSpPr/>
            <p:nvPr/>
          </p:nvSpPr>
          <p:spPr>
            <a:xfrm>
              <a:off x="9038782" y="1296412"/>
              <a:ext cx="92139" cy="92172"/>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10819301-F2B9-43B2-ABDE-E10B7397E217}"/>
                </a:ext>
              </a:extLst>
            </p:cNvPr>
            <p:cNvSpPr/>
            <p:nvPr/>
          </p:nvSpPr>
          <p:spPr>
            <a:xfrm>
              <a:off x="8956105" y="1190389"/>
              <a:ext cx="158289" cy="248585"/>
            </a:xfrm>
            <a:custGeom>
              <a:avLst/>
              <a:gdLst>
                <a:gd name="connsiteX0" fmla="*/ 46672 w 477202"/>
                <a:gd name="connsiteY0" fmla="*/ 454819 h 749141"/>
                <a:gd name="connsiteX1" fmla="*/ 394335 w 477202"/>
                <a:gd name="connsiteY1" fmla="*/ 107156 h 749141"/>
                <a:gd name="connsiteX2" fmla="*/ 395287 w 477202"/>
                <a:gd name="connsiteY2" fmla="*/ 107156 h 749141"/>
                <a:gd name="connsiteX3" fmla="*/ 378143 w 477202"/>
                <a:gd name="connsiteY3" fmla="*/ 124301 h 749141"/>
                <a:gd name="connsiteX4" fmla="*/ 378143 w 477202"/>
                <a:gd name="connsiteY4" fmla="*/ 157639 h 749141"/>
                <a:gd name="connsiteX5" fmla="*/ 395287 w 477202"/>
                <a:gd name="connsiteY5" fmla="*/ 164306 h 749141"/>
                <a:gd name="connsiteX6" fmla="*/ 412433 w 477202"/>
                <a:gd name="connsiteY6" fmla="*/ 157639 h 749141"/>
                <a:gd name="connsiteX7" fmla="*/ 470535 w 477202"/>
                <a:gd name="connsiteY7" fmla="*/ 99536 h 749141"/>
                <a:gd name="connsiteX8" fmla="*/ 477203 w 477202"/>
                <a:gd name="connsiteY8" fmla="*/ 82391 h 749141"/>
                <a:gd name="connsiteX9" fmla="*/ 470535 w 477202"/>
                <a:gd name="connsiteY9" fmla="*/ 65246 h 749141"/>
                <a:gd name="connsiteX10" fmla="*/ 412433 w 477202"/>
                <a:gd name="connsiteY10" fmla="*/ 7144 h 749141"/>
                <a:gd name="connsiteX11" fmla="*/ 379095 w 477202"/>
                <a:gd name="connsiteY11" fmla="*/ 7144 h 749141"/>
                <a:gd name="connsiteX12" fmla="*/ 379095 w 477202"/>
                <a:gd name="connsiteY12" fmla="*/ 40481 h 749141"/>
                <a:gd name="connsiteX13" fmla="*/ 396240 w 477202"/>
                <a:gd name="connsiteY13" fmla="*/ 57626 h 749141"/>
                <a:gd name="connsiteX14" fmla="*/ 395287 w 477202"/>
                <a:gd name="connsiteY14" fmla="*/ 57626 h 749141"/>
                <a:gd name="connsiteX15" fmla="*/ 0 w 477202"/>
                <a:gd name="connsiteY15" fmla="*/ 454819 h 749141"/>
                <a:gd name="connsiteX16" fmla="*/ 123825 w 477202"/>
                <a:gd name="connsiteY16" fmla="*/ 742474 h 749141"/>
                <a:gd name="connsiteX17" fmla="*/ 140017 w 477202"/>
                <a:gd name="connsiteY17" fmla="*/ 749141 h 749141"/>
                <a:gd name="connsiteX18" fmla="*/ 157163 w 477202"/>
                <a:gd name="connsiteY18" fmla="*/ 741521 h 749141"/>
                <a:gd name="connsiteX19" fmla="*/ 156210 w 477202"/>
                <a:gd name="connsiteY19" fmla="*/ 708184 h 749141"/>
                <a:gd name="connsiteX20" fmla="*/ 46672 w 477202"/>
                <a:gd name="connsiteY20" fmla="*/ 454819 h 74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7202" h="749141">
                  <a:moveTo>
                    <a:pt x="46672" y="454819"/>
                  </a:moveTo>
                  <a:cubicBezTo>
                    <a:pt x="46672" y="263366"/>
                    <a:pt x="202883" y="107156"/>
                    <a:pt x="394335" y="107156"/>
                  </a:cubicBezTo>
                  <a:cubicBezTo>
                    <a:pt x="394335" y="107156"/>
                    <a:pt x="395287" y="107156"/>
                    <a:pt x="395287" y="107156"/>
                  </a:cubicBezTo>
                  <a:lnTo>
                    <a:pt x="378143" y="124301"/>
                  </a:lnTo>
                  <a:cubicBezTo>
                    <a:pt x="368618" y="133826"/>
                    <a:pt x="368618" y="148114"/>
                    <a:pt x="378143" y="157639"/>
                  </a:cubicBezTo>
                  <a:cubicBezTo>
                    <a:pt x="382905" y="162401"/>
                    <a:pt x="388620" y="164306"/>
                    <a:pt x="395287" y="164306"/>
                  </a:cubicBezTo>
                  <a:cubicBezTo>
                    <a:pt x="401003" y="164306"/>
                    <a:pt x="407670" y="162401"/>
                    <a:pt x="412433" y="157639"/>
                  </a:cubicBezTo>
                  <a:lnTo>
                    <a:pt x="470535" y="99536"/>
                  </a:lnTo>
                  <a:cubicBezTo>
                    <a:pt x="475298" y="94774"/>
                    <a:pt x="477203" y="89059"/>
                    <a:pt x="477203" y="82391"/>
                  </a:cubicBezTo>
                  <a:cubicBezTo>
                    <a:pt x="477203" y="75724"/>
                    <a:pt x="474345" y="70009"/>
                    <a:pt x="470535" y="65246"/>
                  </a:cubicBezTo>
                  <a:lnTo>
                    <a:pt x="412433" y="7144"/>
                  </a:lnTo>
                  <a:cubicBezTo>
                    <a:pt x="402908" y="-2381"/>
                    <a:pt x="388620" y="-2381"/>
                    <a:pt x="379095" y="7144"/>
                  </a:cubicBezTo>
                  <a:cubicBezTo>
                    <a:pt x="369570" y="16669"/>
                    <a:pt x="369570" y="30956"/>
                    <a:pt x="379095" y="40481"/>
                  </a:cubicBezTo>
                  <a:lnTo>
                    <a:pt x="396240" y="57626"/>
                  </a:lnTo>
                  <a:cubicBezTo>
                    <a:pt x="396240" y="57626"/>
                    <a:pt x="395287" y="57626"/>
                    <a:pt x="395287" y="57626"/>
                  </a:cubicBezTo>
                  <a:cubicBezTo>
                    <a:pt x="177165" y="60484"/>
                    <a:pt x="0" y="237649"/>
                    <a:pt x="0" y="454819"/>
                  </a:cubicBezTo>
                  <a:cubicBezTo>
                    <a:pt x="0" y="565309"/>
                    <a:pt x="43815" y="667226"/>
                    <a:pt x="123825" y="742474"/>
                  </a:cubicBezTo>
                  <a:cubicBezTo>
                    <a:pt x="128588" y="746284"/>
                    <a:pt x="134303" y="749141"/>
                    <a:pt x="140017" y="749141"/>
                  </a:cubicBezTo>
                  <a:cubicBezTo>
                    <a:pt x="146685" y="749141"/>
                    <a:pt x="152400" y="746284"/>
                    <a:pt x="157163" y="741521"/>
                  </a:cubicBezTo>
                  <a:cubicBezTo>
                    <a:pt x="165735" y="731996"/>
                    <a:pt x="165735" y="716756"/>
                    <a:pt x="156210" y="708184"/>
                  </a:cubicBezTo>
                  <a:cubicBezTo>
                    <a:pt x="85725" y="641509"/>
                    <a:pt x="46672" y="551974"/>
                    <a:pt x="46672" y="454819"/>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19593D5A-0BF8-4236-95D4-D4D5FE1E2ECE}"/>
                </a:ext>
              </a:extLst>
            </p:cNvPr>
            <p:cNvSpPr/>
            <p:nvPr/>
          </p:nvSpPr>
          <p:spPr>
            <a:xfrm>
              <a:off x="9059736" y="1243763"/>
              <a:ext cx="157973" cy="248309"/>
            </a:xfrm>
            <a:custGeom>
              <a:avLst/>
              <a:gdLst>
                <a:gd name="connsiteX0" fmla="*/ 476250 w 476250"/>
                <a:gd name="connsiteY0" fmla="*/ 293970 h 748312"/>
                <a:gd name="connsiteX1" fmla="*/ 352425 w 476250"/>
                <a:gd name="connsiteY1" fmla="*/ 6315 h 748312"/>
                <a:gd name="connsiteX2" fmla="*/ 319088 w 476250"/>
                <a:gd name="connsiteY2" fmla="*/ 7268 h 748312"/>
                <a:gd name="connsiteX3" fmla="*/ 320040 w 476250"/>
                <a:gd name="connsiteY3" fmla="*/ 41558 h 748312"/>
                <a:gd name="connsiteX4" fmla="*/ 429578 w 476250"/>
                <a:gd name="connsiteY4" fmla="*/ 293970 h 748312"/>
                <a:gd name="connsiteX5" fmla="*/ 81915 w 476250"/>
                <a:gd name="connsiteY5" fmla="*/ 641633 h 748312"/>
                <a:gd name="connsiteX6" fmla="*/ 80963 w 476250"/>
                <a:gd name="connsiteY6" fmla="*/ 641633 h 748312"/>
                <a:gd name="connsiteX7" fmla="*/ 98107 w 476250"/>
                <a:gd name="connsiteY7" fmla="*/ 624488 h 748312"/>
                <a:gd name="connsiteX8" fmla="*/ 98107 w 476250"/>
                <a:gd name="connsiteY8" fmla="*/ 591150 h 748312"/>
                <a:gd name="connsiteX9" fmla="*/ 64770 w 476250"/>
                <a:gd name="connsiteY9" fmla="*/ 591150 h 748312"/>
                <a:gd name="connsiteX10" fmla="*/ 6667 w 476250"/>
                <a:gd name="connsiteY10" fmla="*/ 649253 h 748312"/>
                <a:gd name="connsiteX11" fmla="*/ 0 w 476250"/>
                <a:gd name="connsiteY11" fmla="*/ 666398 h 748312"/>
                <a:gd name="connsiteX12" fmla="*/ 6667 w 476250"/>
                <a:gd name="connsiteY12" fmla="*/ 683543 h 748312"/>
                <a:gd name="connsiteX13" fmla="*/ 64770 w 476250"/>
                <a:gd name="connsiteY13" fmla="*/ 741645 h 748312"/>
                <a:gd name="connsiteX14" fmla="*/ 81915 w 476250"/>
                <a:gd name="connsiteY14" fmla="*/ 748313 h 748312"/>
                <a:gd name="connsiteX15" fmla="*/ 99060 w 476250"/>
                <a:gd name="connsiteY15" fmla="*/ 741645 h 748312"/>
                <a:gd name="connsiteX16" fmla="*/ 99060 w 476250"/>
                <a:gd name="connsiteY16" fmla="*/ 708308 h 748312"/>
                <a:gd name="connsiteX17" fmla="*/ 81915 w 476250"/>
                <a:gd name="connsiteY17" fmla="*/ 691163 h 748312"/>
                <a:gd name="connsiteX18" fmla="*/ 82867 w 476250"/>
                <a:gd name="connsiteY18" fmla="*/ 691163 h 748312"/>
                <a:gd name="connsiteX19" fmla="*/ 476250 w 476250"/>
                <a:gd name="connsiteY19" fmla="*/ 293970 h 7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6250" h="748312">
                  <a:moveTo>
                    <a:pt x="476250" y="293970"/>
                  </a:moveTo>
                  <a:cubicBezTo>
                    <a:pt x="476250" y="183480"/>
                    <a:pt x="432435" y="81563"/>
                    <a:pt x="352425" y="6315"/>
                  </a:cubicBezTo>
                  <a:cubicBezTo>
                    <a:pt x="342900" y="-2257"/>
                    <a:pt x="327660" y="-2257"/>
                    <a:pt x="319088" y="7268"/>
                  </a:cubicBezTo>
                  <a:cubicBezTo>
                    <a:pt x="310515" y="17745"/>
                    <a:pt x="310515" y="32033"/>
                    <a:pt x="320040" y="41558"/>
                  </a:cubicBezTo>
                  <a:cubicBezTo>
                    <a:pt x="390525" y="107280"/>
                    <a:pt x="429578" y="197768"/>
                    <a:pt x="429578" y="293970"/>
                  </a:cubicBezTo>
                  <a:cubicBezTo>
                    <a:pt x="429578" y="485423"/>
                    <a:pt x="273367" y="641633"/>
                    <a:pt x="81915" y="641633"/>
                  </a:cubicBezTo>
                  <a:cubicBezTo>
                    <a:pt x="81915" y="641633"/>
                    <a:pt x="81915" y="641633"/>
                    <a:pt x="80963" y="641633"/>
                  </a:cubicBezTo>
                  <a:lnTo>
                    <a:pt x="98107" y="624488"/>
                  </a:lnTo>
                  <a:cubicBezTo>
                    <a:pt x="107632" y="614963"/>
                    <a:pt x="107632" y="600675"/>
                    <a:pt x="98107" y="591150"/>
                  </a:cubicBezTo>
                  <a:cubicBezTo>
                    <a:pt x="88582" y="581625"/>
                    <a:pt x="74295" y="581625"/>
                    <a:pt x="64770" y="591150"/>
                  </a:cubicBezTo>
                  <a:lnTo>
                    <a:pt x="6667" y="649253"/>
                  </a:lnTo>
                  <a:cubicBezTo>
                    <a:pt x="1905" y="654015"/>
                    <a:pt x="0" y="659730"/>
                    <a:pt x="0" y="666398"/>
                  </a:cubicBezTo>
                  <a:cubicBezTo>
                    <a:pt x="0" y="673065"/>
                    <a:pt x="2857" y="678780"/>
                    <a:pt x="6667" y="683543"/>
                  </a:cubicBezTo>
                  <a:lnTo>
                    <a:pt x="64770" y="741645"/>
                  </a:lnTo>
                  <a:cubicBezTo>
                    <a:pt x="69532" y="746408"/>
                    <a:pt x="75247" y="748313"/>
                    <a:pt x="81915" y="748313"/>
                  </a:cubicBezTo>
                  <a:cubicBezTo>
                    <a:pt x="87630" y="748313"/>
                    <a:pt x="94297" y="746408"/>
                    <a:pt x="99060" y="741645"/>
                  </a:cubicBezTo>
                  <a:cubicBezTo>
                    <a:pt x="108585" y="732120"/>
                    <a:pt x="108585" y="717833"/>
                    <a:pt x="99060" y="708308"/>
                  </a:cubicBezTo>
                  <a:lnTo>
                    <a:pt x="81915" y="691163"/>
                  </a:lnTo>
                  <a:cubicBezTo>
                    <a:pt x="81915" y="691163"/>
                    <a:pt x="81915" y="691163"/>
                    <a:pt x="82867" y="691163"/>
                  </a:cubicBezTo>
                  <a:cubicBezTo>
                    <a:pt x="299085" y="688305"/>
                    <a:pt x="476250" y="511140"/>
                    <a:pt x="476250" y="293970"/>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69460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CDCE3-3DD1-4681-A6AB-23CD418CFC22}"/>
              </a:ext>
            </a:extLst>
          </p:cNvPr>
          <p:cNvSpPr>
            <a:spLocks noGrp="1"/>
          </p:cNvSpPr>
          <p:nvPr>
            <p:ph type="title"/>
          </p:nvPr>
        </p:nvSpPr>
        <p:spPr/>
        <p:txBody>
          <a:bodyPr/>
          <a:lstStyle/>
          <a:p>
            <a:r>
              <a:rPr lang="en-US" sz="2800"/>
              <a:t>Interactive Demo</a:t>
            </a:r>
          </a:p>
        </p:txBody>
      </p:sp>
      <p:sp>
        <p:nvSpPr>
          <p:cNvPr id="26" name="Text Placeholder 25">
            <a:extLst>
              <a:ext uri="{FF2B5EF4-FFF2-40B4-BE49-F238E27FC236}">
                <a16:creationId xmlns:a16="http://schemas.microsoft.com/office/drawing/2014/main" id="{E83333BA-610C-BC4C-92F9-EF9E104CB538}"/>
              </a:ext>
            </a:extLst>
          </p:cNvPr>
          <p:cNvSpPr>
            <a:spLocks noGrp="1"/>
          </p:cNvSpPr>
          <p:nvPr>
            <p:ph type="body" sz="quarter" idx="10"/>
          </p:nvPr>
        </p:nvSpPr>
        <p:spPr/>
        <p:txBody>
          <a:bodyPr/>
          <a:lstStyle/>
          <a:p>
            <a:r>
              <a:rPr lang="en-US"/>
              <a:t>D365 Fraud Protection</a:t>
            </a:r>
          </a:p>
        </p:txBody>
      </p:sp>
      <p:pic>
        <p:nvPicPr>
          <p:cNvPr id="4" name="Content Placeholder 3" descr="Graphical user interface, application&#10;&#10;Description automatically generated">
            <a:extLst>
              <a:ext uri="{FF2B5EF4-FFF2-40B4-BE49-F238E27FC236}">
                <a16:creationId xmlns:a16="http://schemas.microsoft.com/office/drawing/2014/main" id="{04E8EB32-DA08-4201-B643-E2284811A33F}"/>
              </a:ext>
            </a:extLst>
          </p:cNvPr>
          <p:cNvPicPr>
            <a:picLocks noGrp="1" noChangeAspect="1"/>
          </p:cNvPicPr>
          <p:nvPr>
            <p:ph sz="quarter" idx="13"/>
          </p:nvPr>
        </p:nvPicPr>
        <p:blipFill>
          <a:blip r:embed="rId3"/>
          <a:stretch>
            <a:fillRect/>
          </a:stretch>
        </p:blipFill>
        <p:spPr>
          <a:xfrm>
            <a:off x="6169025" y="1608127"/>
            <a:ext cx="5440363" cy="3398858"/>
          </a:xfrm>
        </p:spPr>
      </p:pic>
      <p:sp>
        <p:nvSpPr>
          <p:cNvPr id="5" name="TextBox 4">
            <a:extLst>
              <a:ext uri="{FF2B5EF4-FFF2-40B4-BE49-F238E27FC236}">
                <a16:creationId xmlns:a16="http://schemas.microsoft.com/office/drawing/2014/main" id="{D1E24769-57DA-E243-A302-A3006C81D980}"/>
              </a:ext>
            </a:extLst>
          </p:cNvPr>
          <p:cNvSpPr txBox="1"/>
          <p:nvPr/>
        </p:nvSpPr>
        <p:spPr>
          <a:xfrm>
            <a:off x="878774" y="1157844"/>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779C9B89-BA7C-2F47-837E-1630E4E90D21}"/>
              </a:ext>
            </a:extLst>
          </p:cNvPr>
          <p:cNvSpPr txBox="1"/>
          <p:nvPr/>
        </p:nvSpPr>
        <p:spPr>
          <a:xfrm>
            <a:off x="6670307" y="1809549"/>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mn-cs"/>
            </a:endParaRPr>
          </a:p>
        </p:txBody>
      </p:sp>
      <p:sp>
        <p:nvSpPr>
          <p:cNvPr id="12" name="Text Placeholder 15">
            <a:extLst>
              <a:ext uri="{FF2B5EF4-FFF2-40B4-BE49-F238E27FC236}">
                <a16:creationId xmlns:a16="http://schemas.microsoft.com/office/drawing/2014/main" id="{C0398A1C-0D7B-2842-AA1C-6FF8F2FDBB8D}"/>
              </a:ext>
            </a:extLst>
          </p:cNvPr>
          <p:cNvSpPr>
            <a:spLocks noGrp="1"/>
          </p:cNvSpPr>
          <p:nvPr>
            <p:ph type="body" sz="quarter" idx="4294967295"/>
          </p:nvPr>
        </p:nvSpPr>
        <p:spPr>
          <a:xfrm>
            <a:off x="596900" y="3752850"/>
            <a:ext cx="4418013" cy="242631"/>
          </a:xfrm>
        </p:spPr>
        <p:txBody>
          <a:bodyPr anchor="t" anchorCtr="0"/>
          <a:lstStyle>
            <a:lvl1pPr marL="0" indent="0" algn="ctr">
              <a:buNone/>
              <a:defRPr sz="1400"/>
            </a:lvl1pPr>
          </a:lstStyle>
          <a:p>
            <a:pPr marL="0" marR="0" lvl="0" indent="0" algn="ctr" defTabSz="932742" rtl="0" eaLnBrk="1" fontAlgn="auto" latinLnBrk="0" hangingPunct="1">
              <a:lnSpc>
                <a:spcPct val="125000"/>
              </a:lnSpc>
              <a:spcBef>
                <a:spcPct val="20000"/>
              </a:spcBef>
              <a:spcAft>
                <a:spcPts val="0"/>
              </a:spcAft>
              <a:buClrTx/>
              <a:buSzPct val="90000"/>
              <a:buFont typeface="Wingdings" panose="05000000000000000000" pitchFamily="2" charset="2"/>
              <a:buNone/>
              <a:tabLst/>
              <a:defRPr/>
            </a:pPr>
            <a:r>
              <a:rPr lang="en-US" sz="1400">
                <a:latin typeface="Segoe UI" panose="020B0502040204020203" pitchFamily="34" charset="0"/>
                <a:cs typeface="Segoe UI" panose="020B0502040204020203" pitchFamily="34" charset="0"/>
              </a:rPr>
              <a:t>(please ask a MTC architect for an interactive demo)</a:t>
            </a:r>
            <a:r>
              <a:rPr lang="en-US"/>
              <a:t> </a:t>
            </a:r>
          </a:p>
        </p:txBody>
      </p:sp>
      <p:sp>
        <p:nvSpPr>
          <p:cNvPr id="6" name="TextBox 5">
            <a:extLst>
              <a:ext uri="{FF2B5EF4-FFF2-40B4-BE49-F238E27FC236}">
                <a16:creationId xmlns:a16="http://schemas.microsoft.com/office/drawing/2014/main" id="{4EDB2DF7-BFB5-4719-8652-642DBB596462}"/>
              </a:ext>
            </a:extLst>
          </p:cNvPr>
          <p:cNvSpPr txBox="1"/>
          <p:nvPr/>
        </p:nvSpPr>
        <p:spPr>
          <a:xfrm>
            <a:off x="4027251" y="1465621"/>
            <a:ext cx="4085617" cy="2123658"/>
          </a:xfrm>
          <a:prstGeom prst="rect">
            <a:avLst/>
          </a:prstGeom>
          <a:noFill/>
        </p:spPr>
        <p:txBody>
          <a:bodyPr wrap="square" lIns="0" tIns="0" rIns="0" bIns="0" rtlCol="0">
            <a:spAutoFit/>
          </a:bodyPr>
          <a:lstStyle/>
          <a:p>
            <a:pPr algn="l"/>
            <a:r>
              <a:rPr lang="en-US" sz="13800" b="1">
                <a:solidFill>
                  <a:srgbClr val="FF0000"/>
                </a:solidFill>
              </a:rPr>
              <a:t>TBD</a:t>
            </a:r>
            <a:endParaRPr lang="en-US" sz="2000" b="1">
              <a:solidFill>
                <a:srgbClr val="FF0000"/>
              </a:solidFill>
            </a:endParaRPr>
          </a:p>
        </p:txBody>
      </p:sp>
    </p:spTree>
    <p:extLst>
      <p:ext uri="{BB962C8B-B14F-4D97-AF65-F5344CB8AC3E}">
        <p14:creationId xmlns:p14="http://schemas.microsoft.com/office/powerpoint/2010/main" val="2562605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0294FDF-3910-424A-97FF-63A5E40896F4}"/>
              </a:ext>
            </a:extLst>
          </p:cNvPr>
          <p:cNvSpPr>
            <a:spLocks noGrp="1"/>
          </p:cNvSpPr>
          <p:nvPr>
            <p:ph sz="quarter" idx="14"/>
          </p:nvPr>
        </p:nvSpPr>
        <p:spPr>
          <a:xfrm>
            <a:off x="584200" y="2239606"/>
            <a:ext cx="5511800" cy="2481000"/>
          </a:xfrm>
        </p:spPr>
        <p:txBody>
          <a:bodyPr/>
          <a:lstStyle/>
          <a:p>
            <a:r>
              <a:rPr lang="en-US" sz="1600" b="0" i="0">
                <a:effectLst/>
                <a:latin typeface="Segoe UI" panose="020B0502040204020203" pitchFamily="34" charset="0"/>
              </a:rPr>
              <a:t>Microsoft Dynamics 365 Fraud Protection combines the capabilities of purchase protection, account protection, and loss prevention to enhance your customers’ shopping experience while improving your business intelligence and reputation, boosting revenue and operational efficiency, lower costs and helping protect your revenue while giving your customers a seamless shopping experience.</a:t>
            </a:r>
          </a:p>
          <a:p>
            <a:endParaRPr lang="en-US" sz="1600">
              <a:latin typeface="Segoe UI" panose="020B0502040204020203" pitchFamily="34" charset="0"/>
            </a:endParaRPr>
          </a:p>
        </p:txBody>
      </p:sp>
      <p:grpSp>
        <p:nvGrpSpPr>
          <p:cNvPr id="11" name="Group 10">
            <a:extLst>
              <a:ext uri="{FF2B5EF4-FFF2-40B4-BE49-F238E27FC236}">
                <a16:creationId xmlns:a16="http://schemas.microsoft.com/office/drawing/2014/main" id="{0B106641-4CC3-C14D-8DB1-7B282FC8AC50}"/>
              </a:ext>
            </a:extLst>
          </p:cNvPr>
          <p:cNvGrpSpPr/>
          <p:nvPr/>
        </p:nvGrpSpPr>
        <p:grpSpPr>
          <a:xfrm>
            <a:off x="8407444" y="3614576"/>
            <a:ext cx="3042921" cy="411481"/>
            <a:chOff x="8407444" y="4743683"/>
            <a:chExt cx="3042921" cy="411481"/>
          </a:xfrm>
        </p:grpSpPr>
        <p:sp>
          <p:nvSpPr>
            <p:cNvPr id="2" name="TextBox 1">
              <a:extLst>
                <a:ext uri="{FF2B5EF4-FFF2-40B4-BE49-F238E27FC236}">
                  <a16:creationId xmlns:a16="http://schemas.microsoft.com/office/drawing/2014/main" id="{1221BD31-F014-084A-82BB-A5CAED99475E}"/>
                </a:ext>
              </a:extLst>
            </p:cNvPr>
            <p:cNvSpPr txBox="1"/>
            <p:nvPr/>
          </p:nvSpPr>
          <p:spPr>
            <a:xfrm>
              <a:off x="9070122" y="4808462"/>
              <a:ext cx="238024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1600"/>
                <a:t>AI</a:t>
              </a:r>
            </a:p>
          </p:txBody>
        </p:sp>
        <p:pic>
          <p:nvPicPr>
            <p:cNvPr id="10" name="Picture 9">
              <a:extLst>
                <a:ext uri="{FF2B5EF4-FFF2-40B4-BE49-F238E27FC236}">
                  <a16:creationId xmlns:a16="http://schemas.microsoft.com/office/drawing/2014/main" id="{565B7FB5-53E7-8545-945C-A10A97E3F536}"/>
                </a:ext>
              </a:extLst>
            </p:cNvPr>
            <p:cNvPicPr>
              <a:picLocks noChangeAspect="1"/>
            </p:cNvPicPr>
            <p:nvPr/>
          </p:nvPicPr>
          <p:blipFill>
            <a:blip r:embed="rId2"/>
            <a:stretch>
              <a:fillRect/>
            </a:stretch>
          </p:blipFill>
          <p:spPr>
            <a:xfrm>
              <a:off x="8407444" y="4743683"/>
              <a:ext cx="290457" cy="411481"/>
            </a:xfrm>
            <a:prstGeom prst="rect">
              <a:avLst/>
            </a:prstGeom>
          </p:spPr>
        </p:pic>
      </p:grpSp>
      <p:grpSp>
        <p:nvGrpSpPr>
          <p:cNvPr id="14" name="Group 13">
            <a:extLst>
              <a:ext uri="{FF2B5EF4-FFF2-40B4-BE49-F238E27FC236}">
                <a16:creationId xmlns:a16="http://schemas.microsoft.com/office/drawing/2014/main" id="{937959C2-F854-3A40-B462-D0BAED694C45}"/>
              </a:ext>
            </a:extLst>
          </p:cNvPr>
          <p:cNvGrpSpPr/>
          <p:nvPr/>
        </p:nvGrpSpPr>
        <p:grpSpPr>
          <a:xfrm>
            <a:off x="8310478" y="2692560"/>
            <a:ext cx="3078187" cy="621238"/>
            <a:chOff x="-11644792" y="-6746417"/>
            <a:chExt cx="3078187" cy="621238"/>
          </a:xfrm>
        </p:grpSpPr>
        <p:sp>
          <p:nvSpPr>
            <p:cNvPr id="15" name="TextBox 14">
              <a:extLst>
                <a:ext uri="{FF2B5EF4-FFF2-40B4-BE49-F238E27FC236}">
                  <a16:creationId xmlns:a16="http://schemas.microsoft.com/office/drawing/2014/main" id="{635E1C08-1EE7-3F4C-B341-AE01E1B24518}"/>
                </a:ext>
              </a:extLst>
            </p:cNvPr>
            <p:cNvSpPr txBox="1"/>
            <p:nvPr/>
          </p:nvSpPr>
          <p:spPr>
            <a:xfrm>
              <a:off x="-10890705" y="-6709954"/>
              <a:ext cx="2324100" cy="584775"/>
            </a:xfrm>
            <a:prstGeom prst="rect">
              <a:avLst/>
            </a:prstGeom>
            <a:noFill/>
          </p:spPr>
          <p:txBody>
            <a:bodyPr wrap="square" lIns="0">
              <a:spAutoFit/>
            </a:bodyPr>
            <a:lstStyle/>
            <a:p>
              <a:r>
                <a:rPr lang="en-US" sz="1600"/>
                <a:t>Dynamic 365 Fraud Protection</a:t>
              </a:r>
            </a:p>
          </p:txBody>
        </p:sp>
        <p:pic>
          <p:nvPicPr>
            <p:cNvPr id="16" name="Graphic 15">
              <a:extLst>
                <a:ext uri="{FF2B5EF4-FFF2-40B4-BE49-F238E27FC236}">
                  <a16:creationId xmlns:a16="http://schemas.microsoft.com/office/drawing/2014/main" id="{CFFE3799-F371-AB45-B680-92AC5F3E7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644792" y="-6746417"/>
              <a:ext cx="482278" cy="482278"/>
            </a:xfrm>
            <a:prstGeom prst="rect">
              <a:avLst/>
            </a:prstGeom>
          </p:spPr>
        </p:pic>
      </p:grpSp>
    </p:spTree>
    <p:extLst>
      <p:ext uri="{BB962C8B-B14F-4D97-AF65-F5344CB8AC3E}">
        <p14:creationId xmlns:p14="http://schemas.microsoft.com/office/powerpoint/2010/main" val="41532973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ndoor&#10;&#10;Description automatically generated">
            <a:extLst>
              <a:ext uri="{FF2B5EF4-FFF2-40B4-BE49-F238E27FC236}">
                <a16:creationId xmlns:a16="http://schemas.microsoft.com/office/drawing/2014/main" id="{359ACAE8-D649-E84C-A0FD-0541ED6B7E5D}"/>
              </a:ext>
            </a:extLst>
          </p:cNvPr>
          <p:cNvPicPr>
            <a:picLocks noChangeAspect="1"/>
          </p:cNvPicPr>
          <p:nvPr/>
        </p:nvPicPr>
        <p:blipFill rotWithShape="1">
          <a:blip r:embed="rId3"/>
          <a:srcRect t="28778" r="15119" b="7555"/>
          <a:stretch/>
        </p:blipFill>
        <p:spPr>
          <a:xfrm>
            <a:off x="0" y="0"/>
            <a:ext cx="12192000" cy="6858000"/>
          </a:xfrm>
          <a:prstGeom prst="rect">
            <a:avLst/>
          </a:prstGeom>
        </p:spPr>
      </p:pic>
      <p:sp>
        <p:nvSpPr>
          <p:cNvPr id="11" name="Title 10">
            <a:extLst>
              <a:ext uri="{FF2B5EF4-FFF2-40B4-BE49-F238E27FC236}">
                <a16:creationId xmlns:a16="http://schemas.microsoft.com/office/drawing/2014/main" id="{0DF1EA4B-C8D7-F34B-954C-9ADBD4844B2B}"/>
              </a:ext>
            </a:extLst>
          </p:cNvPr>
          <p:cNvSpPr>
            <a:spLocks noGrp="1"/>
          </p:cNvSpPr>
          <p:nvPr>
            <p:ph type="title"/>
          </p:nvPr>
        </p:nvSpPr>
        <p:spPr>
          <a:xfrm>
            <a:off x="0" y="-1"/>
            <a:ext cx="12192000" cy="5905500"/>
          </a:xfrm>
        </p:spPr>
        <p:txBody>
          <a:bodyPr/>
          <a:lstStyle/>
          <a:p>
            <a:r>
              <a:rPr lang="en-US"/>
              <a:t>Dynamics 365 Fraud Protection</a:t>
            </a:r>
          </a:p>
        </p:txBody>
      </p:sp>
      <p:sp>
        <p:nvSpPr>
          <p:cNvPr id="13" name="Text Placeholder 12">
            <a:extLst>
              <a:ext uri="{FF2B5EF4-FFF2-40B4-BE49-F238E27FC236}">
                <a16:creationId xmlns:a16="http://schemas.microsoft.com/office/drawing/2014/main" id="{D8F76857-639B-A84E-8A04-B50501672DF1}"/>
              </a:ext>
            </a:extLst>
          </p:cNvPr>
          <p:cNvSpPr>
            <a:spLocks noGrp="1"/>
          </p:cNvSpPr>
          <p:nvPr>
            <p:ph type="body" sz="quarter" idx="12"/>
          </p:nvPr>
        </p:nvSpPr>
        <p:spPr>
          <a:xfrm>
            <a:off x="1898904" y="2286000"/>
            <a:ext cx="8394192" cy="2431756"/>
          </a:xfrm>
        </p:spPr>
        <p:txBody>
          <a:bodyPr/>
          <a:lstStyle/>
          <a:p>
            <a:pPr algn="l"/>
            <a:r>
              <a:rPr lang="en-US">
                <a:cs typeface="Segoe UI"/>
              </a:rPr>
              <a:t>Microsoft Dynamics 365 Fraud Protection helps e-commerce, brick-and-mortar and omni-channel merchants protect their revenue and reputation by providing tools to decrease fraud and abuse, reduce operational expenses and increase acceptance rates. Adaptive AI technology works to combat purchase, account, and omni-channel return and discount fraud.</a:t>
            </a:r>
          </a:p>
        </p:txBody>
      </p:sp>
      <p:sp>
        <p:nvSpPr>
          <p:cNvPr id="2" name="TextBox 1">
            <a:extLst>
              <a:ext uri="{FF2B5EF4-FFF2-40B4-BE49-F238E27FC236}">
                <a16:creationId xmlns:a16="http://schemas.microsoft.com/office/drawing/2014/main" id="{A20B8697-297E-1F47-A53A-DF6E5A07EECB}"/>
              </a:ext>
            </a:extLst>
          </p:cNvPr>
          <p:cNvSpPr txBox="1"/>
          <p:nvPr/>
        </p:nvSpPr>
        <p:spPr>
          <a:xfrm>
            <a:off x="9975273" y="11970327"/>
            <a:ext cx="65" cy="307777"/>
          </a:xfrm>
          <a:prstGeom prst="rect">
            <a:avLst/>
          </a:prstGeom>
          <a:noFill/>
        </p:spPr>
        <p:txBody>
          <a:bodyPr wrap="none" lIns="0" tIns="0" rIns="0" bIns="0" rtlCol="0">
            <a:spAutoFit/>
          </a:bodyPr>
          <a:lstStyle/>
          <a:p>
            <a:pPr algn="l"/>
            <a:endParaRPr lang="en-US" sz="2000" err="1"/>
          </a:p>
        </p:txBody>
      </p:sp>
    </p:spTree>
    <p:extLst>
      <p:ext uri="{BB962C8B-B14F-4D97-AF65-F5344CB8AC3E}">
        <p14:creationId xmlns:p14="http://schemas.microsoft.com/office/powerpoint/2010/main" val="11916901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a:extLst>
              <a:ext uri="{FF2B5EF4-FFF2-40B4-BE49-F238E27FC236}">
                <a16:creationId xmlns:a16="http://schemas.microsoft.com/office/drawing/2014/main" id="{16158160-C34C-4B03-B182-5BF2DE5B2DD7}"/>
              </a:ext>
            </a:extLst>
          </p:cNvPr>
          <p:cNvSpPr>
            <a:spLocks noGrp="1"/>
          </p:cNvSpPr>
          <p:nvPr>
            <p:ph type="title"/>
          </p:nvPr>
        </p:nvSpPr>
        <p:spPr/>
        <p:txBody>
          <a:bodyPr/>
          <a:lstStyle/>
          <a:p>
            <a:r>
              <a:rPr lang="en-US" sz="2800"/>
              <a:t>Dynamics 365 Fraud Protection</a:t>
            </a:r>
          </a:p>
        </p:txBody>
      </p:sp>
      <p:sp>
        <p:nvSpPr>
          <p:cNvPr id="201" name="Arrow: Bent 200">
            <a:extLst>
              <a:ext uri="{FF2B5EF4-FFF2-40B4-BE49-F238E27FC236}">
                <a16:creationId xmlns:a16="http://schemas.microsoft.com/office/drawing/2014/main" id="{1E30E14A-1E30-408D-9B24-962AA0E52533}"/>
              </a:ext>
            </a:extLst>
          </p:cNvPr>
          <p:cNvSpPr/>
          <p:nvPr/>
        </p:nvSpPr>
        <p:spPr bwMode="auto">
          <a:xfrm>
            <a:off x="699308" y="2164388"/>
            <a:ext cx="1097280" cy="3015171"/>
          </a:xfrm>
          <a:prstGeom prst="bentArrow">
            <a:avLst>
              <a:gd name="adj1" fmla="val 25000"/>
              <a:gd name="adj2" fmla="val 0"/>
              <a:gd name="adj3" fmla="val 25000"/>
              <a:gd name="adj4" fmla="val 15062"/>
            </a:avLst>
          </a:prstGeom>
          <a:no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Arrow: Bent 201">
            <a:extLst>
              <a:ext uri="{FF2B5EF4-FFF2-40B4-BE49-F238E27FC236}">
                <a16:creationId xmlns:a16="http://schemas.microsoft.com/office/drawing/2014/main" id="{4B366B2D-E621-4817-BB11-01E4D43A1279}"/>
              </a:ext>
            </a:extLst>
          </p:cNvPr>
          <p:cNvSpPr/>
          <p:nvPr/>
        </p:nvSpPr>
        <p:spPr bwMode="auto">
          <a:xfrm>
            <a:off x="4305081" y="2264752"/>
            <a:ext cx="1097280" cy="3015171"/>
          </a:xfrm>
          <a:prstGeom prst="bentArrow">
            <a:avLst>
              <a:gd name="adj1" fmla="val 25000"/>
              <a:gd name="adj2" fmla="val 0"/>
              <a:gd name="adj3" fmla="val 25000"/>
              <a:gd name="adj4" fmla="val 15062"/>
            </a:avLst>
          </a:prstGeom>
          <a:solidFill>
            <a:srgbClr val="008272"/>
          </a:solid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Arrow: Bent 202">
            <a:extLst>
              <a:ext uri="{FF2B5EF4-FFF2-40B4-BE49-F238E27FC236}">
                <a16:creationId xmlns:a16="http://schemas.microsoft.com/office/drawing/2014/main" id="{DA9F8B10-2954-4FB2-ACD9-B87FD266EDFB}"/>
              </a:ext>
            </a:extLst>
          </p:cNvPr>
          <p:cNvSpPr/>
          <p:nvPr/>
        </p:nvSpPr>
        <p:spPr bwMode="auto">
          <a:xfrm>
            <a:off x="8070974" y="2264752"/>
            <a:ext cx="1097280" cy="3015171"/>
          </a:xfrm>
          <a:prstGeom prst="bentArrow">
            <a:avLst>
              <a:gd name="adj1" fmla="val 25000"/>
              <a:gd name="adj2" fmla="val 0"/>
              <a:gd name="adj3" fmla="val 25000"/>
              <a:gd name="adj4" fmla="val 15062"/>
            </a:avLst>
          </a:prstGeom>
          <a:solidFill>
            <a:srgbClr val="008272"/>
          </a:solid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94899AC0-ED9A-450A-A9C5-50598D2C9407}"/>
              </a:ext>
            </a:extLst>
          </p:cNvPr>
          <p:cNvSpPr/>
          <p:nvPr/>
        </p:nvSpPr>
        <p:spPr bwMode="auto">
          <a:xfrm>
            <a:off x="641386" y="5180936"/>
            <a:ext cx="116710" cy="116710"/>
          </a:xfrm>
          <a:prstGeom prst="ellipse">
            <a:avLst/>
          </a:prstGeom>
          <a:solidFill>
            <a:sysClr val="window" lastClr="FFFFFF"/>
          </a:solid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5" name="Oval 204">
            <a:extLst>
              <a:ext uri="{FF2B5EF4-FFF2-40B4-BE49-F238E27FC236}">
                <a16:creationId xmlns:a16="http://schemas.microsoft.com/office/drawing/2014/main" id="{D0E9489B-963C-48C9-9485-C94CACD7A844}"/>
              </a:ext>
            </a:extLst>
          </p:cNvPr>
          <p:cNvSpPr/>
          <p:nvPr/>
        </p:nvSpPr>
        <p:spPr bwMode="auto">
          <a:xfrm>
            <a:off x="4249625" y="5180936"/>
            <a:ext cx="116710" cy="116710"/>
          </a:xfrm>
          <a:prstGeom prst="ellipse">
            <a:avLst/>
          </a:prstGeom>
          <a:solidFill>
            <a:sysClr val="window" lastClr="FFFFFF"/>
          </a:solid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6" name="Oval 205">
            <a:extLst>
              <a:ext uri="{FF2B5EF4-FFF2-40B4-BE49-F238E27FC236}">
                <a16:creationId xmlns:a16="http://schemas.microsoft.com/office/drawing/2014/main" id="{69C1D69E-188A-4D9B-A093-D64DE586A387}"/>
              </a:ext>
            </a:extLst>
          </p:cNvPr>
          <p:cNvSpPr/>
          <p:nvPr/>
        </p:nvSpPr>
        <p:spPr bwMode="auto">
          <a:xfrm>
            <a:off x="8008187" y="5180936"/>
            <a:ext cx="116710" cy="116710"/>
          </a:xfrm>
          <a:prstGeom prst="ellipse">
            <a:avLst/>
          </a:prstGeom>
          <a:solidFill>
            <a:sysClr val="window" lastClr="FFFFFF"/>
          </a:solidFill>
          <a:ln w="9525"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7" name="Text Placeholder 3">
            <a:extLst>
              <a:ext uri="{FF2B5EF4-FFF2-40B4-BE49-F238E27FC236}">
                <a16:creationId xmlns:a16="http://schemas.microsoft.com/office/drawing/2014/main" id="{DDD917A1-F80F-40A4-8238-C7BD811D8B9C}"/>
              </a:ext>
            </a:extLst>
          </p:cNvPr>
          <p:cNvSpPr txBox="1">
            <a:spLocks/>
          </p:cNvSpPr>
          <p:nvPr/>
        </p:nvSpPr>
        <p:spPr>
          <a:xfrm>
            <a:off x="668566" y="2714969"/>
            <a:ext cx="3136258" cy="680937"/>
          </a:xfrm>
          <a:prstGeom prst="rect">
            <a:avLst/>
          </a:prstGeom>
          <a:noFill/>
        </p:spPr>
        <p:txBody>
          <a:bodyPr wrap="square" lIns="91440" tIns="0" rIns="0" bIns="0" anchor="b"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pPr>
            <a:r>
              <a:rPr lang="en-US" sz="1800">
                <a:solidFill>
                  <a:srgbClr val="505050"/>
                </a:solidFill>
                <a:latin typeface="Segoe UI Semibold"/>
              </a:rPr>
              <a:t>PURCHASE PROTECTION</a:t>
            </a:r>
          </a:p>
        </p:txBody>
      </p:sp>
      <p:sp>
        <p:nvSpPr>
          <p:cNvPr id="208" name="Text Placeholder 3">
            <a:extLst>
              <a:ext uri="{FF2B5EF4-FFF2-40B4-BE49-F238E27FC236}">
                <a16:creationId xmlns:a16="http://schemas.microsoft.com/office/drawing/2014/main" id="{1BDE982C-C4EA-4154-B774-1466A699F1A7}"/>
              </a:ext>
            </a:extLst>
          </p:cNvPr>
          <p:cNvSpPr txBox="1">
            <a:spLocks/>
          </p:cNvSpPr>
          <p:nvPr/>
        </p:nvSpPr>
        <p:spPr>
          <a:xfrm>
            <a:off x="4305082" y="2714969"/>
            <a:ext cx="3812362" cy="680937"/>
          </a:xfrm>
          <a:prstGeom prst="rect">
            <a:avLst/>
          </a:prstGeom>
          <a:noFill/>
        </p:spPr>
        <p:txBody>
          <a:bodyPr wrap="square" lIns="91440" tIns="0" rIns="0" bIns="0" anchor="b"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pPr>
            <a:r>
              <a:rPr lang="en-US" sz="1800">
                <a:solidFill>
                  <a:srgbClr val="505050"/>
                </a:solidFill>
                <a:latin typeface="Segoe UI Semibold"/>
              </a:rPr>
              <a:t>ACCOUNT PROTECTION</a:t>
            </a:r>
          </a:p>
        </p:txBody>
      </p:sp>
      <p:grpSp>
        <p:nvGrpSpPr>
          <p:cNvPr id="209" name="Group 208">
            <a:extLst>
              <a:ext uri="{FF2B5EF4-FFF2-40B4-BE49-F238E27FC236}">
                <a16:creationId xmlns:a16="http://schemas.microsoft.com/office/drawing/2014/main" id="{1C8714F9-C46A-4FD1-B66B-DE8E6743664C}"/>
              </a:ext>
            </a:extLst>
          </p:cNvPr>
          <p:cNvGrpSpPr/>
          <p:nvPr/>
        </p:nvGrpSpPr>
        <p:grpSpPr>
          <a:xfrm>
            <a:off x="612405" y="3456945"/>
            <a:ext cx="3129416" cy="1931469"/>
            <a:chOff x="387439" y="3555267"/>
            <a:chExt cx="3129416" cy="1931469"/>
          </a:xfrm>
        </p:grpSpPr>
        <p:sp>
          <p:nvSpPr>
            <p:cNvPr id="210" name="Text Placeholder 3">
              <a:extLst>
                <a:ext uri="{FF2B5EF4-FFF2-40B4-BE49-F238E27FC236}">
                  <a16:creationId xmlns:a16="http://schemas.microsoft.com/office/drawing/2014/main" id="{01E60635-5B06-48AB-B889-8FD610766D2D}"/>
                </a:ext>
              </a:extLst>
            </p:cNvPr>
            <p:cNvSpPr txBox="1">
              <a:spLocks/>
            </p:cNvSpPr>
            <p:nvPr/>
          </p:nvSpPr>
          <p:spPr>
            <a:xfrm rot="16200000">
              <a:off x="801530" y="3228514"/>
              <a:ext cx="27432" cy="680937"/>
            </a:xfrm>
            <a:prstGeom prst="rect">
              <a:avLst/>
            </a:prstGeom>
            <a:solidFill>
              <a:srgbClr val="008272"/>
            </a:solidFill>
          </p:spPr>
          <p:txBody>
            <a:bodyPr wrap="square" lIns="45720" tIns="0" rIns="0" bIns="0" anchor="ctr"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ndParaRPr>
            </a:p>
          </p:txBody>
        </p:sp>
        <p:grpSp>
          <p:nvGrpSpPr>
            <p:cNvPr id="211" name="Group 210">
              <a:extLst>
                <a:ext uri="{FF2B5EF4-FFF2-40B4-BE49-F238E27FC236}">
                  <a16:creationId xmlns:a16="http://schemas.microsoft.com/office/drawing/2014/main" id="{9836F710-9C7D-46BC-AA5B-FFE1415DC328}"/>
                </a:ext>
              </a:extLst>
            </p:cNvPr>
            <p:cNvGrpSpPr/>
            <p:nvPr/>
          </p:nvGrpSpPr>
          <p:grpSpPr>
            <a:xfrm>
              <a:off x="387439" y="3670854"/>
              <a:ext cx="3129416" cy="1815882"/>
              <a:chOff x="387439" y="3670854"/>
              <a:chExt cx="3129416" cy="1815882"/>
            </a:xfrm>
          </p:grpSpPr>
          <p:sp>
            <p:nvSpPr>
              <p:cNvPr id="212" name="Oval 211">
                <a:extLst>
                  <a:ext uri="{FF2B5EF4-FFF2-40B4-BE49-F238E27FC236}">
                    <a16:creationId xmlns:a16="http://schemas.microsoft.com/office/drawing/2014/main" id="{4A1C7B2D-DF9F-49E8-AF54-5ED24783BBC7}"/>
                  </a:ext>
                </a:extLst>
              </p:cNvPr>
              <p:cNvSpPr/>
              <p:nvPr/>
            </p:nvSpPr>
            <p:spPr bwMode="auto">
              <a:xfrm flipH="1">
                <a:off x="387439" y="3903103"/>
                <a:ext cx="182880" cy="182880"/>
              </a:xfrm>
              <a:prstGeom prst="ellipse">
                <a:avLst/>
              </a:prstGeom>
              <a:solidFill>
                <a:sysClr val="window" lastClr="FFFFFF">
                  <a:lumMod val="85000"/>
                </a:sysClr>
              </a:solidFill>
              <a:ln w="25400"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219121" eaLnBrk="1" fontAlgn="auto" latinLnBrk="0" hangingPunct="1">
                  <a:lnSpc>
                    <a:spcPct val="100000"/>
                  </a:lnSpc>
                  <a:spcBef>
                    <a:spcPct val="20000"/>
                  </a:spcBef>
                  <a:spcAft>
                    <a:spcPts val="0"/>
                  </a:spcAft>
                  <a:buClrTx/>
                  <a:buSzTx/>
                  <a:buFontTx/>
                  <a:buNone/>
                  <a:tabLst/>
                  <a:defRPr/>
                </a:pPr>
                <a:endParaRPr kumimoji="0" lang="en-US" sz="3200" b="0" i="0" u="none" strike="noStrike" kern="0" cap="none" spc="0" normalizeH="0" baseline="0" noProof="0" err="1">
                  <a:ln>
                    <a:noFill/>
                  </a:ln>
                  <a:solidFill>
                    <a:srgbClr val="008272"/>
                  </a:solidFill>
                  <a:effectLst/>
                  <a:uLnTx/>
                  <a:uFillTx/>
                  <a:latin typeface="Segoe UI Semibold"/>
                  <a:ea typeface="+mn-ea"/>
                  <a:cs typeface="+mn-cs"/>
                </a:endParaRPr>
              </a:p>
            </p:txBody>
          </p:sp>
          <p:sp>
            <p:nvSpPr>
              <p:cNvPr id="213" name="Rectangle 212">
                <a:extLst>
                  <a:ext uri="{FF2B5EF4-FFF2-40B4-BE49-F238E27FC236}">
                    <a16:creationId xmlns:a16="http://schemas.microsoft.com/office/drawing/2014/main" id="{D942593B-7C95-4102-9405-DC69039DFCAA}"/>
                  </a:ext>
                </a:extLst>
              </p:cNvPr>
              <p:cNvSpPr/>
              <p:nvPr/>
            </p:nvSpPr>
            <p:spPr>
              <a:xfrm>
                <a:off x="628673" y="3670854"/>
                <a:ext cx="2888182" cy="181588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rPr>
                  <a:t>Help protect revenue by improving the acceptance rate of e-commerce transactions with insights and tools that help balance revenue opportunity vs fraud loss and checkout friction</a:t>
                </a:r>
              </a:p>
            </p:txBody>
          </p:sp>
        </p:grpSp>
      </p:grpSp>
      <p:grpSp>
        <p:nvGrpSpPr>
          <p:cNvPr id="214" name="Group 213">
            <a:extLst>
              <a:ext uri="{FF2B5EF4-FFF2-40B4-BE49-F238E27FC236}">
                <a16:creationId xmlns:a16="http://schemas.microsoft.com/office/drawing/2014/main" id="{BDE9A32D-400A-44EF-9919-DF51621D6E2C}"/>
              </a:ext>
            </a:extLst>
          </p:cNvPr>
          <p:cNvGrpSpPr/>
          <p:nvPr/>
        </p:nvGrpSpPr>
        <p:grpSpPr>
          <a:xfrm>
            <a:off x="4213640" y="3456945"/>
            <a:ext cx="3173749" cy="1931469"/>
            <a:chOff x="4195696" y="3555267"/>
            <a:chExt cx="3173749" cy="1931469"/>
          </a:xfrm>
        </p:grpSpPr>
        <p:sp>
          <p:nvSpPr>
            <p:cNvPr id="215" name="Text Placeholder 3">
              <a:extLst>
                <a:ext uri="{FF2B5EF4-FFF2-40B4-BE49-F238E27FC236}">
                  <a16:creationId xmlns:a16="http://schemas.microsoft.com/office/drawing/2014/main" id="{4AF375F1-EBBF-4795-A1ED-3B7FA3FB3742}"/>
                </a:ext>
              </a:extLst>
            </p:cNvPr>
            <p:cNvSpPr txBox="1">
              <a:spLocks/>
            </p:cNvSpPr>
            <p:nvPr/>
          </p:nvSpPr>
          <p:spPr>
            <a:xfrm rot="16200000">
              <a:off x="4613893" y="3228514"/>
              <a:ext cx="27432" cy="680937"/>
            </a:xfrm>
            <a:prstGeom prst="rect">
              <a:avLst/>
            </a:prstGeom>
            <a:solidFill>
              <a:srgbClr val="30E5D0">
                <a:lumMod val="75000"/>
              </a:srgbClr>
            </a:solidFill>
          </p:spPr>
          <p:txBody>
            <a:bodyPr wrap="square" lIns="45720" tIns="0" rIns="0" bIns="0" anchor="ctr"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ndParaRPr>
            </a:p>
          </p:txBody>
        </p:sp>
        <p:grpSp>
          <p:nvGrpSpPr>
            <p:cNvPr id="216" name="Group 215">
              <a:extLst>
                <a:ext uri="{FF2B5EF4-FFF2-40B4-BE49-F238E27FC236}">
                  <a16:creationId xmlns:a16="http://schemas.microsoft.com/office/drawing/2014/main" id="{56A32FD3-3218-4AAC-8211-3B7E58A06C0F}"/>
                </a:ext>
              </a:extLst>
            </p:cNvPr>
            <p:cNvGrpSpPr/>
            <p:nvPr/>
          </p:nvGrpSpPr>
          <p:grpSpPr>
            <a:xfrm>
              <a:off x="4195696" y="3670854"/>
              <a:ext cx="3173749" cy="1815882"/>
              <a:chOff x="4195696" y="3670854"/>
              <a:chExt cx="3173749" cy="1815882"/>
            </a:xfrm>
          </p:grpSpPr>
          <p:sp>
            <p:nvSpPr>
              <p:cNvPr id="217" name="Oval 216">
                <a:extLst>
                  <a:ext uri="{FF2B5EF4-FFF2-40B4-BE49-F238E27FC236}">
                    <a16:creationId xmlns:a16="http://schemas.microsoft.com/office/drawing/2014/main" id="{6622F74F-AF3B-452E-BCFD-B10CEE0F2BC6}"/>
                  </a:ext>
                </a:extLst>
              </p:cNvPr>
              <p:cNvSpPr/>
              <p:nvPr/>
            </p:nvSpPr>
            <p:spPr bwMode="auto">
              <a:xfrm>
                <a:off x="4195696" y="3903103"/>
                <a:ext cx="182880" cy="182880"/>
              </a:xfrm>
              <a:prstGeom prst="ellipse">
                <a:avLst/>
              </a:prstGeom>
              <a:solidFill>
                <a:sysClr val="window" lastClr="FFFFFF">
                  <a:lumMod val="85000"/>
                </a:sysClr>
              </a:solidFill>
              <a:ln w="25400" cap="flat" cmpd="sng" algn="ctr">
                <a:solidFill>
                  <a:srgbClr val="30E5D0">
                    <a:lumMod val="75000"/>
                  </a:srgbClr>
                </a:solidFill>
                <a:prstDash val="solid"/>
                <a:headEnd type="none" w="med" len="med"/>
                <a:tailEnd type="none" w="med" len="med"/>
              </a:ln>
              <a:effectLst/>
            </p:spPr>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219121" eaLnBrk="1" fontAlgn="auto" latinLnBrk="0" hangingPunct="1">
                  <a:lnSpc>
                    <a:spcPct val="100000"/>
                  </a:lnSpc>
                  <a:spcBef>
                    <a:spcPct val="20000"/>
                  </a:spcBef>
                  <a:spcAft>
                    <a:spcPts val="0"/>
                  </a:spcAft>
                  <a:buClrTx/>
                  <a:buSzTx/>
                  <a:buFontTx/>
                  <a:buNone/>
                  <a:tabLst/>
                  <a:defRPr/>
                </a:pPr>
                <a:endParaRPr kumimoji="0" lang="en-US" sz="3200" b="0" i="0" u="none" strike="noStrike" kern="0" cap="none" spc="0" normalizeH="0" baseline="0" noProof="0" err="1">
                  <a:ln>
                    <a:noFill/>
                  </a:ln>
                  <a:solidFill>
                    <a:srgbClr val="008272"/>
                  </a:solidFill>
                  <a:effectLst/>
                  <a:uLnTx/>
                  <a:uFillTx/>
                  <a:latin typeface="Segoe UI Semibold"/>
                  <a:ea typeface="+mn-ea"/>
                  <a:cs typeface="+mn-cs"/>
                </a:endParaRPr>
              </a:p>
            </p:txBody>
          </p:sp>
          <p:sp>
            <p:nvSpPr>
              <p:cNvPr id="218" name="Rectangle 217">
                <a:extLst>
                  <a:ext uri="{FF2B5EF4-FFF2-40B4-BE49-F238E27FC236}">
                    <a16:creationId xmlns:a16="http://schemas.microsoft.com/office/drawing/2014/main" id="{A6B4ADD9-EA20-439A-98A0-1D90E84EE0DC}"/>
                  </a:ext>
                </a:extLst>
              </p:cNvPr>
              <p:cNvSpPr/>
              <p:nvPr/>
            </p:nvSpPr>
            <p:spPr>
              <a:xfrm>
                <a:off x="4429337" y="3670854"/>
                <a:ext cx="2940108" cy="1815882"/>
              </a:xfrm>
              <a:prstGeom prst="rect">
                <a:avLst/>
              </a:prstGeom>
              <a:solidFill>
                <a:sysClr val="window" lastClr="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rPr>
                  <a:t>Help protect online revenue and reputation and safeguard user accounts from abuse and fraud by combating fake account creation, account takeover and fraudulent account access</a:t>
                </a:r>
              </a:p>
            </p:txBody>
          </p:sp>
        </p:grpSp>
      </p:grpSp>
      <p:sp>
        <p:nvSpPr>
          <p:cNvPr id="219" name="Text Placeholder 3">
            <a:extLst>
              <a:ext uri="{FF2B5EF4-FFF2-40B4-BE49-F238E27FC236}">
                <a16:creationId xmlns:a16="http://schemas.microsoft.com/office/drawing/2014/main" id="{A4FDDD72-8E04-4628-A0CD-F1D35B1ADBED}"/>
              </a:ext>
            </a:extLst>
          </p:cNvPr>
          <p:cNvSpPr txBox="1">
            <a:spLocks/>
          </p:cNvSpPr>
          <p:nvPr/>
        </p:nvSpPr>
        <p:spPr>
          <a:xfrm>
            <a:off x="8070974" y="2714969"/>
            <a:ext cx="3694493" cy="680937"/>
          </a:xfrm>
          <a:prstGeom prst="rect">
            <a:avLst/>
          </a:prstGeom>
          <a:noFill/>
        </p:spPr>
        <p:txBody>
          <a:bodyPr wrap="square" lIns="91440" tIns="0" rIns="0" bIns="0" anchor="b"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Aft>
                <a:spcPts val="200"/>
              </a:spcAft>
            </a:pPr>
            <a:r>
              <a:rPr lang="en-US" sz="1800">
                <a:solidFill>
                  <a:srgbClr val="505050"/>
                </a:solidFill>
                <a:latin typeface="Segoe UI Semibold"/>
              </a:rPr>
              <a:t>LOSS PREVENTION</a:t>
            </a:r>
          </a:p>
        </p:txBody>
      </p:sp>
      <p:grpSp>
        <p:nvGrpSpPr>
          <p:cNvPr id="220" name="Group 219">
            <a:extLst>
              <a:ext uri="{FF2B5EF4-FFF2-40B4-BE49-F238E27FC236}">
                <a16:creationId xmlns:a16="http://schemas.microsoft.com/office/drawing/2014/main" id="{6ECFB57C-5518-480A-98C2-FF64737F71BD}"/>
              </a:ext>
            </a:extLst>
          </p:cNvPr>
          <p:cNvGrpSpPr/>
          <p:nvPr/>
        </p:nvGrpSpPr>
        <p:grpSpPr>
          <a:xfrm>
            <a:off x="7983706" y="3456945"/>
            <a:ext cx="3623078" cy="1993024"/>
            <a:chOff x="7965762" y="3555267"/>
            <a:chExt cx="3623078" cy="1993024"/>
          </a:xfrm>
        </p:grpSpPr>
        <p:sp>
          <p:nvSpPr>
            <p:cNvPr id="221" name="Text Placeholder 3">
              <a:extLst>
                <a:ext uri="{FF2B5EF4-FFF2-40B4-BE49-F238E27FC236}">
                  <a16:creationId xmlns:a16="http://schemas.microsoft.com/office/drawing/2014/main" id="{998A29DC-11A8-44E3-9292-9F3B73704531}"/>
                </a:ext>
              </a:extLst>
            </p:cNvPr>
            <p:cNvSpPr txBox="1">
              <a:spLocks/>
            </p:cNvSpPr>
            <p:nvPr/>
          </p:nvSpPr>
          <p:spPr>
            <a:xfrm rot="16200000">
              <a:off x="8379786" y="3228514"/>
              <a:ext cx="27432" cy="680937"/>
            </a:xfrm>
            <a:prstGeom prst="rect">
              <a:avLst/>
            </a:prstGeom>
            <a:solidFill>
              <a:srgbClr val="006256"/>
            </a:solidFill>
            <a:ln>
              <a:noFill/>
            </a:ln>
          </p:spPr>
          <p:txBody>
            <a:bodyPr wrap="square" lIns="45720" tIns="0" rIns="0" bIns="0" anchor="ctr" anchorCtr="0">
              <a:no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eaLnBrk="1" fontAlgn="auto" latinLnBrk="0" hangingPunct="1">
                <a:lnSpc>
                  <a:spcPct val="100000"/>
                </a:lnSpc>
                <a:spcBef>
                  <a:spcPts val="0"/>
                </a:spcBef>
                <a:spcAft>
                  <a:spcPts val="2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ndParaRPr>
            </a:p>
          </p:txBody>
        </p:sp>
        <p:grpSp>
          <p:nvGrpSpPr>
            <p:cNvPr id="222" name="Group 221">
              <a:extLst>
                <a:ext uri="{FF2B5EF4-FFF2-40B4-BE49-F238E27FC236}">
                  <a16:creationId xmlns:a16="http://schemas.microsoft.com/office/drawing/2014/main" id="{0F88FDEA-26B9-4CD1-8100-7577D22D40C0}"/>
                </a:ext>
              </a:extLst>
            </p:cNvPr>
            <p:cNvGrpSpPr/>
            <p:nvPr/>
          </p:nvGrpSpPr>
          <p:grpSpPr>
            <a:xfrm>
              <a:off x="7965762" y="3670854"/>
              <a:ext cx="3623078" cy="1877437"/>
              <a:chOff x="7965762" y="3670854"/>
              <a:chExt cx="3623078" cy="1877437"/>
            </a:xfrm>
          </p:grpSpPr>
          <p:sp>
            <p:nvSpPr>
              <p:cNvPr id="223" name="Rectangle 222">
                <a:extLst>
                  <a:ext uri="{FF2B5EF4-FFF2-40B4-BE49-F238E27FC236}">
                    <a16:creationId xmlns:a16="http://schemas.microsoft.com/office/drawing/2014/main" id="{D7409AE0-13AA-44ED-B141-94B794913AFA}"/>
                  </a:ext>
                </a:extLst>
              </p:cNvPr>
              <p:cNvSpPr/>
              <p:nvPr/>
            </p:nvSpPr>
            <p:spPr>
              <a:xfrm>
                <a:off x="8194222" y="3670854"/>
                <a:ext cx="3394618" cy="1877437"/>
              </a:xfrm>
              <a:prstGeom prst="rect">
                <a:avLst/>
              </a:prstGeom>
            </p:spPr>
            <p:txBody>
              <a:bodyPr wrap="square">
                <a:spAutoFit/>
              </a:bodyPr>
              <a:lstStyle/>
              <a:p>
                <a:pPr marL="0" marR="0" lvl="0" indent="0" defTabSz="914400" eaLnBrk="1" fontAlgn="auto" latinLnBrk="0" hangingPunct="1">
                  <a:lnSpc>
                    <a:spcPct val="100000"/>
                  </a:lnSpc>
                  <a:spcBef>
                    <a:spcPts val="600"/>
                  </a:spcBef>
                  <a:spcAft>
                    <a:spcPts val="600"/>
                  </a:spcAft>
                  <a:buClrTx/>
                  <a:buSzPct val="90000"/>
                  <a:buFontTx/>
                  <a:buNone/>
                  <a:tabLst/>
                  <a:defRPr/>
                </a:pPr>
                <a:r>
                  <a:rPr kumimoji="0" lang="en-US" sz="1600" b="0" i="0" u="none" strike="noStrike" kern="0" cap="none" spc="0" normalizeH="0" baseline="0" noProof="0">
                    <a:ln>
                      <a:noFill/>
                    </a:ln>
                    <a:solidFill>
                      <a:srgbClr val="505050"/>
                    </a:solidFill>
                    <a:effectLst/>
                    <a:uLnTx/>
                    <a:uFillTx/>
                  </a:rPr>
                  <a:t>Help protect revenue by identifying anomalies and potential fraud on returns and discounts arising from omni-channel purchases, enabling store managers and loss prevention officers to quickly take action to mitigate losses</a:t>
                </a:r>
              </a:p>
            </p:txBody>
          </p:sp>
          <p:sp>
            <p:nvSpPr>
              <p:cNvPr id="224" name="Oval 223">
                <a:extLst>
                  <a:ext uri="{FF2B5EF4-FFF2-40B4-BE49-F238E27FC236}">
                    <a16:creationId xmlns:a16="http://schemas.microsoft.com/office/drawing/2014/main" id="{B5D887DA-C8B0-4720-936E-AE7C8D5FC69D}"/>
                  </a:ext>
                </a:extLst>
              </p:cNvPr>
              <p:cNvSpPr/>
              <p:nvPr/>
            </p:nvSpPr>
            <p:spPr bwMode="auto">
              <a:xfrm>
                <a:off x="7965762" y="3903103"/>
                <a:ext cx="182880" cy="182880"/>
              </a:xfrm>
              <a:prstGeom prst="ellipse">
                <a:avLst/>
              </a:prstGeom>
              <a:solidFill>
                <a:sysClr val="window" lastClr="FFFFFF">
                  <a:lumMod val="85000"/>
                </a:sysClr>
              </a:solidFill>
              <a:ln w="25400" cap="flat" cmpd="sng" algn="ctr">
                <a:solidFill>
                  <a:srgbClr val="008272">
                    <a:lumMod val="75000"/>
                  </a:srgbClr>
                </a:solidFill>
                <a:prstDash val="solid"/>
                <a:headEnd type="none" w="med" len="med"/>
                <a:tailEnd type="none" w="med" len="med"/>
              </a:ln>
              <a:effectLst/>
            </p:spPr>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219121" eaLnBrk="1" fontAlgn="auto" latinLnBrk="0" hangingPunct="1">
                  <a:lnSpc>
                    <a:spcPct val="100000"/>
                  </a:lnSpc>
                  <a:spcBef>
                    <a:spcPct val="20000"/>
                  </a:spcBef>
                  <a:spcAft>
                    <a:spcPts val="0"/>
                  </a:spcAft>
                  <a:buClrTx/>
                  <a:buSzTx/>
                  <a:buFontTx/>
                  <a:buNone/>
                  <a:tabLst/>
                  <a:defRPr/>
                </a:pPr>
                <a:endParaRPr kumimoji="0" lang="en-US" sz="3200" b="0" i="0" u="none" strike="noStrike" kern="0" cap="none" spc="0" normalizeH="0" baseline="0" noProof="0" err="1">
                  <a:ln>
                    <a:noFill/>
                  </a:ln>
                  <a:solidFill>
                    <a:srgbClr val="008272"/>
                  </a:solidFill>
                  <a:effectLst/>
                  <a:uLnTx/>
                  <a:uFillTx/>
                  <a:latin typeface="Segoe UI Semibold"/>
                  <a:ea typeface="+mn-ea"/>
                  <a:cs typeface="+mn-cs"/>
                </a:endParaRPr>
              </a:p>
            </p:txBody>
          </p:sp>
        </p:grpSp>
      </p:grpSp>
      <p:grpSp>
        <p:nvGrpSpPr>
          <p:cNvPr id="225" name="!!PURCHASE">
            <a:extLst>
              <a:ext uri="{FF2B5EF4-FFF2-40B4-BE49-F238E27FC236}">
                <a16:creationId xmlns:a16="http://schemas.microsoft.com/office/drawing/2014/main" id="{0F88BF77-B2A7-4238-A175-4D24A319AF9B}"/>
              </a:ext>
            </a:extLst>
          </p:cNvPr>
          <p:cNvGrpSpPr/>
          <p:nvPr/>
        </p:nvGrpSpPr>
        <p:grpSpPr>
          <a:xfrm>
            <a:off x="1616338" y="1566253"/>
            <a:ext cx="1397000" cy="1397000"/>
            <a:chOff x="1344404" y="7017114"/>
            <a:chExt cx="1397000" cy="1397000"/>
          </a:xfrm>
        </p:grpSpPr>
        <p:grpSp>
          <p:nvGrpSpPr>
            <p:cNvPr id="226" name="Group 225">
              <a:extLst>
                <a:ext uri="{FF2B5EF4-FFF2-40B4-BE49-F238E27FC236}">
                  <a16:creationId xmlns:a16="http://schemas.microsoft.com/office/drawing/2014/main" id="{5ACDEF99-3D6A-4833-B95F-30F242EBF18B}"/>
                </a:ext>
              </a:extLst>
            </p:cNvPr>
            <p:cNvGrpSpPr/>
            <p:nvPr/>
          </p:nvGrpSpPr>
          <p:grpSpPr>
            <a:xfrm>
              <a:off x="1344404" y="7017114"/>
              <a:ext cx="1397000" cy="1397000"/>
              <a:chOff x="1062367" y="1562274"/>
              <a:chExt cx="1397000" cy="1397000"/>
            </a:xfrm>
          </p:grpSpPr>
          <p:sp>
            <p:nvSpPr>
              <p:cNvPr id="237" name="Oval 236">
                <a:extLst>
                  <a:ext uri="{FF2B5EF4-FFF2-40B4-BE49-F238E27FC236}">
                    <a16:creationId xmlns:a16="http://schemas.microsoft.com/office/drawing/2014/main" id="{BE77DDA3-62C2-4575-9DD0-613994F7EA8D}"/>
                  </a:ext>
                </a:extLst>
              </p:cNvPr>
              <p:cNvSpPr/>
              <p:nvPr/>
            </p:nvSpPr>
            <p:spPr bwMode="auto">
              <a:xfrm>
                <a:off x="1062367" y="1562274"/>
                <a:ext cx="1397000" cy="1397000"/>
              </a:xfrm>
              <a:prstGeom prst="ellipse">
                <a:avLst/>
              </a:prstGeom>
              <a:solidFill>
                <a:sysClr val="window" lastClr="FFFFFF"/>
              </a:solidFill>
              <a:ln w="9525" cap="flat" cmpd="sng" algn="ctr">
                <a:solidFill>
                  <a:sysClr val="window" lastClr="FFFFFF">
                    <a:lumMod val="75000"/>
                  </a:sysClr>
                </a:solid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nvGrpSpPr>
              <p:cNvPr id="238" name="Group 237">
                <a:extLst>
                  <a:ext uri="{FF2B5EF4-FFF2-40B4-BE49-F238E27FC236}">
                    <a16:creationId xmlns:a16="http://schemas.microsoft.com/office/drawing/2014/main" id="{E82F7E75-C186-4865-AB13-BA8EE48DCB7A}"/>
                  </a:ext>
                </a:extLst>
              </p:cNvPr>
              <p:cNvGrpSpPr/>
              <p:nvPr/>
            </p:nvGrpSpPr>
            <p:grpSpPr>
              <a:xfrm>
                <a:off x="1062367" y="1562274"/>
                <a:ext cx="1397000" cy="1397000"/>
                <a:chOff x="3924300" y="1634844"/>
                <a:chExt cx="1397000" cy="1397000"/>
              </a:xfrm>
            </p:grpSpPr>
            <p:sp>
              <p:nvSpPr>
                <p:cNvPr id="239" name="Arc 238">
                  <a:extLst>
                    <a:ext uri="{FF2B5EF4-FFF2-40B4-BE49-F238E27FC236}">
                      <a16:creationId xmlns:a16="http://schemas.microsoft.com/office/drawing/2014/main" id="{D4756075-DFD2-41CD-9DEE-5B73CCF40CD1}"/>
                    </a:ext>
                  </a:extLst>
                </p:cNvPr>
                <p:cNvSpPr/>
                <p:nvPr/>
              </p:nvSpPr>
              <p:spPr bwMode="auto">
                <a:xfrm>
                  <a:off x="3924300" y="1634844"/>
                  <a:ext cx="1397000" cy="1397000"/>
                </a:xfrm>
                <a:prstGeom prst="arc">
                  <a:avLst>
                    <a:gd name="adj1" fmla="val 19352357"/>
                    <a:gd name="adj2" fmla="val 2301333"/>
                  </a:avLst>
                </a:prstGeom>
                <a:noFill/>
                <a:ln w="38100" cap="rnd" cmpd="sng" algn="ctr">
                  <a:solidFill>
                    <a:srgbClr val="00827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240" name="Arc 239">
                  <a:extLst>
                    <a:ext uri="{FF2B5EF4-FFF2-40B4-BE49-F238E27FC236}">
                      <a16:creationId xmlns:a16="http://schemas.microsoft.com/office/drawing/2014/main" id="{27123926-39FC-4AFC-A777-5DADDC895312}"/>
                    </a:ext>
                  </a:extLst>
                </p:cNvPr>
                <p:cNvSpPr/>
                <p:nvPr/>
              </p:nvSpPr>
              <p:spPr bwMode="auto">
                <a:xfrm flipH="1">
                  <a:off x="3924300" y="1634844"/>
                  <a:ext cx="1397000" cy="1397000"/>
                </a:xfrm>
                <a:prstGeom prst="arc">
                  <a:avLst>
                    <a:gd name="adj1" fmla="val 19352357"/>
                    <a:gd name="adj2" fmla="val 2301333"/>
                  </a:avLst>
                </a:prstGeom>
                <a:noFill/>
                <a:ln w="38100" cap="rnd" cmpd="sng" algn="ctr">
                  <a:solidFill>
                    <a:srgbClr val="00827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grpSp>
        </p:grpSp>
        <p:sp>
          <p:nvSpPr>
            <p:cNvPr id="227" name="Flowchart: Connector 226">
              <a:extLst>
                <a:ext uri="{FF2B5EF4-FFF2-40B4-BE49-F238E27FC236}">
                  <a16:creationId xmlns:a16="http://schemas.microsoft.com/office/drawing/2014/main" id="{9B3B32A0-27ED-4DF6-A5C1-4A92A0D9EFCF}"/>
                </a:ext>
              </a:extLst>
            </p:cNvPr>
            <p:cNvSpPr/>
            <p:nvPr/>
          </p:nvSpPr>
          <p:spPr bwMode="auto">
            <a:xfrm>
              <a:off x="1496666" y="7169376"/>
              <a:ext cx="1092476" cy="1092476"/>
            </a:xfrm>
            <a:prstGeom prst="flowChartConnector">
              <a:avLst/>
            </a:prstGeom>
            <a:solidFill>
              <a:srgbClr val="E7E6E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228" name="Group 227">
              <a:extLst>
                <a:ext uri="{FF2B5EF4-FFF2-40B4-BE49-F238E27FC236}">
                  <a16:creationId xmlns:a16="http://schemas.microsoft.com/office/drawing/2014/main" id="{767FF0AA-7C1B-4556-AECF-E5DD5E2D99B5}"/>
                </a:ext>
              </a:extLst>
            </p:cNvPr>
            <p:cNvGrpSpPr/>
            <p:nvPr/>
          </p:nvGrpSpPr>
          <p:grpSpPr>
            <a:xfrm>
              <a:off x="1759980" y="7546588"/>
              <a:ext cx="565830" cy="338081"/>
              <a:chOff x="2891208" y="5379095"/>
              <a:chExt cx="643647" cy="384574"/>
            </a:xfrm>
            <a:solidFill>
              <a:sysClr val="window" lastClr="FFFFFF"/>
            </a:solidFill>
          </p:grpSpPr>
          <p:sp>
            <p:nvSpPr>
              <p:cNvPr id="229" name="Freeform: Shape 228">
                <a:extLst>
                  <a:ext uri="{FF2B5EF4-FFF2-40B4-BE49-F238E27FC236}">
                    <a16:creationId xmlns:a16="http://schemas.microsoft.com/office/drawing/2014/main" id="{0608468B-8834-4369-94D4-B42423AA790A}"/>
                  </a:ext>
                </a:extLst>
              </p:cNvPr>
              <p:cNvSpPr/>
              <p:nvPr/>
            </p:nvSpPr>
            <p:spPr>
              <a:xfrm>
                <a:off x="3365912" y="5379095"/>
                <a:ext cx="168943" cy="197019"/>
              </a:xfrm>
              <a:custGeom>
                <a:avLst/>
                <a:gdLst>
                  <a:gd name="connsiteX0" fmla="*/ 398078 w 428918"/>
                  <a:gd name="connsiteY0" fmla="*/ 371969 h 503512"/>
                  <a:gd name="connsiteX1" fmla="*/ 191078 w 428918"/>
                  <a:gd name="connsiteY1" fmla="*/ 45618 h 503512"/>
                  <a:gd name="connsiteX2" fmla="*/ 136997 w 428918"/>
                  <a:gd name="connsiteY2" fmla="*/ 34429 h 503512"/>
                  <a:gd name="connsiteX3" fmla="*/ 45618 w 428918"/>
                  <a:gd name="connsiteY3" fmla="*/ 92240 h 503512"/>
                  <a:gd name="connsiteX4" fmla="*/ 34429 w 428918"/>
                  <a:gd name="connsiteY4" fmla="*/ 146321 h 503512"/>
                  <a:gd name="connsiteX5" fmla="*/ 241429 w 428918"/>
                  <a:gd name="connsiteY5" fmla="*/ 472672 h 503512"/>
                  <a:gd name="connsiteX6" fmla="*/ 295510 w 428918"/>
                  <a:gd name="connsiteY6" fmla="*/ 483861 h 503512"/>
                  <a:gd name="connsiteX7" fmla="*/ 386888 w 428918"/>
                  <a:gd name="connsiteY7" fmla="*/ 426050 h 503512"/>
                  <a:gd name="connsiteX8" fmla="*/ 398078 w 428918"/>
                  <a:gd name="connsiteY8" fmla="*/ 371969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918" h="503512">
                    <a:moveTo>
                      <a:pt x="398078" y="371969"/>
                    </a:moveTo>
                    <a:lnTo>
                      <a:pt x="191078" y="45618"/>
                    </a:lnTo>
                    <a:cubicBezTo>
                      <a:pt x="179889" y="26970"/>
                      <a:pt x="155645" y="21375"/>
                      <a:pt x="136997" y="34429"/>
                    </a:cubicBezTo>
                    <a:lnTo>
                      <a:pt x="45618" y="92240"/>
                    </a:lnTo>
                    <a:cubicBezTo>
                      <a:pt x="26970" y="103429"/>
                      <a:pt x="21375" y="127672"/>
                      <a:pt x="34429" y="146321"/>
                    </a:cubicBezTo>
                    <a:lnTo>
                      <a:pt x="241429" y="472672"/>
                    </a:lnTo>
                    <a:cubicBezTo>
                      <a:pt x="252618" y="491321"/>
                      <a:pt x="276861" y="496915"/>
                      <a:pt x="295510" y="483861"/>
                    </a:cubicBezTo>
                    <a:lnTo>
                      <a:pt x="386888" y="426050"/>
                    </a:lnTo>
                    <a:cubicBezTo>
                      <a:pt x="403672" y="414861"/>
                      <a:pt x="409267" y="390618"/>
                      <a:pt x="398078" y="371969"/>
                    </a:cubicBez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FC32CE09-94AE-4227-94A4-653A2C62340A}"/>
                  </a:ext>
                </a:extLst>
              </p:cNvPr>
              <p:cNvSpPr/>
              <p:nvPr/>
            </p:nvSpPr>
            <p:spPr>
              <a:xfrm>
                <a:off x="3033704" y="5614653"/>
                <a:ext cx="95490" cy="116753"/>
              </a:xfrm>
              <a:custGeom>
                <a:avLst/>
                <a:gdLst>
                  <a:gd name="connsiteX0" fmla="*/ 204632 w 242432"/>
                  <a:gd name="connsiteY0" fmla="*/ 118693 h 298378"/>
                  <a:gd name="connsiteX1" fmla="*/ 219551 w 242432"/>
                  <a:gd name="connsiteY1" fmla="*/ 96315 h 298378"/>
                  <a:gd name="connsiteX2" fmla="*/ 227011 w 242432"/>
                  <a:gd name="connsiteY2" fmla="*/ 62747 h 298378"/>
                  <a:gd name="connsiteX3" fmla="*/ 208362 w 242432"/>
                  <a:gd name="connsiteY3" fmla="*/ 34774 h 298378"/>
                  <a:gd name="connsiteX4" fmla="*/ 184119 w 242432"/>
                  <a:gd name="connsiteY4" fmla="*/ 27315 h 298378"/>
                  <a:gd name="connsiteX5" fmla="*/ 146821 w 242432"/>
                  <a:gd name="connsiteY5" fmla="*/ 45963 h 298378"/>
                  <a:gd name="connsiteX6" fmla="*/ 102065 w 242432"/>
                  <a:gd name="connsiteY6" fmla="*/ 111234 h 298378"/>
                  <a:gd name="connsiteX7" fmla="*/ 100200 w 242432"/>
                  <a:gd name="connsiteY7" fmla="*/ 113098 h 298378"/>
                  <a:gd name="connsiteX8" fmla="*/ 47984 w 242432"/>
                  <a:gd name="connsiteY8" fmla="*/ 189558 h 298378"/>
                  <a:gd name="connsiteX9" fmla="*/ 46119 w 242432"/>
                  <a:gd name="connsiteY9" fmla="*/ 193288 h 298378"/>
                  <a:gd name="connsiteX10" fmla="*/ 34930 w 242432"/>
                  <a:gd name="connsiteY10" fmla="*/ 210071 h 298378"/>
                  <a:gd name="connsiteX11" fmla="*/ 46119 w 242432"/>
                  <a:gd name="connsiteY11" fmla="*/ 271612 h 298378"/>
                  <a:gd name="connsiteX12" fmla="*/ 79686 w 242432"/>
                  <a:gd name="connsiteY12" fmla="*/ 279071 h 298378"/>
                  <a:gd name="connsiteX13" fmla="*/ 107659 w 242432"/>
                  <a:gd name="connsiteY13" fmla="*/ 260423 h 298378"/>
                  <a:gd name="connsiteX14" fmla="*/ 115119 w 242432"/>
                  <a:gd name="connsiteY14" fmla="*/ 249233 h 298378"/>
                  <a:gd name="connsiteX15" fmla="*/ 118848 w 242432"/>
                  <a:gd name="connsiteY15" fmla="*/ 241774 h 298378"/>
                  <a:gd name="connsiteX16" fmla="*/ 204632 w 242432"/>
                  <a:gd name="connsiteY16" fmla="*/ 118693 h 298378"/>
                  <a:gd name="connsiteX17" fmla="*/ 204632 w 242432"/>
                  <a:gd name="connsiteY17" fmla="*/ 118693 h 2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432" h="298378">
                    <a:moveTo>
                      <a:pt x="204632" y="118693"/>
                    </a:moveTo>
                    <a:lnTo>
                      <a:pt x="219551" y="96315"/>
                    </a:lnTo>
                    <a:cubicBezTo>
                      <a:pt x="227011" y="86990"/>
                      <a:pt x="228875" y="73936"/>
                      <a:pt x="227011" y="62747"/>
                    </a:cubicBezTo>
                    <a:cubicBezTo>
                      <a:pt x="225146" y="51558"/>
                      <a:pt x="217686" y="40369"/>
                      <a:pt x="208362" y="34774"/>
                    </a:cubicBezTo>
                    <a:cubicBezTo>
                      <a:pt x="200903" y="29180"/>
                      <a:pt x="193443" y="27315"/>
                      <a:pt x="184119" y="27315"/>
                    </a:cubicBezTo>
                    <a:cubicBezTo>
                      <a:pt x="169200" y="27315"/>
                      <a:pt x="156146" y="34774"/>
                      <a:pt x="146821" y="45963"/>
                    </a:cubicBezTo>
                    <a:lnTo>
                      <a:pt x="102065" y="111234"/>
                    </a:lnTo>
                    <a:cubicBezTo>
                      <a:pt x="102065" y="111234"/>
                      <a:pt x="102065" y="113098"/>
                      <a:pt x="100200" y="113098"/>
                    </a:cubicBezTo>
                    <a:cubicBezTo>
                      <a:pt x="83416" y="137342"/>
                      <a:pt x="64767" y="165315"/>
                      <a:pt x="47984" y="189558"/>
                    </a:cubicBezTo>
                    <a:cubicBezTo>
                      <a:pt x="47984" y="191423"/>
                      <a:pt x="46119" y="191423"/>
                      <a:pt x="46119" y="193288"/>
                    </a:cubicBezTo>
                    <a:lnTo>
                      <a:pt x="34930" y="210071"/>
                    </a:lnTo>
                    <a:cubicBezTo>
                      <a:pt x="21876" y="230585"/>
                      <a:pt x="25605" y="256693"/>
                      <a:pt x="46119" y="271612"/>
                    </a:cubicBezTo>
                    <a:cubicBezTo>
                      <a:pt x="55443" y="279071"/>
                      <a:pt x="68497" y="280936"/>
                      <a:pt x="79686" y="279071"/>
                    </a:cubicBezTo>
                    <a:cubicBezTo>
                      <a:pt x="90876" y="277206"/>
                      <a:pt x="102065" y="269747"/>
                      <a:pt x="107659" y="260423"/>
                    </a:cubicBezTo>
                    <a:lnTo>
                      <a:pt x="115119" y="249233"/>
                    </a:lnTo>
                    <a:cubicBezTo>
                      <a:pt x="116984" y="247369"/>
                      <a:pt x="116984" y="243639"/>
                      <a:pt x="118848" y="241774"/>
                    </a:cubicBezTo>
                    <a:lnTo>
                      <a:pt x="204632" y="118693"/>
                    </a:lnTo>
                    <a:cubicBezTo>
                      <a:pt x="202767" y="120558"/>
                      <a:pt x="202767" y="120558"/>
                      <a:pt x="204632" y="118693"/>
                    </a:cubicBez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5EC43CD6-E53B-417C-8B87-739F254D6974}"/>
                  </a:ext>
                </a:extLst>
              </p:cNvPr>
              <p:cNvSpPr/>
              <p:nvPr/>
            </p:nvSpPr>
            <p:spPr>
              <a:xfrm>
                <a:off x="3087111" y="5436327"/>
                <a:ext cx="367268" cy="189722"/>
              </a:xfrm>
              <a:custGeom>
                <a:avLst/>
                <a:gdLst>
                  <a:gd name="connsiteX0" fmla="*/ 734797 w 932431"/>
                  <a:gd name="connsiteY0" fmla="*/ 56000 h 484864"/>
                  <a:gd name="connsiteX1" fmla="*/ 703095 w 932431"/>
                  <a:gd name="connsiteY1" fmla="*/ 44811 h 484864"/>
                  <a:gd name="connsiteX2" fmla="*/ 667662 w 932431"/>
                  <a:gd name="connsiteY2" fmla="*/ 59730 h 484864"/>
                  <a:gd name="connsiteX3" fmla="*/ 628500 w 932431"/>
                  <a:gd name="connsiteY3" fmla="*/ 63460 h 484864"/>
                  <a:gd name="connsiteX4" fmla="*/ 509149 w 932431"/>
                  <a:gd name="connsiteY4" fmla="*/ 37352 h 484864"/>
                  <a:gd name="connsiteX5" fmla="*/ 317068 w 932431"/>
                  <a:gd name="connsiteY5" fmla="*/ 35487 h 484864"/>
                  <a:gd name="connsiteX6" fmla="*/ 203311 w 932431"/>
                  <a:gd name="connsiteY6" fmla="*/ 56000 h 484864"/>
                  <a:gd name="connsiteX7" fmla="*/ 130582 w 932431"/>
                  <a:gd name="connsiteY7" fmla="*/ 100757 h 484864"/>
                  <a:gd name="connsiteX8" fmla="*/ 33609 w 932431"/>
                  <a:gd name="connsiteY8" fmla="*/ 225703 h 484864"/>
                  <a:gd name="connsiteX9" fmla="*/ 28014 w 932431"/>
                  <a:gd name="connsiteY9" fmla="*/ 248081 h 484864"/>
                  <a:gd name="connsiteX10" fmla="*/ 39203 w 932431"/>
                  <a:gd name="connsiteY10" fmla="*/ 268595 h 484864"/>
                  <a:gd name="connsiteX11" fmla="*/ 70906 w 932431"/>
                  <a:gd name="connsiteY11" fmla="*/ 270460 h 484864"/>
                  <a:gd name="connsiteX12" fmla="*/ 276041 w 932431"/>
                  <a:gd name="connsiteY12" fmla="*/ 164163 h 484864"/>
                  <a:gd name="connsiteX13" fmla="*/ 343176 w 932431"/>
                  <a:gd name="connsiteY13" fmla="*/ 167892 h 484864"/>
                  <a:gd name="connsiteX14" fmla="*/ 783284 w 932431"/>
                  <a:gd name="connsiteY14" fmla="*/ 453216 h 484864"/>
                  <a:gd name="connsiteX15" fmla="*/ 796338 w 932431"/>
                  <a:gd name="connsiteY15" fmla="*/ 464405 h 484864"/>
                  <a:gd name="connsiteX16" fmla="*/ 900770 w 932431"/>
                  <a:gd name="connsiteY16" fmla="*/ 365568 h 484864"/>
                  <a:gd name="connsiteX17" fmla="*/ 904500 w 932431"/>
                  <a:gd name="connsiteY17" fmla="*/ 332000 h 484864"/>
                  <a:gd name="connsiteX18" fmla="*/ 734797 w 932431"/>
                  <a:gd name="connsiteY18" fmla="*/ 56000 h 48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431" h="484864">
                    <a:moveTo>
                      <a:pt x="734797" y="56000"/>
                    </a:moveTo>
                    <a:cubicBezTo>
                      <a:pt x="727338" y="44811"/>
                      <a:pt x="714284" y="41082"/>
                      <a:pt x="703095" y="44811"/>
                    </a:cubicBezTo>
                    <a:lnTo>
                      <a:pt x="667662" y="59730"/>
                    </a:lnTo>
                    <a:cubicBezTo>
                      <a:pt x="654608" y="65325"/>
                      <a:pt x="641554" y="65325"/>
                      <a:pt x="628500" y="63460"/>
                    </a:cubicBezTo>
                    <a:lnTo>
                      <a:pt x="509149" y="37352"/>
                    </a:lnTo>
                    <a:cubicBezTo>
                      <a:pt x="445743" y="24298"/>
                      <a:pt x="380473" y="24298"/>
                      <a:pt x="317068" y="35487"/>
                    </a:cubicBezTo>
                    <a:lnTo>
                      <a:pt x="203311" y="56000"/>
                    </a:lnTo>
                    <a:cubicBezTo>
                      <a:pt x="175338" y="61595"/>
                      <a:pt x="149230" y="76514"/>
                      <a:pt x="130582" y="100757"/>
                    </a:cubicBezTo>
                    <a:lnTo>
                      <a:pt x="33609" y="225703"/>
                    </a:lnTo>
                    <a:cubicBezTo>
                      <a:pt x="28014" y="231298"/>
                      <a:pt x="26149" y="240622"/>
                      <a:pt x="28014" y="248081"/>
                    </a:cubicBezTo>
                    <a:cubicBezTo>
                      <a:pt x="29879" y="255541"/>
                      <a:pt x="33609" y="263000"/>
                      <a:pt x="39203" y="268595"/>
                    </a:cubicBezTo>
                    <a:cubicBezTo>
                      <a:pt x="48528" y="276054"/>
                      <a:pt x="61582" y="276054"/>
                      <a:pt x="70906" y="270460"/>
                    </a:cubicBezTo>
                    <a:lnTo>
                      <a:pt x="276041" y="164163"/>
                    </a:lnTo>
                    <a:cubicBezTo>
                      <a:pt x="296554" y="152973"/>
                      <a:pt x="322663" y="154838"/>
                      <a:pt x="343176" y="167892"/>
                    </a:cubicBezTo>
                    <a:lnTo>
                      <a:pt x="783284" y="453216"/>
                    </a:lnTo>
                    <a:cubicBezTo>
                      <a:pt x="788878" y="456946"/>
                      <a:pt x="792608" y="460676"/>
                      <a:pt x="796338" y="464405"/>
                    </a:cubicBezTo>
                    <a:lnTo>
                      <a:pt x="900770" y="365568"/>
                    </a:lnTo>
                    <a:cubicBezTo>
                      <a:pt x="910095" y="356243"/>
                      <a:pt x="911959" y="343189"/>
                      <a:pt x="904500" y="332000"/>
                    </a:cubicBezTo>
                    <a:lnTo>
                      <a:pt x="734797" y="56000"/>
                    </a:ln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14A54F06-A75E-498C-86EF-BA7B30D8CE3C}"/>
                  </a:ext>
                </a:extLst>
              </p:cNvPr>
              <p:cNvSpPr/>
              <p:nvPr/>
            </p:nvSpPr>
            <p:spPr>
              <a:xfrm>
                <a:off x="3125834" y="5697112"/>
                <a:ext cx="66107" cy="65672"/>
              </a:xfrm>
              <a:custGeom>
                <a:avLst/>
                <a:gdLst>
                  <a:gd name="connsiteX0" fmla="*/ 127377 w 167837"/>
                  <a:gd name="connsiteY0" fmla="*/ 34774 h 167837"/>
                  <a:gd name="connsiteX1" fmla="*/ 104999 w 167837"/>
                  <a:gd name="connsiteY1" fmla="*/ 27315 h 167837"/>
                  <a:gd name="connsiteX2" fmla="*/ 99405 w 167837"/>
                  <a:gd name="connsiteY2" fmla="*/ 27315 h 167837"/>
                  <a:gd name="connsiteX3" fmla="*/ 77026 w 167837"/>
                  <a:gd name="connsiteY3" fmla="*/ 40369 h 167837"/>
                  <a:gd name="connsiteX4" fmla="*/ 30405 w 167837"/>
                  <a:gd name="connsiteY4" fmla="*/ 107504 h 167837"/>
                  <a:gd name="connsiteX5" fmla="*/ 28540 w 167837"/>
                  <a:gd name="connsiteY5" fmla="*/ 131747 h 167837"/>
                  <a:gd name="connsiteX6" fmla="*/ 49053 w 167837"/>
                  <a:gd name="connsiteY6" fmla="*/ 154125 h 167837"/>
                  <a:gd name="connsiteX7" fmla="*/ 91945 w 167837"/>
                  <a:gd name="connsiteY7" fmla="*/ 141071 h 167837"/>
                  <a:gd name="connsiteX8" fmla="*/ 132972 w 167837"/>
                  <a:gd name="connsiteY8" fmla="*/ 81396 h 167837"/>
                  <a:gd name="connsiteX9" fmla="*/ 127377 w 167837"/>
                  <a:gd name="connsiteY9" fmla="*/ 34774 h 16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37" h="167837">
                    <a:moveTo>
                      <a:pt x="127377" y="34774"/>
                    </a:moveTo>
                    <a:cubicBezTo>
                      <a:pt x="119918" y="29180"/>
                      <a:pt x="112459" y="27315"/>
                      <a:pt x="104999" y="27315"/>
                    </a:cubicBezTo>
                    <a:cubicBezTo>
                      <a:pt x="103134" y="27315"/>
                      <a:pt x="101269" y="27315"/>
                      <a:pt x="99405" y="27315"/>
                    </a:cubicBezTo>
                    <a:cubicBezTo>
                      <a:pt x="90080" y="29180"/>
                      <a:pt x="82621" y="32909"/>
                      <a:pt x="77026" y="40369"/>
                    </a:cubicBezTo>
                    <a:lnTo>
                      <a:pt x="30405" y="107504"/>
                    </a:lnTo>
                    <a:cubicBezTo>
                      <a:pt x="26675" y="114963"/>
                      <a:pt x="26675" y="124288"/>
                      <a:pt x="28540" y="131747"/>
                    </a:cubicBezTo>
                    <a:cubicBezTo>
                      <a:pt x="32269" y="142936"/>
                      <a:pt x="39729" y="150396"/>
                      <a:pt x="49053" y="154125"/>
                    </a:cubicBezTo>
                    <a:cubicBezTo>
                      <a:pt x="63972" y="159720"/>
                      <a:pt x="82621" y="155990"/>
                      <a:pt x="91945" y="141071"/>
                    </a:cubicBezTo>
                    <a:lnTo>
                      <a:pt x="132972" y="81396"/>
                    </a:lnTo>
                    <a:cubicBezTo>
                      <a:pt x="146026" y="68342"/>
                      <a:pt x="142296" y="45963"/>
                      <a:pt x="127377" y="34774"/>
                    </a:cubicBez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A10BCA52-9FFD-4711-B6CA-A0765C56CCDC}"/>
                  </a:ext>
                </a:extLst>
              </p:cNvPr>
              <p:cNvSpPr/>
              <p:nvPr/>
            </p:nvSpPr>
            <p:spPr>
              <a:xfrm>
                <a:off x="3078505" y="5651869"/>
                <a:ext cx="88145" cy="102158"/>
              </a:xfrm>
              <a:custGeom>
                <a:avLst/>
                <a:gdLst>
                  <a:gd name="connsiteX0" fmla="*/ 167348 w 223783"/>
                  <a:gd name="connsiteY0" fmla="*/ 133612 h 261080"/>
                  <a:gd name="connsiteX1" fmla="*/ 193456 w 223783"/>
                  <a:gd name="connsiteY1" fmla="*/ 96315 h 261080"/>
                  <a:gd name="connsiteX2" fmla="*/ 184131 w 223783"/>
                  <a:gd name="connsiteY2" fmla="*/ 36639 h 261080"/>
                  <a:gd name="connsiteX3" fmla="*/ 156159 w 223783"/>
                  <a:gd name="connsiteY3" fmla="*/ 27315 h 261080"/>
                  <a:gd name="connsiteX4" fmla="*/ 150564 w 223783"/>
                  <a:gd name="connsiteY4" fmla="*/ 27315 h 261080"/>
                  <a:gd name="connsiteX5" fmla="*/ 120726 w 223783"/>
                  <a:gd name="connsiteY5" fmla="*/ 44098 h 261080"/>
                  <a:gd name="connsiteX6" fmla="*/ 31213 w 223783"/>
                  <a:gd name="connsiteY6" fmla="*/ 174639 h 261080"/>
                  <a:gd name="connsiteX7" fmla="*/ 29348 w 223783"/>
                  <a:gd name="connsiteY7" fmla="*/ 202612 h 261080"/>
                  <a:gd name="connsiteX8" fmla="*/ 51726 w 223783"/>
                  <a:gd name="connsiteY8" fmla="*/ 230585 h 261080"/>
                  <a:gd name="connsiteX9" fmla="*/ 109537 w 223783"/>
                  <a:gd name="connsiteY9" fmla="*/ 217531 h 261080"/>
                  <a:gd name="connsiteX10" fmla="*/ 122591 w 223783"/>
                  <a:gd name="connsiteY10" fmla="*/ 198882 h 261080"/>
                  <a:gd name="connsiteX11" fmla="*/ 126321 w 223783"/>
                  <a:gd name="connsiteY11" fmla="*/ 193288 h 261080"/>
                  <a:gd name="connsiteX12" fmla="*/ 167348 w 223783"/>
                  <a:gd name="connsiteY12" fmla="*/ 133612 h 261080"/>
                  <a:gd name="connsiteX13" fmla="*/ 167348 w 223783"/>
                  <a:gd name="connsiteY13" fmla="*/ 133612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783" h="261080">
                    <a:moveTo>
                      <a:pt x="167348" y="133612"/>
                    </a:moveTo>
                    <a:lnTo>
                      <a:pt x="193456" y="96315"/>
                    </a:lnTo>
                    <a:cubicBezTo>
                      <a:pt x="206510" y="77666"/>
                      <a:pt x="202780" y="51558"/>
                      <a:pt x="184131" y="36639"/>
                    </a:cubicBezTo>
                    <a:cubicBezTo>
                      <a:pt x="176672" y="31044"/>
                      <a:pt x="167348" y="27315"/>
                      <a:pt x="156159" y="27315"/>
                    </a:cubicBezTo>
                    <a:cubicBezTo>
                      <a:pt x="154294" y="27315"/>
                      <a:pt x="152429" y="27315"/>
                      <a:pt x="150564" y="27315"/>
                    </a:cubicBezTo>
                    <a:cubicBezTo>
                      <a:pt x="139375" y="29180"/>
                      <a:pt x="128186" y="34774"/>
                      <a:pt x="120726" y="44098"/>
                    </a:cubicBezTo>
                    <a:lnTo>
                      <a:pt x="31213" y="174639"/>
                    </a:lnTo>
                    <a:cubicBezTo>
                      <a:pt x="27483" y="183963"/>
                      <a:pt x="25618" y="193288"/>
                      <a:pt x="29348" y="202612"/>
                    </a:cubicBezTo>
                    <a:cubicBezTo>
                      <a:pt x="33078" y="215666"/>
                      <a:pt x="40537" y="224990"/>
                      <a:pt x="51726" y="230585"/>
                    </a:cubicBezTo>
                    <a:cubicBezTo>
                      <a:pt x="72240" y="241774"/>
                      <a:pt x="96483" y="236179"/>
                      <a:pt x="109537" y="217531"/>
                    </a:cubicBezTo>
                    <a:lnTo>
                      <a:pt x="122591" y="198882"/>
                    </a:lnTo>
                    <a:cubicBezTo>
                      <a:pt x="124456" y="197017"/>
                      <a:pt x="124456" y="195152"/>
                      <a:pt x="126321" y="193288"/>
                    </a:cubicBezTo>
                    <a:lnTo>
                      <a:pt x="167348" y="133612"/>
                    </a:lnTo>
                    <a:cubicBezTo>
                      <a:pt x="165483" y="135477"/>
                      <a:pt x="167348" y="135477"/>
                      <a:pt x="167348" y="133612"/>
                    </a:cubicBez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377CCD89-D58A-4187-9BDB-6472B11A6DDD}"/>
                  </a:ext>
                </a:extLst>
              </p:cNvPr>
              <p:cNvSpPr/>
              <p:nvPr/>
            </p:nvSpPr>
            <p:spPr>
              <a:xfrm>
                <a:off x="2975714" y="5449897"/>
                <a:ext cx="433375" cy="313772"/>
              </a:xfrm>
              <a:custGeom>
                <a:avLst/>
                <a:gdLst>
                  <a:gd name="connsiteX0" fmla="*/ 1047453 w 1100269"/>
                  <a:gd name="connsiteY0" fmla="*/ 448377 h 801890"/>
                  <a:gd name="connsiteX1" fmla="*/ 607345 w 1100269"/>
                  <a:gd name="connsiteY1" fmla="*/ 163053 h 801890"/>
                  <a:gd name="connsiteX2" fmla="*/ 577508 w 1100269"/>
                  <a:gd name="connsiteY2" fmla="*/ 161188 h 801890"/>
                  <a:gd name="connsiteX3" fmla="*/ 376102 w 1100269"/>
                  <a:gd name="connsiteY3" fmla="*/ 267485 h 801890"/>
                  <a:gd name="connsiteX4" fmla="*/ 305237 w 1100269"/>
                  <a:gd name="connsiteY4" fmla="*/ 265620 h 801890"/>
                  <a:gd name="connsiteX5" fmla="*/ 275400 w 1100269"/>
                  <a:gd name="connsiteY5" fmla="*/ 205944 h 801890"/>
                  <a:gd name="connsiteX6" fmla="*/ 290319 w 1100269"/>
                  <a:gd name="connsiteY6" fmla="*/ 168647 h 801890"/>
                  <a:gd name="connsiteX7" fmla="*/ 372373 w 1100269"/>
                  <a:gd name="connsiteY7" fmla="*/ 62350 h 801890"/>
                  <a:gd name="connsiteX8" fmla="*/ 284724 w 1100269"/>
                  <a:gd name="connsiteY8" fmla="*/ 49296 h 801890"/>
                  <a:gd name="connsiteX9" fmla="*/ 264210 w 1100269"/>
                  <a:gd name="connsiteY9" fmla="*/ 41836 h 801890"/>
                  <a:gd name="connsiteX10" fmla="*/ 245562 w 1100269"/>
                  <a:gd name="connsiteY10" fmla="*/ 32512 h 801890"/>
                  <a:gd name="connsiteX11" fmla="*/ 180292 w 1100269"/>
                  <a:gd name="connsiteY11" fmla="*/ 49296 h 801890"/>
                  <a:gd name="connsiteX12" fmla="*/ 34832 w 1100269"/>
                  <a:gd name="connsiteY12" fmla="*/ 278674 h 801890"/>
                  <a:gd name="connsiteX13" fmla="*/ 36697 w 1100269"/>
                  <a:gd name="connsiteY13" fmla="*/ 334620 h 801890"/>
                  <a:gd name="connsiteX14" fmla="*/ 113157 w 1100269"/>
                  <a:gd name="connsiteY14" fmla="*/ 435323 h 801890"/>
                  <a:gd name="connsiteX15" fmla="*/ 122481 w 1100269"/>
                  <a:gd name="connsiteY15" fmla="*/ 435323 h 801890"/>
                  <a:gd name="connsiteX16" fmla="*/ 223183 w 1100269"/>
                  <a:gd name="connsiteY16" fmla="*/ 422268 h 801890"/>
                  <a:gd name="connsiteX17" fmla="*/ 251156 w 1100269"/>
                  <a:gd name="connsiteY17" fmla="*/ 450241 h 801890"/>
                  <a:gd name="connsiteX18" fmla="*/ 260481 w 1100269"/>
                  <a:gd name="connsiteY18" fmla="*/ 450241 h 801890"/>
                  <a:gd name="connsiteX19" fmla="*/ 260481 w 1100269"/>
                  <a:gd name="connsiteY19" fmla="*/ 450241 h 801890"/>
                  <a:gd name="connsiteX20" fmla="*/ 366778 w 1100269"/>
                  <a:gd name="connsiteY20" fmla="*/ 420404 h 801890"/>
                  <a:gd name="connsiteX21" fmla="*/ 409670 w 1100269"/>
                  <a:gd name="connsiteY21" fmla="*/ 476349 h 801890"/>
                  <a:gd name="connsiteX22" fmla="*/ 411535 w 1100269"/>
                  <a:gd name="connsiteY22" fmla="*/ 500593 h 801890"/>
                  <a:gd name="connsiteX23" fmla="*/ 417129 w 1100269"/>
                  <a:gd name="connsiteY23" fmla="*/ 506187 h 801890"/>
                  <a:gd name="connsiteX24" fmla="*/ 469345 w 1100269"/>
                  <a:gd name="connsiteY24" fmla="*/ 524836 h 801890"/>
                  <a:gd name="connsiteX25" fmla="*/ 495454 w 1100269"/>
                  <a:gd name="connsiteY25" fmla="*/ 614349 h 801890"/>
                  <a:gd name="connsiteX26" fmla="*/ 499183 w 1100269"/>
                  <a:gd name="connsiteY26" fmla="*/ 621809 h 801890"/>
                  <a:gd name="connsiteX27" fmla="*/ 556994 w 1100269"/>
                  <a:gd name="connsiteY27" fmla="*/ 672160 h 801890"/>
                  <a:gd name="connsiteX28" fmla="*/ 545805 w 1100269"/>
                  <a:gd name="connsiteY28" fmla="*/ 737430 h 801890"/>
                  <a:gd name="connsiteX29" fmla="*/ 536481 w 1100269"/>
                  <a:gd name="connsiteY29" fmla="*/ 750484 h 801890"/>
                  <a:gd name="connsiteX30" fmla="*/ 540210 w 1100269"/>
                  <a:gd name="connsiteY30" fmla="*/ 759809 h 801890"/>
                  <a:gd name="connsiteX31" fmla="*/ 653967 w 1100269"/>
                  <a:gd name="connsiteY31" fmla="*/ 776592 h 801890"/>
                  <a:gd name="connsiteX32" fmla="*/ 726697 w 1100269"/>
                  <a:gd name="connsiteY32" fmla="*/ 767268 h 801890"/>
                  <a:gd name="connsiteX33" fmla="*/ 726697 w 1100269"/>
                  <a:gd name="connsiteY33" fmla="*/ 733701 h 801890"/>
                  <a:gd name="connsiteX34" fmla="*/ 624129 w 1100269"/>
                  <a:gd name="connsiteY34" fmla="*/ 681484 h 801890"/>
                  <a:gd name="connsiteX35" fmla="*/ 616670 w 1100269"/>
                  <a:gd name="connsiteY35" fmla="*/ 657241 h 801890"/>
                  <a:gd name="connsiteX36" fmla="*/ 640913 w 1100269"/>
                  <a:gd name="connsiteY36" fmla="*/ 649782 h 801890"/>
                  <a:gd name="connsiteX37" fmla="*/ 782643 w 1100269"/>
                  <a:gd name="connsiteY37" fmla="*/ 722511 h 801890"/>
                  <a:gd name="connsiteX38" fmla="*/ 853507 w 1100269"/>
                  <a:gd name="connsiteY38" fmla="*/ 703863 h 801890"/>
                  <a:gd name="connsiteX39" fmla="*/ 860967 w 1100269"/>
                  <a:gd name="connsiteY39" fmla="*/ 675890 h 801890"/>
                  <a:gd name="connsiteX40" fmla="*/ 844183 w 1100269"/>
                  <a:gd name="connsiteY40" fmla="*/ 653511 h 801890"/>
                  <a:gd name="connsiteX41" fmla="*/ 810615 w 1100269"/>
                  <a:gd name="connsiteY41" fmla="*/ 632998 h 801890"/>
                  <a:gd name="connsiteX42" fmla="*/ 676345 w 1100269"/>
                  <a:gd name="connsiteY42" fmla="*/ 560268 h 801890"/>
                  <a:gd name="connsiteX43" fmla="*/ 668886 w 1100269"/>
                  <a:gd name="connsiteY43" fmla="*/ 534160 h 801890"/>
                  <a:gd name="connsiteX44" fmla="*/ 694994 w 1100269"/>
                  <a:gd name="connsiteY44" fmla="*/ 526701 h 801890"/>
                  <a:gd name="connsiteX45" fmla="*/ 881480 w 1100269"/>
                  <a:gd name="connsiteY45" fmla="*/ 627403 h 801890"/>
                  <a:gd name="connsiteX46" fmla="*/ 959805 w 1100269"/>
                  <a:gd name="connsiteY46" fmla="*/ 606890 h 801890"/>
                  <a:gd name="connsiteX47" fmla="*/ 965399 w 1100269"/>
                  <a:gd name="connsiteY47" fmla="*/ 578917 h 801890"/>
                  <a:gd name="connsiteX48" fmla="*/ 948615 w 1100269"/>
                  <a:gd name="connsiteY48" fmla="*/ 554674 h 801890"/>
                  <a:gd name="connsiteX49" fmla="*/ 935561 w 1100269"/>
                  <a:gd name="connsiteY49" fmla="*/ 547214 h 801890"/>
                  <a:gd name="connsiteX50" fmla="*/ 736021 w 1100269"/>
                  <a:gd name="connsiteY50" fmla="*/ 427863 h 801890"/>
                  <a:gd name="connsiteX51" fmla="*/ 730426 w 1100269"/>
                  <a:gd name="connsiteY51" fmla="*/ 401755 h 801890"/>
                  <a:gd name="connsiteX52" fmla="*/ 756534 w 1100269"/>
                  <a:gd name="connsiteY52" fmla="*/ 396160 h 801890"/>
                  <a:gd name="connsiteX53" fmla="*/ 946751 w 1100269"/>
                  <a:gd name="connsiteY53" fmla="*/ 509917 h 801890"/>
                  <a:gd name="connsiteX54" fmla="*/ 946751 w 1100269"/>
                  <a:gd name="connsiteY54" fmla="*/ 509917 h 801890"/>
                  <a:gd name="connsiteX55" fmla="*/ 956075 w 1100269"/>
                  <a:gd name="connsiteY55" fmla="*/ 515512 h 801890"/>
                  <a:gd name="connsiteX56" fmla="*/ 991507 w 1100269"/>
                  <a:gd name="connsiteY56" fmla="*/ 536025 h 801890"/>
                  <a:gd name="connsiteX57" fmla="*/ 1066102 w 1100269"/>
                  <a:gd name="connsiteY57" fmla="*/ 519241 h 801890"/>
                  <a:gd name="connsiteX58" fmla="*/ 1071696 w 1100269"/>
                  <a:gd name="connsiteY58" fmla="*/ 481944 h 801890"/>
                  <a:gd name="connsiteX59" fmla="*/ 1047453 w 1100269"/>
                  <a:gd name="connsiteY59" fmla="*/ 448377 h 80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00269" h="801890">
                    <a:moveTo>
                      <a:pt x="1047453" y="448377"/>
                    </a:moveTo>
                    <a:lnTo>
                      <a:pt x="607345" y="163053"/>
                    </a:lnTo>
                    <a:cubicBezTo>
                      <a:pt x="598021" y="157458"/>
                      <a:pt x="586832" y="157458"/>
                      <a:pt x="577508" y="161188"/>
                    </a:cubicBezTo>
                    <a:lnTo>
                      <a:pt x="376102" y="267485"/>
                    </a:lnTo>
                    <a:cubicBezTo>
                      <a:pt x="353724" y="278674"/>
                      <a:pt x="325751" y="278674"/>
                      <a:pt x="305237" y="265620"/>
                    </a:cubicBezTo>
                    <a:cubicBezTo>
                      <a:pt x="284724" y="252566"/>
                      <a:pt x="273535" y="230188"/>
                      <a:pt x="275400" y="205944"/>
                    </a:cubicBezTo>
                    <a:cubicBezTo>
                      <a:pt x="275400" y="192890"/>
                      <a:pt x="282859" y="177971"/>
                      <a:pt x="290319" y="168647"/>
                    </a:cubicBezTo>
                    <a:lnTo>
                      <a:pt x="372373" y="62350"/>
                    </a:lnTo>
                    <a:lnTo>
                      <a:pt x="284724" y="49296"/>
                    </a:lnTo>
                    <a:cubicBezTo>
                      <a:pt x="277265" y="47431"/>
                      <a:pt x="271670" y="45566"/>
                      <a:pt x="264210" y="41836"/>
                    </a:cubicBezTo>
                    <a:lnTo>
                      <a:pt x="245562" y="32512"/>
                    </a:lnTo>
                    <a:cubicBezTo>
                      <a:pt x="223183" y="21323"/>
                      <a:pt x="195211" y="28782"/>
                      <a:pt x="180292" y="49296"/>
                    </a:cubicBezTo>
                    <a:lnTo>
                      <a:pt x="34832" y="278674"/>
                    </a:lnTo>
                    <a:cubicBezTo>
                      <a:pt x="23643" y="295458"/>
                      <a:pt x="25508" y="319701"/>
                      <a:pt x="36697" y="334620"/>
                    </a:cubicBezTo>
                    <a:lnTo>
                      <a:pt x="113157" y="435323"/>
                    </a:lnTo>
                    <a:cubicBezTo>
                      <a:pt x="115021" y="439052"/>
                      <a:pt x="118751" y="439052"/>
                      <a:pt x="122481" y="435323"/>
                    </a:cubicBezTo>
                    <a:cubicBezTo>
                      <a:pt x="148589" y="407350"/>
                      <a:pt x="189616" y="401755"/>
                      <a:pt x="223183" y="422268"/>
                    </a:cubicBezTo>
                    <a:cubicBezTo>
                      <a:pt x="234373" y="429728"/>
                      <a:pt x="243697" y="439052"/>
                      <a:pt x="251156" y="450241"/>
                    </a:cubicBezTo>
                    <a:cubicBezTo>
                      <a:pt x="253021" y="453971"/>
                      <a:pt x="258616" y="453971"/>
                      <a:pt x="260481" y="450241"/>
                    </a:cubicBezTo>
                    <a:lnTo>
                      <a:pt x="260481" y="450241"/>
                    </a:lnTo>
                    <a:cubicBezTo>
                      <a:pt x="284724" y="416674"/>
                      <a:pt x="329481" y="401755"/>
                      <a:pt x="366778" y="420404"/>
                    </a:cubicBezTo>
                    <a:cubicBezTo>
                      <a:pt x="389156" y="431593"/>
                      <a:pt x="404075" y="452106"/>
                      <a:pt x="409670" y="476349"/>
                    </a:cubicBezTo>
                    <a:cubicBezTo>
                      <a:pt x="411535" y="483809"/>
                      <a:pt x="411535" y="491268"/>
                      <a:pt x="411535" y="500593"/>
                    </a:cubicBezTo>
                    <a:cubicBezTo>
                      <a:pt x="411535" y="504322"/>
                      <a:pt x="413400" y="506187"/>
                      <a:pt x="417129" y="506187"/>
                    </a:cubicBezTo>
                    <a:cubicBezTo>
                      <a:pt x="435778" y="506187"/>
                      <a:pt x="454427" y="511782"/>
                      <a:pt x="469345" y="524836"/>
                    </a:cubicBezTo>
                    <a:cubicBezTo>
                      <a:pt x="495454" y="547214"/>
                      <a:pt x="506643" y="582647"/>
                      <a:pt x="495454" y="614349"/>
                    </a:cubicBezTo>
                    <a:cubicBezTo>
                      <a:pt x="493589" y="618079"/>
                      <a:pt x="495454" y="621809"/>
                      <a:pt x="499183" y="621809"/>
                    </a:cubicBezTo>
                    <a:cubicBezTo>
                      <a:pt x="525291" y="625539"/>
                      <a:pt x="547670" y="644187"/>
                      <a:pt x="556994" y="672160"/>
                    </a:cubicBezTo>
                    <a:cubicBezTo>
                      <a:pt x="564453" y="694538"/>
                      <a:pt x="558859" y="718782"/>
                      <a:pt x="545805" y="737430"/>
                    </a:cubicBezTo>
                    <a:lnTo>
                      <a:pt x="536481" y="750484"/>
                    </a:lnTo>
                    <a:cubicBezTo>
                      <a:pt x="534616" y="754214"/>
                      <a:pt x="536481" y="759809"/>
                      <a:pt x="540210" y="759809"/>
                    </a:cubicBezTo>
                    <a:lnTo>
                      <a:pt x="653967" y="776592"/>
                    </a:lnTo>
                    <a:cubicBezTo>
                      <a:pt x="678210" y="780322"/>
                      <a:pt x="704318" y="776592"/>
                      <a:pt x="726697" y="767268"/>
                    </a:cubicBezTo>
                    <a:cubicBezTo>
                      <a:pt x="741616" y="761674"/>
                      <a:pt x="741616" y="741160"/>
                      <a:pt x="726697" y="733701"/>
                    </a:cubicBezTo>
                    <a:lnTo>
                      <a:pt x="624129" y="681484"/>
                    </a:lnTo>
                    <a:cubicBezTo>
                      <a:pt x="614805" y="675890"/>
                      <a:pt x="611075" y="664701"/>
                      <a:pt x="616670" y="657241"/>
                    </a:cubicBezTo>
                    <a:cubicBezTo>
                      <a:pt x="622264" y="647917"/>
                      <a:pt x="633453" y="644187"/>
                      <a:pt x="640913" y="649782"/>
                    </a:cubicBezTo>
                    <a:lnTo>
                      <a:pt x="782643" y="722511"/>
                    </a:lnTo>
                    <a:cubicBezTo>
                      <a:pt x="808751" y="735565"/>
                      <a:pt x="838588" y="726241"/>
                      <a:pt x="853507" y="703863"/>
                    </a:cubicBezTo>
                    <a:cubicBezTo>
                      <a:pt x="860967" y="694538"/>
                      <a:pt x="862832" y="685214"/>
                      <a:pt x="860967" y="675890"/>
                    </a:cubicBezTo>
                    <a:cubicBezTo>
                      <a:pt x="859102" y="666566"/>
                      <a:pt x="853507" y="657241"/>
                      <a:pt x="844183" y="653511"/>
                    </a:cubicBezTo>
                    <a:lnTo>
                      <a:pt x="810615" y="632998"/>
                    </a:lnTo>
                    <a:lnTo>
                      <a:pt x="676345" y="560268"/>
                    </a:lnTo>
                    <a:cubicBezTo>
                      <a:pt x="667021" y="554674"/>
                      <a:pt x="663291" y="543485"/>
                      <a:pt x="668886" y="534160"/>
                    </a:cubicBezTo>
                    <a:cubicBezTo>
                      <a:pt x="674480" y="524836"/>
                      <a:pt x="685670" y="521106"/>
                      <a:pt x="694994" y="526701"/>
                    </a:cubicBezTo>
                    <a:lnTo>
                      <a:pt x="881480" y="627403"/>
                    </a:lnTo>
                    <a:cubicBezTo>
                      <a:pt x="909453" y="642322"/>
                      <a:pt x="943021" y="632998"/>
                      <a:pt x="959805" y="606890"/>
                    </a:cubicBezTo>
                    <a:cubicBezTo>
                      <a:pt x="965399" y="597566"/>
                      <a:pt x="967264" y="588241"/>
                      <a:pt x="965399" y="578917"/>
                    </a:cubicBezTo>
                    <a:cubicBezTo>
                      <a:pt x="963534" y="569593"/>
                      <a:pt x="957940" y="560268"/>
                      <a:pt x="948615" y="554674"/>
                    </a:cubicBezTo>
                    <a:lnTo>
                      <a:pt x="935561" y="547214"/>
                    </a:lnTo>
                    <a:lnTo>
                      <a:pt x="736021" y="427863"/>
                    </a:lnTo>
                    <a:cubicBezTo>
                      <a:pt x="726697" y="422268"/>
                      <a:pt x="724832" y="411079"/>
                      <a:pt x="730426" y="401755"/>
                    </a:cubicBezTo>
                    <a:cubicBezTo>
                      <a:pt x="736021" y="392431"/>
                      <a:pt x="747210" y="390566"/>
                      <a:pt x="756534" y="396160"/>
                    </a:cubicBezTo>
                    <a:lnTo>
                      <a:pt x="946751" y="509917"/>
                    </a:lnTo>
                    <a:cubicBezTo>
                      <a:pt x="946751" y="509917"/>
                      <a:pt x="946751" y="509917"/>
                      <a:pt x="946751" y="509917"/>
                    </a:cubicBezTo>
                    <a:lnTo>
                      <a:pt x="956075" y="515512"/>
                    </a:lnTo>
                    <a:lnTo>
                      <a:pt x="991507" y="536025"/>
                    </a:lnTo>
                    <a:cubicBezTo>
                      <a:pt x="1015750" y="550944"/>
                      <a:pt x="1051183" y="543485"/>
                      <a:pt x="1066102" y="519241"/>
                    </a:cubicBezTo>
                    <a:cubicBezTo>
                      <a:pt x="1073561" y="508052"/>
                      <a:pt x="1075426" y="494998"/>
                      <a:pt x="1071696" y="481944"/>
                    </a:cubicBezTo>
                    <a:cubicBezTo>
                      <a:pt x="1067967" y="468890"/>
                      <a:pt x="1060507" y="455836"/>
                      <a:pt x="1047453" y="448377"/>
                    </a:cubicBezTo>
                    <a:close/>
                  </a:path>
                </a:pathLst>
              </a:custGeom>
              <a:solidFill>
                <a:srgbClr val="75757A">
                  <a:lumMod val="75000"/>
                </a:srgbClr>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5BBE4CF2-F05C-4F01-805E-FCC928D4E356}"/>
                  </a:ext>
                </a:extLst>
              </p:cNvPr>
              <p:cNvSpPr/>
              <p:nvPr/>
            </p:nvSpPr>
            <p:spPr>
              <a:xfrm>
                <a:off x="2996979" y="5613924"/>
                <a:ext cx="73452" cy="80267"/>
              </a:xfrm>
              <a:custGeom>
                <a:avLst/>
                <a:gdLst>
                  <a:gd name="connsiteX0" fmla="*/ 169200 w 186486"/>
                  <a:gd name="connsiteY0" fmla="*/ 62747 h 205134"/>
                  <a:gd name="connsiteX1" fmla="*/ 148686 w 186486"/>
                  <a:gd name="connsiteY1" fmla="*/ 34774 h 205134"/>
                  <a:gd name="connsiteX2" fmla="*/ 124443 w 186486"/>
                  <a:gd name="connsiteY2" fmla="*/ 27315 h 205134"/>
                  <a:gd name="connsiteX3" fmla="*/ 89011 w 186486"/>
                  <a:gd name="connsiteY3" fmla="*/ 45963 h 205134"/>
                  <a:gd name="connsiteX4" fmla="*/ 34930 w 186486"/>
                  <a:gd name="connsiteY4" fmla="*/ 122423 h 205134"/>
                  <a:gd name="connsiteX5" fmla="*/ 46119 w 186486"/>
                  <a:gd name="connsiteY5" fmla="*/ 182098 h 205134"/>
                  <a:gd name="connsiteX6" fmla="*/ 47984 w 186486"/>
                  <a:gd name="connsiteY6" fmla="*/ 183963 h 205134"/>
                  <a:gd name="connsiteX7" fmla="*/ 79686 w 186486"/>
                  <a:gd name="connsiteY7" fmla="*/ 191423 h 205134"/>
                  <a:gd name="connsiteX8" fmla="*/ 105794 w 186486"/>
                  <a:gd name="connsiteY8" fmla="*/ 176504 h 205134"/>
                  <a:gd name="connsiteX9" fmla="*/ 161740 w 186486"/>
                  <a:gd name="connsiteY9" fmla="*/ 94450 h 205134"/>
                  <a:gd name="connsiteX10" fmla="*/ 169200 w 186486"/>
                  <a:gd name="connsiteY10" fmla="*/ 62747 h 20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86" h="205134">
                    <a:moveTo>
                      <a:pt x="169200" y="62747"/>
                    </a:moveTo>
                    <a:cubicBezTo>
                      <a:pt x="167335" y="51558"/>
                      <a:pt x="159875" y="40369"/>
                      <a:pt x="148686" y="34774"/>
                    </a:cubicBezTo>
                    <a:cubicBezTo>
                      <a:pt x="141227" y="31044"/>
                      <a:pt x="133767" y="27315"/>
                      <a:pt x="124443" y="27315"/>
                    </a:cubicBezTo>
                    <a:cubicBezTo>
                      <a:pt x="111389" y="27315"/>
                      <a:pt x="98335" y="32909"/>
                      <a:pt x="89011" y="45963"/>
                    </a:cubicBezTo>
                    <a:lnTo>
                      <a:pt x="34930" y="122423"/>
                    </a:lnTo>
                    <a:cubicBezTo>
                      <a:pt x="21876" y="141071"/>
                      <a:pt x="25605" y="169044"/>
                      <a:pt x="46119" y="182098"/>
                    </a:cubicBezTo>
                    <a:lnTo>
                      <a:pt x="47984" y="183963"/>
                    </a:lnTo>
                    <a:cubicBezTo>
                      <a:pt x="57308" y="191423"/>
                      <a:pt x="68497" y="193288"/>
                      <a:pt x="79686" y="191423"/>
                    </a:cubicBezTo>
                    <a:cubicBezTo>
                      <a:pt x="89011" y="189558"/>
                      <a:pt x="98335" y="183963"/>
                      <a:pt x="105794" y="176504"/>
                    </a:cubicBezTo>
                    <a:lnTo>
                      <a:pt x="161740" y="94450"/>
                    </a:lnTo>
                    <a:cubicBezTo>
                      <a:pt x="169200" y="83261"/>
                      <a:pt x="171065" y="73936"/>
                      <a:pt x="169200" y="62747"/>
                    </a:cubicBezTo>
                    <a:close/>
                  </a:path>
                </a:pathLst>
              </a:custGeom>
              <a:solidFill>
                <a:srgbClr val="008272"/>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D1C8D1E8-6D9C-4DD9-93CF-6E81ECA91306}"/>
                  </a:ext>
                </a:extLst>
              </p:cNvPr>
              <p:cNvSpPr/>
              <p:nvPr/>
            </p:nvSpPr>
            <p:spPr>
              <a:xfrm>
                <a:off x="2891208" y="5384741"/>
                <a:ext cx="161598" cy="197019"/>
              </a:xfrm>
              <a:custGeom>
                <a:avLst/>
                <a:gdLst>
                  <a:gd name="connsiteX0" fmla="*/ 383650 w 410269"/>
                  <a:gd name="connsiteY0" fmla="*/ 89002 h 503512"/>
                  <a:gd name="connsiteX1" fmla="*/ 294137 w 410269"/>
                  <a:gd name="connsiteY1" fmla="*/ 33056 h 503512"/>
                  <a:gd name="connsiteX2" fmla="*/ 240056 w 410269"/>
                  <a:gd name="connsiteY2" fmla="*/ 46110 h 503512"/>
                  <a:gd name="connsiteX3" fmla="*/ 33056 w 410269"/>
                  <a:gd name="connsiteY3" fmla="*/ 372461 h 503512"/>
                  <a:gd name="connsiteX4" fmla="*/ 46110 w 410269"/>
                  <a:gd name="connsiteY4" fmla="*/ 426542 h 503512"/>
                  <a:gd name="connsiteX5" fmla="*/ 135623 w 410269"/>
                  <a:gd name="connsiteY5" fmla="*/ 482488 h 503512"/>
                  <a:gd name="connsiteX6" fmla="*/ 189704 w 410269"/>
                  <a:gd name="connsiteY6" fmla="*/ 469434 h 503512"/>
                  <a:gd name="connsiteX7" fmla="*/ 394839 w 410269"/>
                  <a:gd name="connsiteY7" fmla="*/ 143083 h 503512"/>
                  <a:gd name="connsiteX8" fmla="*/ 383650 w 410269"/>
                  <a:gd name="connsiteY8" fmla="*/ 89002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269" h="503512">
                    <a:moveTo>
                      <a:pt x="383650" y="89002"/>
                    </a:moveTo>
                    <a:lnTo>
                      <a:pt x="294137" y="33056"/>
                    </a:lnTo>
                    <a:cubicBezTo>
                      <a:pt x="275488" y="21867"/>
                      <a:pt x="251245" y="27461"/>
                      <a:pt x="240056" y="46110"/>
                    </a:cubicBezTo>
                    <a:lnTo>
                      <a:pt x="33056" y="372461"/>
                    </a:lnTo>
                    <a:cubicBezTo>
                      <a:pt x="21867" y="391109"/>
                      <a:pt x="27461" y="415353"/>
                      <a:pt x="46110" y="426542"/>
                    </a:cubicBezTo>
                    <a:lnTo>
                      <a:pt x="135623" y="482488"/>
                    </a:lnTo>
                    <a:cubicBezTo>
                      <a:pt x="154272" y="493677"/>
                      <a:pt x="178515" y="488082"/>
                      <a:pt x="189704" y="469434"/>
                    </a:cubicBezTo>
                    <a:lnTo>
                      <a:pt x="394839" y="143083"/>
                    </a:lnTo>
                    <a:cubicBezTo>
                      <a:pt x="406029" y="124434"/>
                      <a:pt x="400434" y="100191"/>
                      <a:pt x="383650" y="89002"/>
                    </a:cubicBezTo>
                    <a:close/>
                  </a:path>
                </a:pathLst>
              </a:custGeom>
              <a:solidFill>
                <a:srgbClr val="75757A">
                  <a:lumMod val="75000"/>
                </a:srgbClr>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41" name="!!ACCOUNT">
            <a:extLst>
              <a:ext uri="{FF2B5EF4-FFF2-40B4-BE49-F238E27FC236}">
                <a16:creationId xmlns:a16="http://schemas.microsoft.com/office/drawing/2014/main" id="{EECDC82D-BB06-4F43-84BE-0F6972D7A03E}"/>
              </a:ext>
            </a:extLst>
          </p:cNvPr>
          <p:cNvGrpSpPr/>
          <p:nvPr/>
        </p:nvGrpSpPr>
        <p:grpSpPr>
          <a:xfrm>
            <a:off x="5415444" y="1566253"/>
            <a:ext cx="1397000" cy="1397000"/>
            <a:chOff x="5344050" y="7017114"/>
            <a:chExt cx="1397000" cy="1397000"/>
          </a:xfrm>
        </p:grpSpPr>
        <p:grpSp>
          <p:nvGrpSpPr>
            <p:cNvPr id="242" name="Group 241">
              <a:extLst>
                <a:ext uri="{FF2B5EF4-FFF2-40B4-BE49-F238E27FC236}">
                  <a16:creationId xmlns:a16="http://schemas.microsoft.com/office/drawing/2014/main" id="{A88F5842-3FAB-42A0-9730-010D0D27FC08}"/>
                </a:ext>
              </a:extLst>
            </p:cNvPr>
            <p:cNvGrpSpPr/>
            <p:nvPr/>
          </p:nvGrpSpPr>
          <p:grpSpPr>
            <a:xfrm>
              <a:off x="5344050" y="7017114"/>
              <a:ext cx="1397000" cy="1397000"/>
              <a:chOff x="3955069" y="1562274"/>
              <a:chExt cx="1397000" cy="1397000"/>
            </a:xfrm>
          </p:grpSpPr>
          <p:sp>
            <p:nvSpPr>
              <p:cNvPr id="251" name="Oval 250">
                <a:extLst>
                  <a:ext uri="{FF2B5EF4-FFF2-40B4-BE49-F238E27FC236}">
                    <a16:creationId xmlns:a16="http://schemas.microsoft.com/office/drawing/2014/main" id="{8538FD16-72F9-4E3F-8864-AD1603F32FFC}"/>
                  </a:ext>
                </a:extLst>
              </p:cNvPr>
              <p:cNvSpPr/>
              <p:nvPr/>
            </p:nvSpPr>
            <p:spPr bwMode="auto">
              <a:xfrm>
                <a:off x="3955069" y="1562274"/>
                <a:ext cx="1397000" cy="1397000"/>
              </a:xfrm>
              <a:prstGeom prst="ellipse">
                <a:avLst/>
              </a:prstGeom>
              <a:solidFill>
                <a:sysClr val="window" lastClr="FFFFFF"/>
              </a:solidFill>
              <a:ln w="9525" cap="flat" cmpd="sng" algn="ctr">
                <a:solidFill>
                  <a:sysClr val="window" lastClr="FFFFFF">
                    <a:lumMod val="75000"/>
                  </a:sysClr>
                </a:solid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nvGrpSpPr>
              <p:cNvPr id="252" name="Group 251">
                <a:extLst>
                  <a:ext uri="{FF2B5EF4-FFF2-40B4-BE49-F238E27FC236}">
                    <a16:creationId xmlns:a16="http://schemas.microsoft.com/office/drawing/2014/main" id="{32E72E5F-0E2A-40A8-94B8-6767A3EBFE8D}"/>
                  </a:ext>
                </a:extLst>
              </p:cNvPr>
              <p:cNvGrpSpPr/>
              <p:nvPr/>
            </p:nvGrpSpPr>
            <p:grpSpPr>
              <a:xfrm>
                <a:off x="3955069" y="1562274"/>
                <a:ext cx="1397000" cy="1397000"/>
                <a:chOff x="3924300" y="1634844"/>
                <a:chExt cx="1397000" cy="1397000"/>
              </a:xfrm>
            </p:grpSpPr>
            <p:sp>
              <p:nvSpPr>
                <p:cNvPr id="253" name="Arc 252">
                  <a:extLst>
                    <a:ext uri="{FF2B5EF4-FFF2-40B4-BE49-F238E27FC236}">
                      <a16:creationId xmlns:a16="http://schemas.microsoft.com/office/drawing/2014/main" id="{DE1BEAF4-5ED5-46A5-AB7E-BCB5BD6D4B63}"/>
                    </a:ext>
                  </a:extLst>
                </p:cNvPr>
                <p:cNvSpPr/>
                <p:nvPr/>
              </p:nvSpPr>
              <p:spPr bwMode="auto">
                <a:xfrm>
                  <a:off x="3924300" y="1634844"/>
                  <a:ext cx="1397000" cy="1397000"/>
                </a:xfrm>
                <a:prstGeom prst="arc">
                  <a:avLst>
                    <a:gd name="adj1" fmla="val 19352357"/>
                    <a:gd name="adj2" fmla="val 2301333"/>
                  </a:avLst>
                </a:prstGeom>
                <a:noFill/>
                <a:ln w="38100" cap="rnd" cmpd="sng" algn="ctr">
                  <a:solidFill>
                    <a:srgbClr val="30E5D0">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254" name="Arc 253">
                  <a:extLst>
                    <a:ext uri="{FF2B5EF4-FFF2-40B4-BE49-F238E27FC236}">
                      <a16:creationId xmlns:a16="http://schemas.microsoft.com/office/drawing/2014/main" id="{DF6055FF-AE93-4E3B-8DAC-3305AB79E9DF}"/>
                    </a:ext>
                  </a:extLst>
                </p:cNvPr>
                <p:cNvSpPr/>
                <p:nvPr/>
              </p:nvSpPr>
              <p:spPr bwMode="auto">
                <a:xfrm flipH="1">
                  <a:off x="3924300" y="1634844"/>
                  <a:ext cx="1397000" cy="1397000"/>
                </a:xfrm>
                <a:prstGeom prst="arc">
                  <a:avLst>
                    <a:gd name="adj1" fmla="val 19352357"/>
                    <a:gd name="adj2" fmla="val 2301333"/>
                  </a:avLst>
                </a:prstGeom>
                <a:noFill/>
                <a:ln w="38100" cap="rnd" cmpd="sng" algn="ctr">
                  <a:solidFill>
                    <a:srgbClr val="30E5D0">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grpSp>
        </p:grpSp>
        <p:sp>
          <p:nvSpPr>
            <p:cNvPr id="243" name="Flowchart: Connector 242">
              <a:extLst>
                <a:ext uri="{FF2B5EF4-FFF2-40B4-BE49-F238E27FC236}">
                  <a16:creationId xmlns:a16="http://schemas.microsoft.com/office/drawing/2014/main" id="{ACE0037E-249D-4AB3-B3A0-785100F3652B}"/>
                </a:ext>
              </a:extLst>
            </p:cNvPr>
            <p:cNvSpPr/>
            <p:nvPr/>
          </p:nvSpPr>
          <p:spPr bwMode="auto">
            <a:xfrm>
              <a:off x="5491140" y="7169376"/>
              <a:ext cx="1092476" cy="1092476"/>
            </a:xfrm>
            <a:prstGeom prst="flowChartConnector">
              <a:avLst/>
            </a:prstGeom>
            <a:solidFill>
              <a:srgbClr val="E7E6E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78517E1C-1763-4EE3-92F4-661139887916}"/>
                </a:ext>
              </a:extLst>
            </p:cNvPr>
            <p:cNvGrpSpPr/>
            <p:nvPr/>
          </p:nvGrpSpPr>
          <p:grpSpPr>
            <a:xfrm>
              <a:off x="5795701" y="7471443"/>
              <a:ext cx="483354" cy="506616"/>
              <a:chOff x="-1117317" y="4509861"/>
              <a:chExt cx="812149" cy="851230"/>
            </a:xfrm>
          </p:grpSpPr>
          <p:sp>
            <p:nvSpPr>
              <p:cNvPr id="245" name="Freeform: Shape 244">
                <a:extLst>
                  <a:ext uri="{FF2B5EF4-FFF2-40B4-BE49-F238E27FC236}">
                    <a16:creationId xmlns:a16="http://schemas.microsoft.com/office/drawing/2014/main" id="{BDD9A0E5-F266-49A5-A8CE-2CB2FEC253BC}"/>
                  </a:ext>
                </a:extLst>
              </p:cNvPr>
              <p:cNvSpPr/>
              <p:nvPr/>
            </p:nvSpPr>
            <p:spPr>
              <a:xfrm>
                <a:off x="-1117317" y="4711607"/>
                <a:ext cx="323850" cy="457200"/>
              </a:xfrm>
              <a:custGeom>
                <a:avLst/>
                <a:gdLst>
                  <a:gd name="connsiteX0" fmla="*/ 155448 w 323850"/>
                  <a:gd name="connsiteY0" fmla="*/ 452945 h 457200"/>
                  <a:gd name="connsiteX1" fmla="*/ 156534 w 323850"/>
                  <a:gd name="connsiteY1" fmla="*/ 460394 h 457200"/>
                  <a:gd name="connsiteX2" fmla="*/ 323926 w 323850"/>
                  <a:gd name="connsiteY2" fmla="*/ 458603 h 457200"/>
                  <a:gd name="connsiteX3" fmla="*/ 322050 w 323850"/>
                  <a:gd name="connsiteY3" fmla="*/ 374954 h 457200"/>
                  <a:gd name="connsiteX4" fmla="*/ 305867 w 323850"/>
                  <a:gd name="connsiteY4" fmla="*/ 337197 h 457200"/>
                  <a:gd name="connsiteX5" fmla="*/ 256327 w 323850"/>
                  <a:gd name="connsiteY5" fmla="*/ 287658 h 457200"/>
                  <a:gd name="connsiteX6" fmla="*/ 226676 w 323850"/>
                  <a:gd name="connsiteY6" fmla="*/ 272342 h 457200"/>
                  <a:gd name="connsiteX7" fmla="*/ 197082 w 323850"/>
                  <a:gd name="connsiteY7" fmla="*/ 267227 h 457200"/>
                  <a:gd name="connsiteX8" fmla="*/ 196148 w 323850"/>
                  <a:gd name="connsiteY8" fmla="*/ 266865 h 457200"/>
                  <a:gd name="connsiteX9" fmla="*/ 194310 w 323850"/>
                  <a:gd name="connsiteY9" fmla="*/ 266150 h 457200"/>
                  <a:gd name="connsiteX10" fmla="*/ 192691 w 323850"/>
                  <a:gd name="connsiteY10" fmla="*/ 265074 h 457200"/>
                  <a:gd name="connsiteX11" fmla="*/ 191843 w 323850"/>
                  <a:gd name="connsiteY11" fmla="*/ 264512 h 457200"/>
                  <a:gd name="connsiteX12" fmla="*/ 116615 w 323850"/>
                  <a:gd name="connsiteY12" fmla="*/ 189226 h 457200"/>
                  <a:gd name="connsiteX13" fmla="*/ 78791 w 323850"/>
                  <a:gd name="connsiteY13" fmla="*/ 189226 h 457200"/>
                  <a:gd name="connsiteX14" fmla="*/ 78791 w 323850"/>
                  <a:gd name="connsiteY14" fmla="*/ 227050 h 457200"/>
                  <a:gd name="connsiteX15" fmla="*/ 165221 w 323850"/>
                  <a:gd name="connsiteY15" fmla="*/ 313480 h 457200"/>
                  <a:gd name="connsiteX16" fmla="*/ 165221 w 323850"/>
                  <a:gd name="connsiteY16" fmla="*/ 327253 h 457200"/>
                  <a:gd name="connsiteX17" fmla="*/ 158334 w 323850"/>
                  <a:gd name="connsiteY17" fmla="*/ 330111 h 457200"/>
                  <a:gd name="connsiteX18" fmla="*/ 151448 w 323850"/>
                  <a:gd name="connsiteY18" fmla="*/ 327253 h 457200"/>
                  <a:gd name="connsiteX19" fmla="*/ 65018 w 323850"/>
                  <a:gd name="connsiteY19" fmla="*/ 240823 h 457200"/>
                  <a:gd name="connsiteX20" fmla="*/ 65018 w 323850"/>
                  <a:gd name="connsiteY20" fmla="*/ 175453 h 457200"/>
                  <a:gd name="connsiteX21" fmla="*/ 74924 w 323850"/>
                  <a:gd name="connsiteY21" fmla="*/ 168138 h 457200"/>
                  <a:gd name="connsiteX22" fmla="*/ 62198 w 323850"/>
                  <a:gd name="connsiteY22" fmla="*/ 116608 h 457200"/>
                  <a:gd name="connsiteX23" fmla="*/ 62141 w 323850"/>
                  <a:gd name="connsiteY23" fmla="*/ 115293 h 457200"/>
                  <a:gd name="connsiteX24" fmla="*/ 61913 w 323850"/>
                  <a:gd name="connsiteY24" fmla="*/ 113960 h 457200"/>
                  <a:gd name="connsiteX25" fmla="*/ 64075 w 323850"/>
                  <a:gd name="connsiteY25" fmla="*/ 47247 h 457200"/>
                  <a:gd name="connsiteX26" fmla="*/ 19774 w 323850"/>
                  <a:gd name="connsiteY26" fmla="*/ 22 h 457200"/>
                  <a:gd name="connsiteX27" fmla="*/ 8725 w 323850"/>
                  <a:gd name="connsiteY27" fmla="*/ 4441 h 457200"/>
                  <a:gd name="connsiteX28" fmla="*/ 4296 w 323850"/>
                  <a:gd name="connsiteY28" fmla="*/ 14624 h 457200"/>
                  <a:gd name="connsiteX29" fmla="*/ 0 w 323850"/>
                  <a:gd name="connsiteY29" fmla="*/ 149688 h 457200"/>
                  <a:gd name="connsiteX30" fmla="*/ 9839 w 323850"/>
                  <a:gd name="connsiteY30" fmla="*/ 242995 h 457200"/>
                  <a:gd name="connsiteX31" fmla="*/ 40777 w 323850"/>
                  <a:gd name="connsiteY31" fmla="*/ 307717 h 457200"/>
                  <a:gd name="connsiteX32" fmla="*/ 124444 w 323850"/>
                  <a:gd name="connsiteY32" fmla="*/ 391385 h 457200"/>
                  <a:gd name="connsiteX33" fmla="*/ 155448 w 323850"/>
                  <a:gd name="connsiteY33" fmla="*/ 45294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850" h="457200">
                    <a:moveTo>
                      <a:pt x="155448" y="452945"/>
                    </a:moveTo>
                    <a:lnTo>
                      <a:pt x="156534" y="460394"/>
                    </a:lnTo>
                    <a:lnTo>
                      <a:pt x="323926" y="458603"/>
                    </a:lnTo>
                    <a:lnTo>
                      <a:pt x="322050" y="374954"/>
                    </a:lnTo>
                    <a:cubicBezTo>
                      <a:pt x="321716" y="360715"/>
                      <a:pt x="315973" y="347303"/>
                      <a:pt x="305867" y="337197"/>
                    </a:cubicBezTo>
                    <a:lnTo>
                      <a:pt x="256327" y="287658"/>
                    </a:lnTo>
                    <a:cubicBezTo>
                      <a:pt x="248336" y="279666"/>
                      <a:pt x="237801" y="274228"/>
                      <a:pt x="226676" y="272342"/>
                    </a:cubicBezTo>
                    <a:lnTo>
                      <a:pt x="197082" y="267227"/>
                    </a:lnTo>
                    <a:cubicBezTo>
                      <a:pt x="196739" y="267170"/>
                      <a:pt x="196482" y="266960"/>
                      <a:pt x="196148" y="266865"/>
                    </a:cubicBezTo>
                    <a:cubicBezTo>
                      <a:pt x="195510" y="266684"/>
                      <a:pt x="194910" y="266465"/>
                      <a:pt x="194310" y="266150"/>
                    </a:cubicBezTo>
                    <a:cubicBezTo>
                      <a:pt x="193719" y="265846"/>
                      <a:pt x="193205" y="265493"/>
                      <a:pt x="192691" y="265074"/>
                    </a:cubicBezTo>
                    <a:cubicBezTo>
                      <a:pt x="192424" y="264855"/>
                      <a:pt x="192091" y="264760"/>
                      <a:pt x="191843" y="264512"/>
                    </a:cubicBezTo>
                    <a:lnTo>
                      <a:pt x="116615" y="189226"/>
                    </a:lnTo>
                    <a:cubicBezTo>
                      <a:pt x="106566" y="179178"/>
                      <a:pt x="88840" y="179187"/>
                      <a:pt x="78791" y="189226"/>
                    </a:cubicBezTo>
                    <a:cubicBezTo>
                      <a:pt x="68361" y="199656"/>
                      <a:pt x="68361" y="216620"/>
                      <a:pt x="78791" y="227050"/>
                    </a:cubicBezTo>
                    <a:lnTo>
                      <a:pt x="165221" y="313480"/>
                    </a:lnTo>
                    <a:cubicBezTo>
                      <a:pt x="169021" y="317281"/>
                      <a:pt x="169021" y="323453"/>
                      <a:pt x="165221" y="327253"/>
                    </a:cubicBezTo>
                    <a:cubicBezTo>
                      <a:pt x="163316" y="329158"/>
                      <a:pt x="160830" y="330111"/>
                      <a:pt x="158334" y="330111"/>
                    </a:cubicBezTo>
                    <a:cubicBezTo>
                      <a:pt x="155839" y="330111"/>
                      <a:pt x="153353" y="329158"/>
                      <a:pt x="151448" y="327253"/>
                    </a:cubicBezTo>
                    <a:lnTo>
                      <a:pt x="65018" y="240823"/>
                    </a:lnTo>
                    <a:cubicBezTo>
                      <a:pt x="46996" y="222802"/>
                      <a:pt x="46996" y="193475"/>
                      <a:pt x="65018" y="175453"/>
                    </a:cubicBezTo>
                    <a:cubicBezTo>
                      <a:pt x="67980" y="172491"/>
                      <a:pt x="71371" y="170167"/>
                      <a:pt x="74924" y="168138"/>
                    </a:cubicBezTo>
                    <a:lnTo>
                      <a:pt x="62198" y="116608"/>
                    </a:lnTo>
                    <a:cubicBezTo>
                      <a:pt x="62084" y="116160"/>
                      <a:pt x="62189" y="115732"/>
                      <a:pt x="62141" y="115293"/>
                    </a:cubicBezTo>
                    <a:cubicBezTo>
                      <a:pt x="62093" y="114836"/>
                      <a:pt x="61903" y="114427"/>
                      <a:pt x="61913" y="113960"/>
                    </a:cubicBezTo>
                    <a:lnTo>
                      <a:pt x="64075" y="47247"/>
                    </a:lnTo>
                    <a:cubicBezTo>
                      <a:pt x="64837" y="22053"/>
                      <a:pt x="44968" y="860"/>
                      <a:pt x="19774" y="22"/>
                    </a:cubicBezTo>
                    <a:cubicBezTo>
                      <a:pt x="15726" y="-216"/>
                      <a:pt x="11668" y="1508"/>
                      <a:pt x="8725" y="4441"/>
                    </a:cubicBezTo>
                    <a:cubicBezTo>
                      <a:pt x="5963" y="7204"/>
                      <a:pt x="4429" y="10718"/>
                      <a:pt x="4296" y="14624"/>
                    </a:cubicBezTo>
                    <a:lnTo>
                      <a:pt x="0" y="149688"/>
                    </a:lnTo>
                    <a:lnTo>
                      <a:pt x="9839" y="242995"/>
                    </a:lnTo>
                    <a:cubicBezTo>
                      <a:pt x="12383" y="267322"/>
                      <a:pt x="23374" y="290306"/>
                      <a:pt x="40777" y="307717"/>
                    </a:cubicBezTo>
                    <a:lnTo>
                      <a:pt x="124444" y="391385"/>
                    </a:lnTo>
                    <a:cubicBezTo>
                      <a:pt x="141227" y="408159"/>
                      <a:pt x="151943" y="429447"/>
                      <a:pt x="155448" y="452945"/>
                    </a:cubicBezTo>
                    <a:close/>
                  </a:path>
                </a:pathLst>
              </a:custGeom>
              <a:solidFill>
                <a:srgbClr val="75757A">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6" name="Freeform: Shape 245">
                <a:extLst>
                  <a:ext uri="{FF2B5EF4-FFF2-40B4-BE49-F238E27FC236}">
                    <a16:creationId xmlns:a16="http://schemas.microsoft.com/office/drawing/2014/main" id="{D7883323-36FC-4154-8429-6999B98CF486}"/>
                  </a:ext>
                </a:extLst>
              </p:cNvPr>
              <p:cNvSpPr/>
              <p:nvPr/>
            </p:nvSpPr>
            <p:spPr>
              <a:xfrm>
                <a:off x="-999628" y="5189641"/>
                <a:ext cx="238125" cy="171450"/>
              </a:xfrm>
              <a:custGeom>
                <a:avLst/>
                <a:gdLst>
                  <a:gd name="connsiteX0" fmla="*/ 236146 w 238125"/>
                  <a:gd name="connsiteY0" fmla="*/ 9744 h 171450"/>
                  <a:gd name="connsiteX1" fmla="*/ 212009 w 238125"/>
                  <a:gd name="connsiteY1" fmla="*/ 0 h 171450"/>
                  <a:gd name="connsiteX2" fmla="*/ 33673 w 238125"/>
                  <a:gd name="connsiteY2" fmla="*/ 1905 h 171450"/>
                  <a:gd name="connsiteX3" fmla="*/ 2 w 238125"/>
                  <a:gd name="connsiteY3" fmla="*/ 36309 h 171450"/>
                  <a:gd name="connsiteX4" fmla="*/ 1154 w 238125"/>
                  <a:gd name="connsiteY4" fmla="*/ 143789 h 171450"/>
                  <a:gd name="connsiteX5" fmla="*/ 11422 w 238125"/>
                  <a:gd name="connsiteY5" fmla="*/ 167716 h 171450"/>
                  <a:gd name="connsiteX6" fmla="*/ 35559 w 238125"/>
                  <a:gd name="connsiteY6" fmla="*/ 177460 h 171450"/>
                  <a:gd name="connsiteX7" fmla="*/ 213895 w 238125"/>
                  <a:gd name="connsiteY7" fmla="*/ 175555 h 171450"/>
                  <a:gd name="connsiteX8" fmla="*/ 237822 w 238125"/>
                  <a:gd name="connsiteY8" fmla="*/ 165287 h 171450"/>
                  <a:gd name="connsiteX9" fmla="*/ 247576 w 238125"/>
                  <a:gd name="connsiteY9" fmla="*/ 141151 h 171450"/>
                  <a:gd name="connsiteX10" fmla="*/ 246423 w 238125"/>
                  <a:gd name="connsiteY10" fmla="*/ 33661 h 171450"/>
                  <a:gd name="connsiteX11" fmla="*/ 236146 w 238125"/>
                  <a:gd name="connsiteY11" fmla="*/ 9744 h 171450"/>
                  <a:gd name="connsiteX12" fmla="*/ 40683 w 238125"/>
                  <a:gd name="connsiteY12" fmla="*/ 75086 h 171450"/>
                  <a:gd name="connsiteX13" fmla="*/ 15118 w 238125"/>
                  <a:gd name="connsiteY13" fmla="*/ 50063 h 171450"/>
                  <a:gd name="connsiteX14" fmla="*/ 40140 w 238125"/>
                  <a:gd name="connsiteY14" fmla="*/ 24498 h 171450"/>
                  <a:gd name="connsiteX15" fmla="*/ 65705 w 238125"/>
                  <a:gd name="connsiteY15" fmla="*/ 49521 h 171450"/>
                  <a:gd name="connsiteX16" fmla="*/ 40683 w 238125"/>
                  <a:gd name="connsiteY16" fmla="*/ 7508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125" h="171450">
                    <a:moveTo>
                      <a:pt x="236146" y="9744"/>
                    </a:moveTo>
                    <a:cubicBezTo>
                      <a:pt x="229631" y="3362"/>
                      <a:pt x="221411" y="57"/>
                      <a:pt x="212009" y="0"/>
                    </a:cubicBezTo>
                    <a:lnTo>
                      <a:pt x="33673" y="1905"/>
                    </a:lnTo>
                    <a:cubicBezTo>
                      <a:pt x="14899" y="2105"/>
                      <a:pt x="-198" y="17536"/>
                      <a:pt x="2" y="36309"/>
                    </a:cubicBezTo>
                    <a:lnTo>
                      <a:pt x="1154" y="143789"/>
                    </a:lnTo>
                    <a:cubicBezTo>
                      <a:pt x="1250" y="152829"/>
                      <a:pt x="4898" y="161334"/>
                      <a:pt x="11422" y="167716"/>
                    </a:cubicBezTo>
                    <a:cubicBezTo>
                      <a:pt x="17947" y="174098"/>
                      <a:pt x="26272" y="177489"/>
                      <a:pt x="35559" y="177460"/>
                    </a:cubicBezTo>
                    <a:lnTo>
                      <a:pt x="213895" y="175555"/>
                    </a:lnTo>
                    <a:cubicBezTo>
                      <a:pt x="222944" y="175460"/>
                      <a:pt x="231440" y="171812"/>
                      <a:pt x="237822" y="165287"/>
                    </a:cubicBezTo>
                    <a:cubicBezTo>
                      <a:pt x="244204" y="158763"/>
                      <a:pt x="247671" y="150190"/>
                      <a:pt x="247576" y="141151"/>
                    </a:cubicBezTo>
                    <a:lnTo>
                      <a:pt x="246423" y="33661"/>
                    </a:lnTo>
                    <a:cubicBezTo>
                      <a:pt x="246318" y="24632"/>
                      <a:pt x="242670" y="16126"/>
                      <a:pt x="236146" y="9744"/>
                    </a:cubicBezTo>
                    <a:close/>
                    <a:moveTo>
                      <a:pt x="40683" y="75086"/>
                    </a:moveTo>
                    <a:cubicBezTo>
                      <a:pt x="26710" y="75238"/>
                      <a:pt x="15271" y="64037"/>
                      <a:pt x="15118" y="50063"/>
                    </a:cubicBezTo>
                    <a:cubicBezTo>
                      <a:pt x="14966" y="36090"/>
                      <a:pt x="26167" y="24651"/>
                      <a:pt x="40140" y="24498"/>
                    </a:cubicBezTo>
                    <a:cubicBezTo>
                      <a:pt x="54104" y="24346"/>
                      <a:pt x="65553" y="35547"/>
                      <a:pt x="65705" y="49521"/>
                    </a:cubicBezTo>
                    <a:cubicBezTo>
                      <a:pt x="65848" y="63494"/>
                      <a:pt x="54647" y="74943"/>
                      <a:pt x="40683" y="75086"/>
                    </a:cubicBezTo>
                    <a:close/>
                  </a:path>
                </a:pathLst>
              </a:custGeom>
              <a:solidFill>
                <a:srgbClr val="75757A">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7" name="Freeform: Shape 246">
                <a:extLst>
                  <a:ext uri="{FF2B5EF4-FFF2-40B4-BE49-F238E27FC236}">
                    <a16:creationId xmlns:a16="http://schemas.microsoft.com/office/drawing/2014/main" id="{628B1CAD-FFD3-44E2-848E-93E5DA754A64}"/>
                  </a:ext>
                </a:extLst>
              </p:cNvPr>
              <p:cNvSpPr/>
              <p:nvPr/>
            </p:nvSpPr>
            <p:spPr>
              <a:xfrm>
                <a:off x="-629018" y="4711642"/>
                <a:ext cx="323850" cy="457200"/>
              </a:xfrm>
              <a:custGeom>
                <a:avLst/>
                <a:gdLst>
                  <a:gd name="connsiteX0" fmla="*/ 315201 w 323850"/>
                  <a:gd name="connsiteY0" fmla="*/ 4445 h 457200"/>
                  <a:gd name="connsiteX1" fmla="*/ 304028 w 323850"/>
                  <a:gd name="connsiteY1" fmla="*/ 16 h 457200"/>
                  <a:gd name="connsiteX2" fmla="*/ 259842 w 323850"/>
                  <a:gd name="connsiteY2" fmla="*/ 47250 h 457200"/>
                  <a:gd name="connsiteX3" fmla="*/ 262004 w 323850"/>
                  <a:gd name="connsiteY3" fmla="*/ 113945 h 457200"/>
                  <a:gd name="connsiteX4" fmla="*/ 261785 w 323850"/>
                  <a:gd name="connsiteY4" fmla="*/ 115278 h 457200"/>
                  <a:gd name="connsiteX5" fmla="*/ 261728 w 323850"/>
                  <a:gd name="connsiteY5" fmla="*/ 116592 h 457200"/>
                  <a:gd name="connsiteX6" fmla="*/ 249003 w 323850"/>
                  <a:gd name="connsiteY6" fmla="*/ 168123 h 457200"/>
                  <a:gd name="connsiteX7" fmla="*/ 258909 w 323850"/>
                  <a:gd name="connsiteY7" fmla="*/ 175438 h 457200"/>
                  <a:gd name="connsiteX8" fmla="*/ 258909 w 323850"/>
                  <a:gd name="connsiteY8" fmla="*/ 240808 h 457200"/>
                  <a:gd name="connsiteX9" fmla="*/ 172479 w 323850"/>
                  <a:gd name="connsiteY9" fmla="*/ 327238 h 457200"/>
                  <a:gd name="connsiteX10" fmla="*/ 165592 w 323850"/>
                  <a:gd name="connsiteY10" fmla="*/ 330095 h 457200"/>
                  <a:gd name="connsiteX11" fmla="*/ 158706 w 323850"/>
                  <a:gd name="connsiteY11" fmla="*/ 327238 h 457200"/>
                  <a:gd name="connsiteX12" fmla="*/ 158706 w 323850"/>
                  <a:gd name="connsiteY12" fmla="*/ 313465 h 457200"/>
                  <a:gd name="connsiteX13" fmla="*/ 245135 w 323850"/>
                  <a:gd name="connsiteY13" fmla="*/ 227035 h 457200"/>
                  <a:gd name="connsiteX14" fmla="*/ 245135 w 323850"/>
                  <a:gd name="connsiteY14" fmla="*/ 189211 h 457200"/>
                  <a:gd name="connsiteX15" fmla="*/ 207312 w 323850"/>
                  <a:gd name="connsiteY15" fmla="*/ 189211 h 457200"/>
                  <a:gd name="connsiteX16" fmla="*/ 132083 w 323850"/>
                  <a:gd name="connsiteY16" fmla="*/ 264497 h 457200"/>
                  <a:gd name="connsiteX17" fmla="*/ 131235 w 323850"/>
                  <a:gd name="connsiteY17" fmla="*/ 265059 h 457200"/>
                  <a:gd name="connsiteX18" fmla="*/ 129616 w 323850"/>
                  <a:gd name="connsiteY18" fmla="*/ 266135 h 457200"/>
                  <a:gd name="connsiteX19" fmla="*/ 127778 w 323850"/>
                  <a:gd name="connsiteY19" fmla="*/ 266849 h 457200"/>
                  <a:gd name="connsiteX20" fmla="*/ 126844 w 323850"/>
                  <a:gd name="connsiteY20" fmla="*/ 267211 h 457200"/>
                  <a:gd name="connsiteX21" fmla="*/ 97279 w 323850"/>
                  <a:gd name="connsiteY21" fmla="*/ 272317 h 457200"/>
                  <a:gd name="connsiteX22" fmla="*/ 67599 w 323850"/>
                  <a:gd name="connsiteY22" fmla="*/ 287642 h 457200"/>
                  <a:gd name="connsiteX23" fmla="*/ 18059 w 323850"/>
                  <a:gd name="connsiteY23" fmla="*/ 337182 h 457200"/>
                  <a:gd name="connsiteX24" fmla="*/ 1876 w 323850"/>
                  <a:gd name="connsiteY24" fmla="*/ 374949 h 457200"/>
                  <a:gd name="connsiteX25" fmla="*/ 0 w 323850"/>
                  <a:gd name="connsiteY25" fmla="*/ 458588 h 457200"/>
                  <a:gd name="connsiteX26" fmla="*/ 167392 w 323850"/>
                  <a:gd name="connsiteY26" fmla="*/ 460378 h 457200"/>
                  <a:gd name="connsiteX27" fmla="*/ 168469 w 323850"/>
                  <a:gd name="connsiteY27" fmla="*/ 452958 h 457200"/>
                  <a:gd name="connsiteX28" fmla="*/ 199473 w 323850"/>
                  <a:gd name="connsiteY28" fmla="*/ 391360 h 457200"/>
                  <a:gd name="connsiteX29" fmla="*/ 283140 w 323850"/>
                  <a:gd name="connsiteY29" fmla="*/ 307693 h 457200"/>
                  <a:gd name="connsiteX30" fmla="*/ 314077 w 323850"/>
                  <a:gd name="connsiteY30" fmla="*/ 242980 h 457200"/>
                  <a:gd name="connsiteX31" fmla="*/ 323917 w 323850"/>
                  <a:gd name="connsiteY31" fmla="*/ 149673 h 457200"/>
                  <a:gd name="connsiteX32" fmla="*/ 319602 w 323850"/>
                  <a:gd name="connsiteY32" fmla="*/ 14580 h 457200"/>
                  <a:gd name="connsiteX33" fmla="*/ 315201 w 323850"/>
                  <a:gd name="connsiteY33" fmla="*/ 444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850" h="457200">
                    <a:moveTo>
                      <a:pt x="315201" y="4445"/>
                    </a:moveTo>
                    <a:cubicBezTo>
                      <a:pt x="312249" y="1502"/>
                      <a:pt x="308353" y="-184"/>
                      <a:pt x="304028" y="16"/>
                    </a:cubicBezTo>
                    <a:cubicBezTo>
                      <a:pt x="278949" y="845"/>
                      <a:pt x="259080" y="22038"/>
                      <a:pt x="259842" y="47250"/>
                    </a:cubicBezTo>
                    <a:lnTo>
                      <a:pt x="262004" y="113945"/>
                    </a:lnTo>
                    <a:cubicBezTo>
                      <a:pt x="262023" y="114411"/>
                      <a:pt x="261833" y="114821"/>
                      <a:pt x="261785" y="115278"/>
                    </a:cubicBezTo>
                    <a:cubicBezTo>
                      <a:pt x="261738" y="115726"/>
                      <a:pt x="261842" y="116154"/>
                      <a:pt x="261728" y="116592"/>
                    </a:cubicBezTo>
                    <a:lnTo>
                      <a:pt x="249003" y="168123"/>
                    </a:lnTo>
                    <a:cubicBezTo>
                      <a:pt x="252555" y="170142"/>
                      <a:pt x="255946" y="172476"/>
                      <a:pt x="258909" y="175438"/>
                    </a:cubicBezTo>
                    <a:cubicBezTo>
                      <a:pt x="276930" y="193459"/>
                      <a:pt x="276930" y="222787"/>
                      <a:pt x="258909" y="240808"/>
                    </a:cubicBezTo>
                    <a:lnTo>
                      <a:pt x="172479" y="327238"/>
                    </a:lnTo>
                    <a:cubicBezTo>
                      <a:pt x="170574" y="329143"/>
                      <a:pt x="168088" y="330095"/>
                      <a:pt x="165592" y="330095"/>
                    </a:cubicBezTo>
                    <a:cubicBezTo>
                      <a:pt x="163097" y="330095"/>
                      <a:pt x="160611" y="329143"/>
                      <a:pt x="158706" y="327238"/>
                    </a:cubicBezTo>
                    <a:cubicBezTo>
                      <a:pt x="154905" y="323437"/>
                      <a:pt x="154905" y="317265"/>
                      <a:pt x="158706" y="313465"/>
                    </a:cubicBezTo>
                    <a:lnTo>
                      <a:pt x="245135" y="227035"/>
                    </a:lnTo>
                    <a:cubicBezTo>
                      <a:pt x="255565" y="216605"/>
                      <a:pt x="255565" y="199641"/>
                      <a:pt x="245135" y="189211"/>
                    </a:cubicBezTo>
                    <a:cubicBezTo>
                      <a:pt x="235087" y="179162"/>
                      <a:pt x="217361" y="179153"/>
                      <a:pt x="207312" y="189211"/>
                    </a:cubicBezTo>
                    <a:lnTo>
                      <a:pt x="132083" y="264497"/>
                    </a:lnTo>
                    <a:cubicBezTo>
                      <a:pt x="131836" y="264744"/>
                      <a:pt x="131502" y="264840"/>
                      <a:pt x="131235" y="265059"/>
                    </a:cubicBezTo>
                    <a:cubicBezTo>
                      <a:pt x="130731" y="265468"/>
                      <a:pt x="130207" y="265821"/>
                      <a:pt x="129616" y="266135"/>
                    </a:cubicBezTo>
                    <a:cubicBezTo>
                      <a:pt x="129016" y="266449"/>
                      <a:pt x="128416" y="266668"/>
                      <a:pt x="127778" y="266849"/>
                    </a:cubicBezTo>
                    <a:cubicBezTo>
                      <a:pt x="127454" y="266945"/>
                      <a:pt x="127187" y="267154"/>
                      <a:pt x="126844" y="267211"/>
                    </a:cubicBezTo>
                    <a:lnTo>
                      <a:pt x="97279" y="272317"/>
                    </a:lnTo>
                    <a:cubicBezTo>
                      <a:pt x="86116" y="274203"/>
                      <a:pt x="75590" y="279651"/>
                      <a:pt x="67599" y="287642"/>
                    </a:cubicBezTo>
                    <a:lnTo>
                      <a:pt x="18059" y="337182"/>
                    </a:lnTo>
                    <a:cubicBezTo>
                      <a:pt x="7953" y="347288"/>
                      <a:pt x="2210" y="360699"/>
                      <a:pt x="1876" y="374949"/>
                    </a:cubicBezTo>
                    <a:lnTo>
                      <a:pt x="0" y="458588"/>
                    </a:lnTo>
                    <a:lnTo>
                      <a:pt x="167392" y="460378"/>
                    </a:lnTo>
                    <a:lnTo>
                      <a:pt x="168469" y="452958"/>
                    </a:lnTo>
                    <a:cubicBezTo>
                      <a:pt x="171983" y="429422"/>
                      <a:pt x="182699" y="408134"/>
                      <a:pt x="199473" y="391360"/>
                    </a:cubicBezTo>
                    <a:lnTo>
                      <a:pt x="283140" y="307693"/>
                    </a:lnTo>
                    <a:cubicBezTo>
                      <a:pt x="300552" y="290281"/>
                      <a:pt x="311544" y="267297"/>
                      <a:pt x="314077" y="242980"/>
                    </a:cubicBezTo>
                    <a:lnTo>
                      <a:pt x="323917" y="149673"/>
                    </a:lnTo>
                    <a:lnTo>
                      <a:pt x="319602" y="14580"/>
                    </a:lnTo>
                    <a:cubicBezTo>
                      <a:pt x="319488" y="10713"/>
                      <a:pt x="317954" y="7198"/>
                      <a:pt x="315201" y="4445"/>
                    </a:cubicBezTo>
                    <a:close/>
                  </a:path>
                </a:pathLst>
              </a:custGeom>
              <a:solidFill>
                <a:srgbClr val="75757A">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8" name="Freeform: Shape 247">
                <a:extLst>
                  <a:ext uri="{FF2B5EF4-FFF2-40B4-BE49-F238E27FC236}">
                    <a16:creationId xmlns:a16="http://schemas.microsoft.com/office/drawing/2014/main" id="{65CBACC6-9E65-4A1E-B736-B98A4D858809}"/>
                  </a:ext>
                </a:extLst>
              </p:cNvPr>
              <p:cNvSpPr/>
              <p:nvPr/>
            </p:nvSpPr>
            <p:spPr>
              <a:xfrm>
                <a:off x="-670340" y="5189641"/>
                <a:ext cx="238125" cy="171450"/>
              </a:xfrm>
              <a:custGeom>
                <a:avLst/>
                <a:gdLst>
                  <a:gd name="connsiteX0" fmla="*/ 213895 w 238125"/>
                  <a:gd name="connsiteY0" fmla="*/ 1905 h 171450"/>
                  <a:gd name="connsiteX1" fmla="*/ 35559 w 238125"/>
                  <a:gd name="connsiteY1" fmla="*/ 0 h 171450"/>
                  <a:gd name="connsiteX2" fmla="*/ 35187 w 238125"/>
                  <a:gd name="connsiteY2" fmla="*/ 0 h 171450"/>
                  <a:gd name="connsiteX3" fmla="*/ 11422 w 238125"/>
                  <a:gd name="connsiteY3" fmla="*/ 9754 h 171450"/>
                  <a:gd name="connsiteX4" fmla="*/ 1154 w 238125"/>
                  <a:gd name="connsiteY4" fmla="*/ 33680 h 171450"/>
                  <a:gd name="connsiteX5" fmla="*/ 2 w 238125"/>
                  <a:gd name="connsiteY5" fmla="*/ 141170 h 171450"/>
                  <a:gd name="connsiteX6" fmla="*/ 9755 w 238125"/>
                  <a:gd name="connsiteY6" fmla="*/ 165306 h 171450"/>
                  <a:gd name="connsiteX7" fmla="*/ 33682 w 238125"/>
                  <a:gd name="connsiteY7" fmla="*/ 175574 h 171450"/>
                  <a:gd name="connsiteX8" fmla="*/ 212019 w 238125"/>
                  <a:gd name="connsiteY8" fmla="*/ 177470 h 171450"/>
                  <a:gd name="connsiteX9" fmla="*/ 236155 w 238125"/>
                  <a:gd name="connsiteY9" fmla="*/ 167726 h 171450"/>
                  <a:gd name="connsiteX10" fmla="*/ 246423 w 238125"/>
                  <a:gd name="connsiteY10" fmla="*/ 143799 h 171450"/>
                  <a:gd name="connsiteX11" fmla="*/ 247576 w 238125"/>
                  <a:gd name="connsiteY11" fmla="*/ 36319 h 171450"/>
                  <a:gd name="connsiteX12" fmla="*/ 213895 w 238125"/>
                  <a:gd name="connsiteY12" fmla="*/ 1905 h 171450"/>
                  <a:gd name="connsiteX13" fmla="*/ 206885 w 238125"/>
                  <a:gd name="connsiteY13" fmla="*/ 75086 h 171450"/>
                  <a:gd name="connsiteX14" fmla="*/ 181863 w 238125"/>
                  <a:gd name="connsiteY14" fmla="*/ 49521 h 171450"/>
                  <a:gd name="connsiteX15" fmla="*/ 207428 w 238125"/>
                  <a:gd name="connsiteY15" fmla="*/ 24498 h 171450"/>
                  <a:gd name="connsiteX16" fmla="*/ 232450 w 238125"/>
                  <a:gd name="connsiteY16" fmla="*/ 50063 h 171450"/>
                  <a:gd name="connsiteX17" fmla="*/ 206885 w 238125"/>
                  <a:gd name="connsiteY17" fmla="*/ 7508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8125" h="171450">
                    <a:moveTo>
                      <a:pt x="213895" y="1905"/>
                    </a:moveTo>
                    <a:lnTo>
                      <a:pt x="35559" y="0"/>
                    </a:lnTo>
                    <a:cubicBezTo>
                      <a:pt x="35435" y="0"/>
                      <a:pt x="35311" y="0"/>
                      <a:pt x="35187" y="0"/>
                    </a:cubicBezTo>
                    <a:cubicBezTo>
                      <a:pt x="26281" y="0"/>
                      <a:pt x="17852" y="3458"/>
                      <a:pt x="11422" y="9754"/>
                    </a:cubicBezTo>
                    <a:cubicBezTo>
                      <a:pt x="4898" y="16135"/>
                      <a:pt x="1250" y="24641"/>
                      <a:pt x="1154" y="33680"/>
                    </a:cubicBezTo>
                    <a:lnTo>
                      <a:pt x="2" y="141170"/>
                    </a:lnTo>
                    <a:cubicBezTo>
                      <a:pt x="-93" y="150209"/>
                      <a:pt x="3374" y="158782"/>
                      <a:pt x="9755" y="165306"/>
                    </a:cubicBezTo>
                    <a:cubicBezTo>
                      <a:pt x="16137" y="171831"/>
                      <a:pt x="24634" y="175479"/>
                      <a:pt x="33682" y="175574"/>
                    </a:cubicBezTo>
                    <a:lnTo>
                      <a:pt x="212019" y="177470"/>
                    </a:lnTo>
                    <a:cubicBezTo>
                      <a:pt x="220915" y="177537"/>
                      <a:pt x="229631" y="174108"/>
                      <a:pt x="236155" y="167726"/>
                    </a:cubicBezTo>
                    <a:cubicBezTo>
                      <a:pt x="242680" y="161344"/>
                      <a:pt x="246328" y="152838"/>
                      <a:pt x="246423" y="143799"/>
                    </a:cubicBezTo>
                    <a:lnTo>
                      <a:pt x="247576" y="36319"/>
                    </a:lnTo>
                    <a:cubicBezTo>
                      <a:pt x="247766" y="17545"/>
                      <a:pt x="232669" y="2105"/>
                      <a:pt x="213895" y="1905"/>
                    </a:cubicBezTo>
                    <a:close/>
                    <a:moveTo>
                      <a:pt x="206885" y="75086"/>
                    </a:moveTo>
                    <a:cubicBezTo>
                      <a:pt x="192921" y="74933"/>
                      <a:pt x="181710" y="63494"/>
                      <a:pt x="181863" y="49521"/>
                    </a:cubicBezTo>
                    <a:cubicBezTo>
                      <a:pt x="182015" y="35547"/>
                      <a:pt x="193455" y="24346"/>
                      <a:pt x="207428" y="24498"/>
                    </a:cubicBezTo>
                    <a:cubicBezTo>
                      <a:pt x="221391" y="24651"/>
                      <a:pt x="232602" y="36090"/>
                      <a:pt x="232450" y="50063"/>
                    </a:cubicBezTo>
                    <a:cubicBezTo>
                      <a:pt x="232298" y="64037"/>
                      <a:pt x="220858" y="75238"/>
                      <a:pt x="206885" y="75086"/>
                    </a:cubicBezTo>
                    <a:close/>
                  </a:path>
                </a:pathLst>
              </a:custGeom>
              <a:solidFill>
                <a:srgbClr val="75757A">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9" name="Freeform: Shape 248">
                <a:extLst>
                  <a:ext uri="{FF2B5EF4-FFF2-40B4-BE49-F238E27FC236}">
                    <a16:creationId xmlns:a16="http://schemas.microsoft.com/office/drawing/2014/main" id="{E008DB55-75ED-47B7-A8A0-9C13F7CF69FB}"/>
                  </a:ext>
                </a:extLst>
              </p:cNvPr>
              <p:cNvSpPr/>
              <p:nvPr/>
            </p:nvSpPr>
            <p:spPr>
              <a:xfrm>
                <a:off x="-777875" y="4668090"/>
                <a:ext cx="133350" cy="133350"/>
              </a:xfrm>
              <a:custGeom>
                <a:avLst/>
                <a:gdLst>
                  <a:gd name="connsiteX0" fmla="*/ 66675 w 133350"/>
                  <a:gd name="connsiteY0" fmla="*/ 0 h 133350"/>
                  <a:gd name="connsiteX1" fmla="*/ 133350 w 133350"/>
                  <a:gd name="connsiteY1" fmla="*/ 66732 h 133350"/>
                  <a:gd name="connsiteX2" fmla="*/ 66675 w 133350"/>
                  <a:gd name="connsiteY2" fmla="*/ 133407 h 133350"/>
                  <a:gd name="connsiteX3" fmla="*/ 0 w 133350"/>
                  <a:gd name="connsiteY3" fmla="*/ 66732 h 133350"/>
                  <a:gd name="connsiteX4" fmla="*/ 66675 w 133350"/>
                  <a:gd name="connsiteY4" fmla="*/ 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6675" y="0"/>
                    </a:moveTo>
                    <a:cubicBezTo>
                      <a:pt x="103470" y="0"/>
                      <a:pt x="133350" y="29937"/>
                      <a:pt x="133350" y="66732"/>
                    </a:cubicBezTo>
                    <a:cubicBezTo>
                      <a:pt x="133350" y="103470"/>
                      <a:pt x="103470" y="133407"/>
                      <a:pt x="66675" y="133407"/>
                    </a:cubicBezTo>
                    <a:cubicBezTo>
                      <a:pt x="29880" y="133407"/>
                      <a:pt x="0" y="103470"/>
                      <a:pt x="0" y="66732"/>
                    </a:cubicBezTo>
                    <a:cubicBezTo>
                      <a:pt x="0" y="29937"/>
                      <a:pt x="29880" y="0"/>
                      <a:pt x="66675" y="0"/>
                    </a:cubicBezTo>
                    <a:close/>
                  </a:path>
                </a:pathLst>
              </a:custGeom>
              <a:solidFill>
                <a:srgbClr val="30E5D0">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0" name="Freeform: Shape 249">
                <a:extLst>
                  <a:ext uri="{FF2B5EF4-FFF2-40B4-BE49-F238E27FC236}">
                    <a16:creationId xmlns:a16="http://schemas.microsoft.com/office/drawing/2014/main" id="{9FFBA9FE-D80D-4076-BDAF-449874CE5247}"/>
                  </a:ext>
                </a:extLst>
              </p:cNvPr>
              <p:cNvSpPr/>
              <p:nvPr/>
            </p:nvSpPr>
            <p:spPr>
              <a:xfrm>
                <a:off x="-936181" y="4509861"/>
                <a:ext cx="447675" cy="447675"/>
              </a:xfrm>
              <a:custGeom>
                <a:avLst/>
                <a:gdLst>
                  <a:gd name="connsiteX0" fmla="*/ 449961 w 447675"/>
                  <a:gd name="connsiteY0" fmla="*/ 205454 h 447675"/>
                  <a:gd name="connsiteX1" fmla="*/ 449961 w 447675"/>
                  <a:gd name="connsiteY1" fmla="*/ 244412 h 447675"/>
                  <a:gd name="connsiteX2" fmla="*/ 423767 w 447675"/>
                  <a:gd name="connsiteY2" fmla="*/ 270510 h 447675"/>
                  <a:gd name="connsiteX3" fmla="*/ 392144 w 447675"/>
                  <a:gd name="connsiteY3" fmla="*/ 270510 h 447675"/>
                  <a:gd name="connsiteX4" fmla="*/ 375476 w 447675"/>
                  <a:gd name="connsiteY4" fmla="*/ 310896 h 447675"/>
                  <a:gd name="connsiteX5" fmla="*/ 397859 w 447675"/>
                  <a:gd name="connsiteY5" fmla="*/ 333280 h 447675"/>
                  <a:gd name="connsiteX6" fmla="*/ 397859 w 447675"/>
                  <a:gd name="connsiteY6" fmla="*/ 370237 h 447675"/>
                  <a:gd name="connsiteX7" fmla="*/ 370237 w 447675"/>
                  <a:gd name="connsiteY7" fmla="*/ 397764 h 447675"/>
                  <a:gd name="connsiteX8" fmla="*/ 351854 w 447675"/>
                  <a:gd name="connsiteY8" fmla="*/ 405384 h 447675"/>
                  <a:gd name="connsiteX9" fmla="*/ 333375 w 447675"/>
                  <a:gd name="connsiteY9" fmla="*/ 397764 h 447675"/>
                  <a:gd name="connsiteX10" fmla="*/ 310991 w 447675"/>
                  <a:gd name="connsiteY10" fmla="*/ 375380 h 447675"/>
                  <a:gd name="connsiteX11" fmla="*/ 270605 w 447675"/>
                  <a:gd name="connsiteY11" fmla="*/ 392144 h 447675"/>
                  <a:gd name="connsiteX12" fmla="*/ 270605 w 447675"/>
                  <a:gd name="connsiteY12" fmla="*/ 423767 h 447675"/>
                  <a:gd name="connsiteX13" fmla="*/ 244412 w 447675"/>
                  <a:gd name="connsiteY13" fmla="*/ 449866 h 447675"/>
                  <a:gd name="connsiteX14" fmla="*/ 205550 w 447675"/>
                  <a:gd name="connsiteY14" fmla="*/ 449866 h 447675"/>
                  <a:gd name="connsiteX15" fmla="*/ 179356 w 447675"/>
                  <a:gd name="connsiteY15" fmla="*/ 423767 h 447675"/>
                  <a:gd name="connsiteX16" fmla="*/ 179356 w 447675"/>
                  <a:gd name="connsiteY16" fmla="*/ 392144 h 447675"/>
                  <a:gd name="connsiteX17" fmla="*/ 138970 w 447675"/>
                  <a:gd name="connsiteY17" fmla="*/ 375380 h 447675"/>
                  <a:gd name="connsiteX18" fmla="*/ 116586 w 447675"/>
                  <a:gd name="connsiteY18" fmla="*/ 397764 h 447675"/>
                  <a:gd name="connsiteX19" fmla="*/ 98203 w 447675"/>
                  <a:gd name="connsiteY19" fmla="*/ 405384 h 447675"/>
                  <a:gd name="connsiteX20" fmla="*/ 79724 w 447675"/>
                  <a:gd name="connsiteY20" fmla="*/ 397764 h 447675"/>
                  <a:gd name="connsiteX21" fmla="*/ 52102 w 447675"/>
                  <a:gd name="connsiteY21" fmla="*/ 370237 h 447675"/>
                  <a:gd name="connsiteX22" fmla="*/ 52102 w 447675"/>
                  <a:gd name="connsiteY22" fmla="*/ 333280 h 447675"/>
                  <a:gd name="connsiteX23" fmla="*/ 74486 w 447675"/>
                  <a:gd name="connsiteY23" fmla="*/ 310896 h 447675"/>
                  <a:gd name="connsiteX24" fmla="*/ 57817 w 447675"/>
                  <a:gd name="connsiteY24" fmla="*/ 270510 h 447675"/>
                  <a:gd name="connsiteX25" fmla="*/ 26194 w 447675"/>
                  <a:gd name="connsiteY25" fmla="*/ 270510 h 447675"/>
                  <a:gd name="connsiteX26" fmla="*/ 0 w 447675"/>
                  <a:gd name="connsiteY26" fmla="*/ 244412 h 447675"/>
                  <a:gd name="connsiteX27" fmla="*/ 0 w 447675"/>
                  <a:gd name="connsiteY27" fmla="*/ 205454 h 447675"/>
                  <a:gd name="connsiteX28" fmla="*/ 26194 w 447675"/>
                  <a:gd name="connsiteY28" fmla="*/ 179356 h 447675"/>
                  <a:gd name="connsiteX29" fmla="*/ 57817 w 447675"/>
                  <a:gd name="connsiteY29" fmla="*/ 179356 h 447675"/>
                  <a:gd name="connsiteX30" fmla="*/ 74486 w 447675"/>
                  <a:gd name="connsiteY30" fmla="*/ 138970 h 447675"/>
                  <a:gd name="connsiteX31" fmla="*/ 52102 w 447675"/>
                  <a:gd name="connsiteY31" fmla="*/ 116586 h 447675"/>
                  <a:gd name="connsiteX32" fmla="*/ 52102 w 447675"/>
                  <a:gd name="connsiteY32" fmla="*/ 79629 h 447675"/>
                  <a:gd name="connsiteX33" fmla="*/ 79724 w 447675"/>
                  <a:gd name="connsiteY33" fmla="*/ 52102 h 447675"/>
                  <a:gd name="connsiteX34" fmla="*/ 116586 w 447675"/>
                  <a:gd name="connsiteY34" fmla="*/ 52102 h 447675"/>
                  <a:gd name="connsiteX35" fmla="*/ 138970 w 447675"/>
                  <a:gd name="connsiteY35" fmla="*/ 74486 h 447675"/>
                  <a:gd name="connsiteX36" fmla="*/ 179356 w 447675"/>
                  <a:gd name="connsiteY36" fmla="*/ 57722 h 447675"/>
                  <a:gd name="connsiteX37" fmla="*/ 179356 w 447675"/>
                  <a:gd name="connsiteY37" fmla="*/ 26098 h 447675"/>
                  <a:gd name="connsiteX38" fmla="*/ 205550 w 447675"/>
                  <a:gd name="connsiteY38" fmla="*/ 0 h 447675"/>
                  <a:gd name="connsiteX39" fmla="*/ 244412 w 447675"/>
                  <a:gd name="connsiteY39" fmla="*/ 0 h 447675"/>
                  <a:gd name="connsiteX40" fmla="*/ 270605 w 447675"/>
                  <a:gd name="connsiteY40" fmla="*/ 26098 h 447675"/>
                  <a:gd name="connsiteX41" fmla="*/ 270605 w 447675"/>
                  <a:gd name="connsiteY41" fmla="*/ 57722 h 447675"/>
                  <a:gd name="connsiteX42" fmla="*/ 310991 w 447675"/>
                  <a:gd name="connsiteY42" fmla="*/ 74486 h 447675"/>
                  <a:gd name="connsiteX43" fmla="*/ 333375 w 447675"/>
                  <a:gd name="connsiteY43" fmla="*/ 52102 h 447675"/>
                  <a:gd name="connsiteX44" fmla="*/ 370237 w 447675"/>
                  <a:gd name="connsiteY44" fmla="*/ 52102 h 447675"/>
                  <a:gd name="connsiteX45" fmla="*/ 397859 w 447675"/>
                  <a:gd name="connsiteY45" fmla="*/ 79629 h 447675"/>
                  <a:gd name="connsiteX46" fmla="*/ 397859 w 447675"/>
                  <a:gd name="connsiteY46" fmla="*/ 116586 h 447675"/>
                  <a:gd name="connsiteX47" fmla="*/ 375476 w 447675"/>
                  <a:gd name="connsiteY47" fmla="*/ 138970 h 447675"/>
                  <a:gd name="connsiteX48" fmla="*/ 392144 w 447675"/>
                  <a:gd name="connsiteY48" fmla="*/ 179356 h 447675"/>
                  <a:gd name="connsiteX49" fmla="*/ 423767 w 447675"/>
                  <a:gd name="connsiteY49" fmla="*/ 179356 h 447675"/>
                  <a:gd name="connsiteX50" fmla="*/ 449961 w 447675"/>
                  <a:gd name="connsiteY50" fmla="*/ 205454 h 447675"/>
                  <a:gd name="connsiteX51" fmla="*/ 328708 w 447675"/>
                  <a:gd name="connsiteY51" fmla="*/ 224981 h 447675"/>
                  <a:gd name="connsiteX52" fmla="*/ 224981 w 447675"/>
                  <a:gd name="connsiteY52" fmla="*/ 121158 h 447675"/>
                  <a:gd name="connsiteX53" fmla="*/ 121253 w 447675"/>
                  <a:gd name="connsiteY53" fmla="*/ 224981 h 447675"/>
                  <a:gd name="connsiteX54" fmla="*/ 224981 w 447675"/>
                  <a:gd name="connsiteY54" fmla="*/ 328708 h 447675"/>
                  <a:gd name="connsiteX55" fmla="*/ 328708 w 447675"/>
                  <a:gd name="connsiteY55" fmla="*/ 224981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47675" h="447675">
                    <a:moveTo>
                      <a:pt x="449961" y="205454"/>
                    </a:moveTo>
                    <a:lnTo>
                      <a:pt x="449961" y="244412"/>
                    </a:lnTo>
                    <a:cubicBezTo>
                      <a:pt x="449961" y="258794"/>
                      <a:pt x="438245" y="270510"/>
                      <a:pt x="423767" y="270510"/>
                    </a:cubicBezTo>
                    <a:lnTo>
                      <a:pt x="392144" y="270510"/>
                    </a:lnTo>
                    <a:cubicBezTo>
                      <a:pt x="388334" y="284702"/>
                      <a:pt x="382715" y="298228"/>
                      <a:pt x="375476" y="310896"/>
                    </a:cubicBezTo>
                    <a:lnTo>
                      <a:pt x="397859" y="333280"/>
                    </a:lnTo>
                    <a:cubicBezTo>
                      <a:pt x="408051" y="343472"/>
                      <a:pt x="408051" y="360045"/>
                      <a:pt x="397859" y="370237"/>
                    </a:cubicBezTo>
                    <a:lnTo>
                      <a:pt x="370237" y="397764"/>
                    </a:lnTo>
                    <a:cubicBezTo>
                      <a:pt x="365189" y="402908"/>
                      <a:pt x="358521" y="405384"/>
                      <a:pt x="351854" y="405384"/>
                    </a:cubicBezTo>
                    <a:cubicBezTo>
                      <a:pt x="345091" y="405384"/>
                      <a:pt x="338423" y="402908"/>
                      <a:pt x="333375" y="397764"/>
                    </a:cubicBezTo>
                    <a:lnTo>
                      <a:pt x="310991" y="375380"/>
                    </a:lnTo>
                    <a:cubicBezTo>
                      <a:pt x="298323" y="382715"/>
                      <a:pt x="284798" y="388239"/>
                      <a:pt x="270605" y="392144"/>
                    </a:cubicBezTo>
                    <a:lnTo>
                      <a:pt x="270605" y="423767"/>
                    </a:lnTo>
                    <a:cubicBezTo>
                      <a:pt x="270605" y="438150"/>
                      <a:pt x="258890" y="449866"/>
                      <a:pt x="244412" y="449866"/>
                    </a:cubicBezTo>
                    <a:lnTo>
                      <a:pt x="205550" y="449866"/>
                    </a:lnTo>
                    <a:cubicBezTo>
                      <a:pt x="191072" y="449866"/>
                      <a:pt x="179356" y="438150"/>
                      <a:pt x="179356" y="423767"/>
                    </a:cubicBezTo>
                    <a:lnTo>
                      <a:pt x="179356" y="392144"/>
                    </a:lnTo>
                    <a:cubicBezTo>
                      <a:pt x="165164" y="388239"/>
                      <a:pt x="151638" y="382715"/>
                      <a:pt x="138970" y="375380"/>
                    </a:cubicBezTo>
                    <a:lnTo>
                      <a:pt x="116586" y="397764"/>
                    </a:lnTo>
                    <a:cubicBezTo>
                      <a:pt x="111538" y="402908"/>
                      <a:pt x="104870" y="405384"/>
                      <a:pt x="98203" y="405384"/>
                    </a:cubicBezTo>
                    <a:cubicBezTo>
                      <a:pt x="91440" y="405384"/>
                      <a:pt x="84773" y="402908"/>
                      <a:pt x="79724" y="397764"/>
                    </a:cubicBezTo>
                    <a:lnTo>
                      <a:pt x="52102" y="370237"/>
                    </a:lnTo>
                    <a:cubicBezTo>
                      <a:pt x="41910" y="360045"/>
                      <a:pt x="41910" y="343472"/>
                      <a:pt x="52102" y="333280"/>
                    </a:cubicBezTo>
                    <a:lnTo>
                      <a:pt x="74486" y="310896"/>
                    </a:lnTo>
                    <a:cubicBezTo>
                      <a:pt x="67246" y="298228"/>
                      <a:pt x="61627" y="284702"/>
                      <a:pt x="57817" y="270510"/>
                    </a:cubicBezTo>
                    <a:lnTo>
                      <a:pt x="26194" y="270510"/>
                    </a:lnTo>
                    <a:cubicBezTo>
                      <a:pt x="11716" y="270510"/>
                      <a:pt x="0" y="258794"/>
                      <a:pt x="0" y="244412"/>
                    </a:cubicBezTo>
                    <a:lnTo>
                      <a:pt x="0" y="205454"/>
                    </a:lnTo>
                    <a:cubicBezTo>
                      <a:pt x="0" y="191072"/>
                      <a:pt x="11716" y="179356"/>
                      <a:pt x="26194" y="179356"/>
                    </a:cubicBezTo>
                    <a:lnTo>
                      <a:pt x="57817" y="179356"/>
                    </a:lnTo>
                    <a:cubicBezTo>
                      <a:pt x="61627" y="165164"/>
                      <a:pt x="67246" y="151638"/>
                      <a:pt x="74486" y="138970"/>
                    </a:cubicBezTo>
                    <a:lnTo>
                      <a:pt x="52102" y="116586"/>
                    </a:lnTo>
                    <a:cubicBezTo>
                      <a:pt x="41910" y="106394"/>
                      <a:pt x="41910" y="89821"/>
                      <a:pt x="52102" y="79629"/>
                    </a:cubicBezTo>
                    <a:lnTo>
                      <a:pt x="79724" y="52102"/>
                    </a:lnTo>
                    <a:cubicBezTo>
                      <a:pt x="89916" y="41910"/>
                      <a:pt x="106394" y="41910"/>
                      <a:pt x="116586" y="52102"/>
                    </a:cubicBezTo>
                    <a:lnTo>
                      <a:pt x="138970" y="74486"/>
                    </a:lnTo>
                    <a:cubicBezTo>
                      <a:pt x="151638" y="67151"/>
                      <a:pt x="165164" y="61627"/>
                      <a:pt x="179356" y="57722"/>
                    </a:cubicBezTo>
                    <a:lnTo>
                      <a:pt x="179356" y="26098"/>
                    </a:lnTo>
                    <a:cubicBezTo>
                      <a:pt x="179356" y="11716"/>
                      <a:pt x="191072" y="0"/>
                      <a:pt x="205550" y="0"/>
                    </a:cubicBezTo>
                    <a:lnTo>
                      <a:pt x="244412" y="0"/>
                    </a:lnTo>
                    <a:cubicBezTo>
                      <a:pt x="258890" y="0"/>
                      <a:pt x="270605" y="11716"/>
                      <a:pt x="270605" y="26098"/>
                    </a:cubicBezTo>
                    <a:lnTo>
                      <a:pt x="270605" y="57722"/>
                    </a:lnTo>
                    <a:cubicBezTo>
                      <a:pt x="284798" y="61627"/>
                      <a:pt x="298323" y="67151"/>
                      <a:pt x="310991" y="74486"/>
                    </a:cubicBezTo>
                    <a:lnTo>
                      <a:pt x="333375" y="52102"/>
                    </a:lnTo>
                    <a:cubicBezTo>
                      <a:pt x="343567" y="41910"/>
                      <a:pt x="360045" y="41910"/>
                      <a:pt x="370237" y="52102"/>
                    </a:cubicBezTo>
                    <a:lnTo>
                      <a:pt x="397859" y="79629"/>
                    </a:lnTo>
                    <a:cubicBezTo>
                      <a:pt x="408051" y="89821"/>
                      <a:pt x="408051" y="106394"/>
                      <a:pt x="397859" y="116586"/>
                    </a:cubicBezTo>
                    <a:lnTo>
                      <a:pt x="375476" y="138970"/>
                    </a:lnTo>
                    <a:cubicBezTo>
                      <a:pt x="382715" y="151638"/>
                      <a:pt x="388334" y="165164"/>
                      <a:pt x="392144" y="179356"/>
                    </a:cubicBezTo>
                    <a:lnTo>
                      <a:pt x="423767" y="179356"/>
                    </a:lnTo>
                    <a:cubicBezTo>
                      <a:pt x="438245" y="179356"/>
                      <a:pt x="449961" y="191072"/>
                      <a:pt x="449961" y="205454"/>
                    </a:cubicBezTo>
                    <a:close/>
                    <a:moveTo>
                      <a:pt x="328708" y="224981"/>
                    </a:moveTo>
                    <a:cubicBezTo>
                      <a:pt x="328708" y="167735"/>
                      <a:pt x="282226" y="121158"/>
                      <a:pt x="224981" y="121158"/>
                    </a:cubicBezTo>
                    <a:cubicBezTo>
                      <a:pt x="167735" y="121158"/>
                      <a:pt x="121253" y="167735"/>
                      <a:pt x="121253" y="224981"/>
                    </a:cubicBezTo>
                    <a:cubicBezTo>
                      <a:pt x="121253" y="282131"/>
                      <a:pt x="167735" y="328708"/>
                      <a:pt x="224981" y="328708"/>
                    </a:cubicBezTo>
                    <a:cubicBezTo>
                      <a:pt x="282226" y="328708"/>
                      <a:pt x="328708" y="282131"/>
                      <a:pt x="328708" y="224981"/>
                    </a:cubicBezTo>
                    <a:close/>
                  </a:path>
                </a:pathLst>
              </a:custGeom>
              <a:solidFill>
                <a:srgbClr val="30E5D0">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255" name="!!LOSS">
            <a:extLst>
              <a:ext uri="{FF2B5EF4-FFF2-40B4-BE49-F238E27FC236}">
                <a16:creationId xmlns:a16="http://schemas.microsoft.com/office/drawing/2014/main" id="{1F23C1EE-70AD-4BCA-9DC8-9697A62EE8B2}"/>
              </a:ext>
            </a:extLst>
          </p:cNvPr>
          <p:cNvGrpSpPr/>
          <p:nvPr/>
        </p:nvGrpSpPr>
        <p:grpSpPr>
          <a:xfrm>
            <a:off x="9184083" y="1566253"/>
            <a:ext cx="1397000" cy="1397000"/>
            <a:chOff x="9343696" y="7017114"/>
            <a:chExt cx="1397000" cy="1397000"/>
          </a:xfrm>
        </p:grpSpPr>
        <p:grpSp>
          <p:nvGrpSpPr>
            <p:cNvPr id="256" name="Group 255">
              <a:extLst>
                <a:ext uri="{FF2B5EF4-FFF2-40B4-BE49-F238E27FC236}">
                  <a16:creationId xmlns:a16="http://schemas.microsoft.com/office/drawing/2014/main" id="{B6E3791F-B78D-4151-8056-A9850E2A681C}"/>
                </a:ext>
              </a:extLst>
            </p:cNvPr>
            <p:cNvGrpSpPr/>
            <p:nvPr/>
          </p:nvGrpSpPr>
          <p:grpSpPr>
            <a:xfrm>
              <a:off x="9343696" y="7017114"/>
              <a:ext cx="1397000" cy="1397000"/>
              <a:chOff x="9343696" y="3829414"/>
              <a:chExt cx="1397000" cy="1397000"/>
            </a:xfrm>
          </p:grpSpPr>
          <p:sp>
            <p:nvSpPr>
              <p:cNvPr id="261" name="Oval 260">
                <a:extLst>
                  <a:ext uri="{FF2B5EF4-FFF2-40B4-BE49-F238E27FC236}">
                    <a16:creationId xmlns:a16="http://schemas.microsoft.com/office/drawing/2014/main" id="{99BF29A8-AF9B-4840-B291-3DA9B25E9D6F}"/>
                  </a:ext>
                </a:extLst>
              </p:cNvPr>
              <p:cNvSpPr/>
              <p:nvPr/>
            </p:nvSpPr>
            <p:spPr bwMode="auto">
              <a:xfrm>
                <a:off x="9343696" y="3829414"/>
                <a:ext cx="1397000" cy="1397000"/>
              </a:xfrm>
              <a:prstGeom prst="ellipse">
                <a:avLst/>
              </a:prstGeom>
              <a:solidFill>
                <a:sysClr val="window" lastClr="FFFFFF"/>
              </a:solidFill>
              <a:ln w="9525" cap="flat" cmpd="sng" algn="ctr">
                <a:solidFill>
                  <a:sysClr val="window" lastClr="FFFFFF">
                    <a:lumMod val="75000"/>
                  </a:sysClr>
                </a:solid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nvGrpSpPr>
              <p:cNvPr id="262" name="Group 261">
                <a:extLst>
                  <a:ext uri="{FF2B5EF4-FFF2-40B4-BE49-F238E27FC236}">
                    <a16:creationId xmlns:a16="http://schemas.microsoft.com/office/drawing/2014/main" id="{B54A1CA0-FFDC-48B9-8660-C851B81F30B9}"/>
                  </a:ext>
                </a:extLst>
              </p:cNvPr>
              <p:cNvGrpSpPr/>
              <p:nvPr/>
            </p:nvGrpSpPr>
            <p:grpSpPr>
              <a:xfrm>
                <a:off x="9343696" y="3829414"/>
                <a:ext cx="1397000" cy="1397000"/>
                <a:chOff x="3924300" y="1634844"/>
                <a:chExt cx="1397000" cy="1397000"/>
              </a:xfrm>
            </p:grpSpPr>
            <p:sp>
              <p:nvSpPr>
                <p:cNvPr id="263" name="Arc 262">
                  <a:extLst>
                    <a:ext uri="{FF2B5EF4-FFF2-40B4-BE49-F238E27FC236}">
                      <a16:creationId xmlns:a16="http://schemas.microsoft.com/office/drawing/2014/main" id="{ED736305-168B-47CA-874C-45008A6FF532}"/>
                    </a:ext>
                  </a:extLst>
                </p:cNvPr>
                <p:cNvSpPr/>
                <p:nvPr/>
              </p:nvSpPr>
              <p:spPr bwMode="auto">
                <a:xfrm>
                  <a:off x="3924300" y="1634844"/>
                  <a:ext cx="1397000" cy="1397000"/>
                </a:xfrm>
                <a:prstGeom prst="arc">
                  <a:avLst>
                    <a:gd name="adj1" fmla="val 19352357"/>
                    <a:gd name="adj2" fmla="val 2301333"/>
                  </a:avLst>
                </a:prstGeom>
                <a:noFill/>
                <a:ln w="38100" cap="rnd" cmpd="sng" algn="ctr">
                  <a:solidFill>
                    <a:srgbClr val="008272">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264" name="Arc 263">
                  <a:extLst>
                    <a:ext uri="{FF2B5EF4-FFF2-40B4-BE49-F238E27FC236}">
                      <a16:creationId xmlns:a16="http://schemas.microsoft.com/office/drawing/2014/main" id="{041222D8-8490-4587-B472-2953E34C5195}"/>
                    </a:ext>
                  </a:extLst>
                </p:cNvPr>
                <p:cNvSpPr/>
                <p:nvPr/>
              </p:nvSpPr>
              <p:spPr bwMode="auto">
                <a:xfrm flipH="1">
                  <a:off x="3924300" y="1634844"/>
                  <a:ext cx="1397000" cy="1397000"/>
                </a:xfrm>
                <a:prstGeom prst="arc">
                  <a:avLst>
                    <a:gd name="adj1" fmla="val 19352357"/>
                    <a:gd name="adj2" fmla="val 2301333"/>
                  </a:avLst>
                </a:prstGeom>
                <a:noFill/>
                <a:ln w="38100" cap="rnd" cmpd="sng" algn="ctr">
                  <a:solidFill>
                    <a:srgbClr val="008272">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mn-ea"/>
                    <a:cs typeface="Segoe UI" pitchFamily="34" charset="0"/>
                  </a:endParaRPr>
                </a:p>
              </p:txBody>
            </p:sp>
          </p:grpSp>
        </p:grpSp>
        <p:sp>
          <p:nvSpPr>
            <p:cNvPr id="257" name="Flowchart: Connector 256">
              <a:extLst>
                <a:ext uri="{FF2B5EF4-FFF2-40B4-BE49-F238E27FC236}">
                  <a16:creationId xmlns:a16="http://schemas.microsoft.com/office/drawing/2014/main" id="{7E16CA5B-3AE4-4378-9B44-0FF8B19F5FFA}"/>
                </a:ext>
              </a:extLst>
            </p:cNvPr>
            <p:cNvSpPr/>
            <p:nvPr/>
          </p:nvSpPr>
          <p:spPr bwMode="auto">
            <a:xfrm>
              <a:off x="9495958" y="7169376"/>
              <a:ext cx="1092476" cy="1092476"/>
            </a:xfrm>
            <a:prstGeom prst="flowChartConnector">
              <a:avLst/>
            </a:prstGeom>
            <a:solidFill>
              <a:srgbClr val="E7E6E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nvGrpSpPr>
            <p:cNvPr id="258" name="Group 257">
              <a:extLst>
                <a:ext uri="{FF2B5EF4-FFF2-40B4-BE49-F238E27FC236}">
                  <a16:creationId xmlns:a16="http://schemas.microsoft.com/office/drawing/2014/main" id="{5D5A7826-E92B-472C-864D-6157CF3E9673}"/>
                </a:ext>
              </a:extLst>
            </p:cNvPr>
            <p:cNvGrpSpPr/>
            <p:nvPr/>
          </p:nvGrpSpPr>
          <p:grpSpPr>
            <a:xfrm>
              <a:off x="9824162" y="7509280"/>
              <a:ext cx="457200" cy="457200"/>
              <a:chOff x="7724557" y="3951300"/>
              <a:chExt cx="686574" cy="686582"/>
            </a:xfrm>
          </p:grpSpPr>
          <p:sp>
            <p:nvSpPr>
              <p:cNvPr id="259" name="Freeform: Shape 258">
                <a:extLst>
                  <a:ext uri="{FF2B5EF4-FFF2-40B4-BE49-F238E27FC236}">
                    <a16:creationId xmlns:a16="http://schemas.microsoft.com/office/drawing/2014/main" id="{FBC024A2-E5AF-4D93-9043-F5D4F5008B6D}"/>
                  </a:ext>
                </a:extLst>
              </p:cNvPr>
              <p:cNvSpPr/>
              <p:nvPr/>
            </p:nvSpPr>
            <p:spPr>
              <a:xfrm>
                <a:off x="7724557" y="3951300"/>
                <a:ext cx="686574" cy="686582"/>
              </a:xfrm>
              <a:custGeom>
                <a:avLst/>
                <a:gdLst>
                  <a:gd name="connsiteX0" fmla="*/ 923480 w 945819"/>
                  <a:gd name="connsiteY0" fmla="*/ 815628 h 945833"/>
                  <a:gd name="connsiteX1" fmla="*/ 721740 w 945819"/>
                  <a:gd name="connsiteY1" fmla="*/ 613898 h 945833"/>
                  <a:gd name="connsiteX2" fmla="*/ 630662 w 945819"/>
                  <a:gd name="connsiteY2" fmla="*/ 600344 h 945833"/>
                  <a:gd name="connsiteX3" fmla="*/ 615994 w 945819"/>
                  <a:gd name="connsiteY3" fmla="*/ 105549 h 945833"/>
                  <a:gd name="connsiteX4" fmla="*/ 105549 w 945819"/>
                  <a:gd name="connsiteY4" fmla="*/ 105549 h 945833"/>
                  <a:gd name="connsiteX5" fmla="*/ 105549 w 945819"/>
                  <a:gd name="connsiteY5" fmla="*/ 616013 h 945833"/>
                  <a:gd name="connsiteX6" fmla="*/ 600316 w 945819"/>
                  <a:gd name="connsiteY6" fmla="*/ 630681 h 945833"/>
                  <a:gd name="connsiteX7" fmla="*/ 613879 w 945819"/>
                  <a:gd name="connsiteY7" fmla="*/ 721759 h 945833"/>
                  <a:gd name="connsiteX8" fmla="*/ 815600 w 945819"/>
                  <a:gd name="connsiteY8" fmla="*/ 923489 h 945833"/>
                  <a:gd name="connsiteX9" fmla="*/ 923489 w 945819"/>
                  <a:gd name="connsiteY9" fmla="*/ 923480 h 945833"/>
                  <a:gd name="connsiteX10" fmla="*/ 923480 w 945819"/>
                  <a:gd name="connsiteY10" fmla="*/ 815628 h 945833"/>
                  <a:gd name="connsiteX11" fmla="*/ 360781 w 945819"/>
                  <a:gd name="connsiteY11" fmla="*/ 636520 h 945833"/>
                  <a:gd name="connsiteX12" fmla="*/ 85051 w 945819"/>
                  <a:gd name="connsiteY12" fmla="*/ 360790 h 945833"/>
                  <a:gd name="connsiteX13" fmla="*/ 360762 w 945819"/>
                  <a:gd name="connsiteY13" fmla="*/ 85070 h 945833"/>
                  <a:gd name="connsiteX14" fmla="*/ 636482 w 945819"/>
                  <a:gd name="connsiteY14" fmla="*/ 360790 h 945833"/>
                  <a:gd name="connsiteX15" fmla="*/ 360781 w 945819"/>
                  <a:gd name="connsiteY15" fmla="*/ 636520 h 94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19" h="945833">
                    <a:moveTo>
                      <a:pt x="923480" y="815628"/>
                    </a:moveTo>
                    <a:lnTo>
                      <a:pt x="721740" y="613898"/>
                    </a:lnTo>
                    <a:cubicBezTo>
                      <a:pt x="691508" y="624147"/>
                      <a:pt x="657475" y="619604"/>
                      <a:pt x="630662" y="600344"/>
                    </a:cubicBezTo>
                    <a:cubicBezTo>
                      <a:pt x="756468" y="458774"/>
                      <a:pt x="751611" y="241185"/>
                      <a:pt x="615994" y="105549"/>
                    </a:cubicBezTo>
                    <a:cubicBezTo>
                      <a:pt x="475271" y="-35183"/>
                      <a:pt x="246281" y="-35183"/>
                      <a:pt x="105549" y="105549"/>
                    </a:cubicBezTo>
                    <a:cubicBezTo>
                      <a:pt x="-35183" y="246290"/>
                      <a:pt x="-35183" y="475271"/>
                      <a:pt x="105549" y="616013"/>
                    </a:cubicBezTo>
                    <a:cubicBezTo>
                      <a:pt x="241175" y="751639"/>
                      <a:pt x="458774" y="756487"/>
                      <a:pt x="600316" y="630681"/>
                    </a:cubicBezTo>
                    <a:cubicBezTo>
                      <a:pt x="619566" y="657475"/>
                      <a:pt x="624119" y="691517"/>
                      <a:pt x="613879" y="721759"/>
                    </a:cubicBezTo>
                    <a:lnTo>
                      <a:pt x="815600" y="923489"/>
                    </a:lnTo>
                    <a:cubicBezTo>
                      <a:pt x="845394" y="953283"/>
                      <a:pt x="893686" y="953283"/>
                      <a:pt x="923489" y="923480"/>
                    </a:cubicBezTo>
                    <a:cubicBezTo>
                      <a:pt x="953264" y="893705"/>
                      <a:pt x="953264" y="845413"/>
                      <a:pt x="923480" y="815628"/>
                    </a:cubicBezTo>
                    <a:close/>
                    <a:moveTo>
                      <a:pt x="360781" y="636520"/>
                    </a:moveTo>
                    <a:cubicBezTo>
                      <a:pt x="208733" y="636491"/>
                      <a:pt x="85051" y="512819"/>
                      <a:pt x="85051" y="360790"/>
                    </a:cubicBezTo>
                    <a:cubicBezTo>
                      <a:pt x="85061" y="208762"/>
                      <a:pt x="208733" y="85070"/>
                      <a:pt x="360762" y="85070"/>
                    </a:cubicBezTo>
                    <a:cubicBezTo>
                      <a:pt x="512800" y="85070"/>
                      <a:pt x="636472" y="208752"/>
                      <a:pt x="636482" y="360790"/>
                    </a:cubicBezTo>
                    <a:cubicBezTo>
                      <a:pt x="636472" y="512819"/>
                      <a:pt x="512800" y="636501"/>
                      <a:pt x="360781" y="636520"/>
                    </a:cubicBezTo>
                    <a:close/>
                  </a:path>
                </a:pathLst>
              </a:custGeom>
              <a:solidFill>
                <a:srgbClr val="3C3C4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ndParaRPr>
              </a:p>
            </p:txBody>
          </p:sp>
          <p:pic>
            <p:nvPicPr>
              <p:cNvPr id="260" name="Graphic 259">
                <a:extLst>
                  <a:ext uri="{FF2B5EF4-FFF2-40B4-BE49-F238E27FC236}">
                    <a16:creationId xmlns:a16="http://schemas.microsoft.com/office/drawing/2014/main" id="{C076BD6B-059D-4586-AD03-7849F83A79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80649" y="4088139"/>
                <a:ext cx="213558" cy="213558"/>
              </a:xfrm>
              <a:prstGeom prst="rect">
                <a:avLst/>
              </a:prstGeom>
            </p:spPr>
          </p:pic>
        </p:grpSp>
      </p:grpSp>
    </p:spTree>
    <p:extLst>
      <p:ext uri="{BB962C8B-B14F-4D97-AF65-F5344CB8AC3E}">
        <p14:creationId xmlns:p14="http://schemas.microsoft.com/office/powerpoint/2010/main" val="24371527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F90781C8-D27C-484E-B507-8AFF2BA716A0}"/>
              </a:ext>
            </a:extLst>
          </p:cNvPr>
          <p:cNvGrpSpPr/>
          <p:nvPr/>
        </p:nvGrpSpPr>
        <p:grpSpPr>
          <a:xfrm>
            <a:off x="542063" y="2390214"/>
            <a:ext cx="11107875" cy="3375722"/>
            <a:chOff x="542063" y="2390214"/>
            <a:chExt cx="11107875" cy="3375722"/>
          </a:xfrm>
        </p:grpSpPr>
        <p:pic>
          <p:nvPicPr>
            <p:cNvPr id="4" name="Picture 3">
              <a:extLst>
                <a:ext uri="{FF2B5EF4-FFF2-40B4-BE49-F238E27FC236}">
                  <a16:creationId xmlns:a16="http://schemas.microsoft.com/office/drawing/2014/main" id="{0AFDD271-7E2A-9648-812F-98B61F07ACED}"/>
                </a:ext>
              </a:extLst>
            </p:cNvPr>
            <p:cNvPicPr>
              <a:picLocks noChangeAspect="1"/>
            </p:cNvPicPr>
            <p:nvPr/>
          </p:nvPicPr>
          <p:blipFill rotWithShape="1">
            <a:blip r:embed="rId3"/>
            <a:srcRect r="91951" b="41236"/>
            <a:stretch/>
          </p:blipFill>
          <p:spPr>
            <a:xfrm rot="1311501" flipH="1">
              <a:off x="10591762" y="2390214"/>
              <a:ext cx="894089" cy="3375722"/>
            </a:xfrm>
            <a:prstGeom prst="rect">
              <a:avLst/>
            </a:prstGeom>
          </p:spPr>
        </p:pic>
        <p:pic>
          <p:nvPicPr>
            <p:cNvPr id="5" name="Picture 4">
              <a:extLst>
                <a:ext uri="{FF2B5EF4-FFF2-40B4-BE49-F238E27FC236}">
                  <a16:creationId xmlns:a16="http://schemas.microsoft.com/office/drawing/2014/main" id="{06E97579-0DF3-6F48-A843-050F854B113B}"/>
                </a:ext>
              </a:extLst>
            </p:cNvPr>
            <p:cNvPicPr>
              <a:picLocks noChangeAspect="1"/>
            </p:cNvPicPr>
            <p:nvPr/>
          </p:nvPicPr>
          <p:blipFill rotWithShape="1">
            <a:blip r:embed="rId3"/>
            <a:srcRect t="21168" r="91951" b="41236"/>
            <a:stretch/>
          </p:blipFill>
          <p:spPr>
            <a:xfrm rot="20789000">
              <a:off x="925036" y="3576741"/>
              <a:ext cx="894089" cy="2159713"/>
            </a:xfrm>
            <a:prstGeom prst="rect">
              <a:avLst/>
            </a:prstGeom>
          </p:spPr>
        </p:pic>
        <p:pic>
          <p:nvPicPr>
            <p:cNvPr id="6" name="Picture 5">
              <a:extLst>
                <a:ext uri="{FF2B5EF4-FFF2-40B4-BE49-F238E27FC236}">
                  <a16:creationId xmlns:a16="http://schemas.microsoft.com/office/drawing/2014/main" id="{7DBC728F-9330-7F4F-9449-67C02D12B1D2}"/>
                </a:ext>
              </a:extLst>
            </p:cNvPr>
            <p:cNvPicPr>
              <a:picLocks noChangeAspect="1"/>
            </p:cNvPicPr>
            <p:nvPr/>
          </p:nvPicPr>
          <p:blipFill rotWithShape="1">
            <a:blip r:embed="rId3"/>
            <a:srcRect t="1" b="71435"/>
            <a:stretch/>
          </p:blipFill>
          <p:spPr>
            <a:xfrm>
              <a:off x="542063" y="2518904"/>
              <a:ext cx="11107875" cy="1501103"/>
            </a:xfrm>
            <a:prstGeom prst="rect">
              <a:avLst/>
            </a:prstGeom>
          </p:spPr>
        </p:pic>
      </p:grpSp>
      <p:sp>
        <p:nvSpPr>
          <p:cNvPr id="7" name="Title 6">
            <a:extLst>
              <a:ext uri="{FF2B5EF4-FFF2-40B4-BE49-F238E27FC236}">
                <a16:creationId xmlns:a16="http://schemas.microsoft.com/office/drawing/2014/main" id="{BFE22556-F53D-4304-A2AB-5536EB57BB51}"/>
              </a:ext>
            </a:extLst>
          </p:cNvPr>
          <p:cNvSpPr>
            <a:spLocks noGrp="1"/>
          </p:cNvSpPr>
          <p:nvPr>
            <p:ph type="title"/>
          </p:nvPr>
        </p:nvSpPr>
        <p:spPr>
          <a:xfrm>
            <a:off x="588264" y="497705"/>
            <a:ext cx="11018520" cy="430887"/>
          </a:xfrm>
        </p:spPr>
        <p:txBody>
          <a:bodyPr>
            <a:noAutofit/>
          </a:bodyPr>
          <a:lstStyle/>
          <a:p>
            <a:r>
              <a:rPr lang="en-US" sz="2800"/>
              <a:t>Dynamics 365 Fraud Protection</a:t>
            </a:r>
            <a:r>
              <a:rPr lang="en-IN" sz="2800"/>
              <a:t> with purchase protection capability</a:t>
            </a:r>
            <a:endParaRPr lang="en-US" sz="2800"/>
          </a:p>
        </p:txBody>
      </p:sp>
      <p:sp>
        <p:nvSpPr>
          <p:cNvPr id="10" name="Rectangle 9">
            <a:extLst>
              <a:ext uri="{FF2B5EF4-FFF2-40B4-BE49-F238E27FC236}">
                <a16:creationId xmlns:a16="http://schemas.microsoft.com/office/drawing/2014/main" id="{1E7BD5B4-D311-474A-B2F2-100B341D09C6}"/>
              </a:ext>
            </a:extLst>
          </p:cNvPr>
          <p:cNvSpPr/>
          <p:nvPr/>
        </p:nvSpPr>
        <p:spPr bwMode="auto">
          <a:xfrm>
            <a:off x="5048643" y="1085285"/>
            <a:ext cx="2094715" cy="61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Help protect </a:t>
            </a:r>
            <a:b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your </a:t>
            </a:r>
            <a:r>
              <a:rPr kumimoji="0" lang="en-US" sz="18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revenue</a:t>
            </a:r>
            <a:endParaRPr kumimoji="0" lang="en-US" sz="16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1AF74469-4CC8-4812-A962-D9C909F8AAD1}"/>
              </a:ext>
            </a:extLst>
          </p:cNvPr>
          <p:cNvSpPr/>
          <p:nvPr/>
        </p:nvSpPr>
        <p:spPr bwMode="auto">
          <a:xfrm>
            <a:off x="1474858" y="1165605"/>
            <a:ext cx="2881736" cy="683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enhance</a:t>
            </a:r>
            <a:b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 shopping experience</a:t>
            </a:r>
          </a:p>
        </p:txBody>
      </p:sp>
      <p:grpSp>
        <p:nvGrpSpPr>
          <p:cNvPr id="23" name="Group 22">
            <a:extLst>
              <a:ext uri="{FF2B5EF4-FFF2-40B4-BE49-F238E27FC236}">
                <a16:creationId xmlns:a16="http://schemas.microsoft.com/office/drawing/2014/main" id="{21C839C7-A0A6-4244-870E-94DEFCBD8DFE}"/>
              </a:ext>
            </a:extLst>
          </p:cNvPr>
          <p:cNvGrpSpPr/>
          <p:nvPr/>
        </p:nvGrpSpPr>
        <p:grpSpPr>
          <a:xfrm>
            <a:off x="3066164" y="2139630"/>
            <a:ext cx="1321202" cy="1420631"/>
            <a:chOff x="3765181" y="2418076"/>
            <a:chExt cx="1399958" cy="1420631"/>
          </a:xfrm>
        </p:grpSpPr>
        <p:sp>
          <p:nvSpPr>
            <p:cNvPr id="153" name="Arc 152">
              <a:extLst>
                <a:ext uri="{FF2B5EF4-FFF2-40B4-BE49-F238E27FC236}">
                  <a16:creationId xmlns:a16="http://schemas.microsoft.com/office/drawing/2014/main" id="{3350270C-7BA6-49E7-9DC4-CD7561983736}"/>
                </a:ext>
              </a:extLst>
            </p:cNvPr>
            <p:cNvSpPr/>
            <p:nvPr/>
          </p:nvSpPr>
          <p:spPr>
            <a:xfrm rot="20645021" flipH="1">
              <a:off x="3765181" y="243874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40" name="Arc 139">
              <a:extLst>
                <a:ext uri="{FF2B5EF4-FFF2-40B4-BE49-F238E27FC236}">
                  <a16:creationId xmlns:a16="http://schemas.microsoft.com/office/drawing/2014/main" id="{57128133-DB48-437F-9EF6-742B31070F63}"/>
                </a:ext>
              </a:extLst>
            </p:cNvPr>
            <p:cNvSpPr/>
            <p:nvPr/>
          </p:nvSpPr>
          <p:spPr>
            <a:xfrm rot="900000">
              <a:off x="3765181" y="2438749"/>
              <a:ext cx="1399958" cy="1399958"/>
            </a:xfrm>
            <a:prstGeom prst="arc">
              <a:avLst>
                <a:gd name="adj1" fmla="val 9691202"/>
                <a:gd name="adj2" fmla="val 19386433"/>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9B1000B4-E646-4DF6-9B74-DCE82D341CCF}"/>
                </a:ext>
              </a:extLst>
            </p:cNvPr>
            <p:cNvGrpSpPr/>
            <p:nvPr/>
          </p:nvGrpSpPr>
          <p:grpSpPr>
            <a:xfrm>
              <a:off x="3878947" y="2592489"/>
              <a:ext cx="1172426" cy="1104661"/>
              <a:chOff x="9343890" y="2258163"/>
              <a:chExt cx="1172426" cy="1104661"/>
            </a:xfrm>
          </p:grpSpPr>
          <p:sp>
            <p:nvSpPr>
              <p:cNvPr id="91" name="Flowchart: Connector 90">
                <a:extLst>
                  <a:ext uri="{FF2B5EF4-FFF2-40B4-BE49-F238E27FC236}">
                    <a16:creationId xmlns:a16="http://schemas.microsoft.com/office/drawing/2014/main" id="{848785EE-4604-4D4B-811D-88719EB944DF}"/>
                  </a:ext>
                </a:extLst>
              </p:cNvPr>
              <p:cNvSpPr/>
              <p:nvPr/>
            </p:nvSpPr>
            <p:spPr bwMode="auto">
              <a:xfrm>
                <a:off x="9343890" y="2258163"/>
                <a:ext cx="1172426" cy="1104661"/>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92" name="Group 91">
                <a:extLst>
                  <a:ext uri="{FF2B5EF4-FFF2-40B4-BE49-F238E27FC236}">
                    <a16:creationId xmlns:a16="http://schemas.microsoft.com/office/drawing/2014/main" id="{7A9DE021-21D8-4652-89B0-828107A006AD}"/>
                  </a:ext>
                </a:extLst>
              </p:cNvPr>
              <p:cNvGrpSpPr/>
              <p:nvPr/>
            </p:nvGrpSpPr>
            <p:grpSpPr>
              <a:xfrm>
                <a:off x="9647179" y="2635376"/>
                <a:ext cx="565830" cy="338081"/>
                <a:chOff x="2891208" y="5379095"/>
                <a:chExt cx="643647" cy="384574"/>
              </a:xfrm>
              <a:solidFill>
                <a:sysClr val="window" lastClr="FFFFFF"/>
              </a:solidFill>
            </p:grpSpPr>
            <p:sp>
              <p:nvSpPr>
                <p:cNvPr id="93" name="Freeform: Shape 92">
                  <a:extLst>
                    <a:ext uri="{FF2B5EF4-FFF2-40B4-BE49-F238E27FC236}">
                      <a16:creationId xmlns:a16="http://schemas.microsoft.com/office/drawing/2014/main" id="{88C727A4-DAED-4755-9DDC-A3874A670DE1}"/>
                    </a:ext>
                  </a:extLst>
                </p:cNvPr>
                <p:cNvSpPr/>
                <p:nvPr/>
              </p:nvSpPr>
              <p:spPr>
                <a:xfrm>
                  <a:off x="3365912" y="5379095"/>
                  <a:ext cx="168943" cy="197019"/>
                </a:xfrm>
                <a:custGeom>
                  <a:avLst/>
                  <a:gdLst>
                    <a:gd name="connsiteX0" fmla="*/ 398078 w 428918"/>
                    <a:gd name="connsiteY0" fmla="*/ 371969 h 503512"/>
                    <a:gd name="connsiteX1" fmla="*/ 191078 w 428918"/>
                    <a:gd name="connsiteY1" fmla="*/ 45618 h 503512"/>
                    <a:gd name="connsiteX2" fmla="*/ 136997 w 428918"/>
                    <a:gd name="connsiteY2" fmla="*/ 34429 h 503512"/>
                    <a:gd name="connsiteX3" fmla="*/ 45618 w 428918"/>
                    <a:gd name="connsiteY3" fmla="*/ 92240 h 503512"/>
                    <a:gd name="connsiteX4" fmla="*/ 34429 w 428918"/>
                    <a:gd name="connsiteY4" fmla="*/ 146321 h 503512"/>
                    <a:gd name="connsiteX5" fmla="*/ 241429 w 428918"/>
                    <a:gd name="connsiteY5" fmla="*/ 472672 h 503512"/>
                    <a:gd name="connsiteX6" fmla="*/ 295510 w 428918"/>
                    <a:gd name="connsiteY6" fmla="*/ 483861 h 503512"/>
                    <a:gd name="connsiteX7" fmla="*/ 386888 w 428918"/>
                    <a:gd name="connsiteY7" fmla="*/ 426050 h 503512"/>
                    <a:gd name="connsiteX8" fmla="*/ 398078 w 428918"/>
                    <a:gd name="connsiteY8" fmla="*/ 371969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918" h="503512">
                      <a:moveTo>
                        <a:pt x="398078" y="371969"/>
                      </a:moveTo>
                      <a:lnTo>
                        <a:pt x="191078" y="45618"/>
                      </a:lnTo>
                      <a:cubicBezTo>
                        <a:pt x="179889" y="26970"/>
                        <a:pt x="155645" y="21375"/>
                        <a:pt x="136997" y="34429"/>
                      </a:cubicBezTo>
                      <a:lnTo>
                        <a:pt x="45618" y="92240"/>
                      </a:lnTo>
                      <a:cubicBezTo>
                        <a:pt x="26970" y="103429"/>
                        <a:pt x="21375" y="127672"/>
                        <a:pt x="34429" y="146321"/>
                      </a:cubicBezTo>
                      <a:lnTo>
                        <a:pt x="241429" y="472672"/>
                      </a:lnTo>
                      <a:cubicBezTo>
                        <a:pt x="252618" y="491321"/>
                        <a:pt x="276861" y="496915"/>
                        <a:pt x="295510" y="483861"/>
                      </a:cubicBezTo>
                      <a:lnTo>
                        <a:pt x="386888" y="426050"/>
                      </a:lnTo>
                      <a:cubicBezTo>
                        <a:pt x="403672" y="414861"/>
                        <a:pt x="409267" y="390618"/>
                        <a:pt x="398078" y="371969"/>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4" name="Freeform: Shape 93">
                  <a:extLst>
                    <a:ext uri="{FF2B5EF4-FFF2-40B4-BE49-F238E27FC236}">
                      <a16:creationId xmlns:a16="http://schemas.microsoft.com/office/drawing/2014/main" id="{3CE09A9C-4C02-4A1A-BB76-082C24655036}"/>
                    </a:ext>
                  </a:extLst>
                </p:cNvPr>
                <p:cNvSpPr/>
                <p:nvPr/>
              </p:nvSpPr>
              <p:spPr>
                <a:xfrm>
                  <a:off x="3033704" y="5614653"/>
                  <a:ext cx="95490" cy="116753"/>
                </a:xfrm>
                <a:custGeom>
                  <a:avLst/>
                  <a:gdLst>
                    <a:gd name="connsiteX0" fmla="*/ 204632 w 242432"/>
                    <a:gd name="connsiteY0" fmla="*/ 118693 h 298378"/>
                    <a:gd name="connsiteX1" fmla="*/ 219551 w 242432"/>
                    <a:gd name="connsiteY1" fmla="*/ 96315 h 298378"/>
                    <a:gd name="connsiteX2" fmla="*/ 227011 w 242432"/>
                    <a:gd name="connsiteY2" fmla="*/ 62747 h 298378"/>
                    <a:gd name="connsiteX3" fmla="*/ 208362 w 242432"/>
                    <a:gd name="connsiteY3" fmla="*/ 34774 h 298378"/>
                    <a:gd name="connsiteX4" fmla="*/ 184119 w 242432"/>
                    <a:gd name="connsiteY4" fmla="*/ 27315 h 298378"/>
                    <a:gd name="connsiteX5" fmla="*/ 146821 w 242432"/>
                    <a:gd name="connsiteY5" fmla="*/ 45963 h 298378"/>
                    <a:gd name="connsiteX6" fmla="*/ 102065 w 242432"/>
                    <a:gd name="connsiteY6" fmla="*/ 111234 h 298378"/>
                    <a:gd name="connsiteX7" fmla="*/ 100200 w 242432"/>
                    <a:gd name="connsiteY7" fmla="*/ 113098 h 298378"/>
                    <a:gd name="connsiteX8" fmla="*/ 47984 w 242432"/>
                    <a:gd name="connsiteY8" fmla="*/ 189558 h 298378"/>
                    <a:gd name="connsiteX9" fmla="*/ 46119 w 242432"/>
                    <a:gd name="connsiteY9" fmla="*/ 193288 h 298378"/>
                    <a:gd name="connsiteX10" fmla="*/ 34930 w 242432"/>
                    <a:gd name="connsiteY10" fmla="*/ 210071 h 298378"/>
                    <a:gd name="connsiteX11" fmla="*/ 46119 w 242432"/>
                    <a:gd name="connsiteY11" fmla="*/ 271612 h 298378"/>
                    <a:gd name="connsiteX12" fmla="*/ 79686 w 242432"/>
                    <a:gd name="connsiteY12" fmla="*/ 279071 h 298378"/>
                    <a:gd name="connsiteX13" fmla="*/ 107659 w 242432"/>
                    <a:gd name="connsiteY13" fmla="*/ 260423 h 298378"/>
                    <a:gd name="connsiteX14" fmla="*/ 115119 w 242432"/>
                    <a:gd name="connsiteY14" fmla="*/ 249233 h 298378"/>
                    <a:gd name="connsiteX15" fmla="*/ 118848 w 242432"/>
                    <a:gd name="connsiteY15" fmla="*/ 241774 h 298378"/>
                    <a:gd name="connsiteX16" fmla="*/ 204632 w 242432"/>
                    <a:gd name="connsiteY16" fmla="*/ 118693 h 298378"/>
                    <a:gd name="connsiteX17" fmla="*/ 204632 w 242432"/>
                    <a:gd name="connsiteY17" fmla="*/ 118693 h 2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432" h="298378">
                      <a:moveTo>
                        <a:pt x="204632" y="118693"/>
                      </a:moveTo>
                      <a:lnTo>
                        <a:pt x="219551" y="96315"/>
                      </a:lnTo>
                      <a:cubicBezTo>
                        <a:pt x="227011" y="86990"/>
                        <a:pt x="228875" y="73936"/>
                        <a:pt x="227011" y="62747"/>
                      </a:cubicBezTo>
                      <a:cubicBezTo>
                        <a:pt x="225146" y="51558"/>
                        <a:pt x="217686" y="40369"/>
                        <a:pt x="208362" y="34774"/>
                      </a:cubicBezTo>
                      <a:cubicBezTo>
                        <a:pt x="200903" y="29180"/>
                        <a:pt x="193443" y="27315"/>
                        <a:pt x="184119" y="27315"/>
                      </a:cubicBezTo>
                      <a:cubicBezTo>
                        <a:pt x="169200" y="27315"/>
                        <a:pt x="156146" y="34774"/>
                        <a:pt x="146821" y="45963"/>
                      </a:cubicBezTo>
                      <a:lnTo>
                        <a:pt x="102065" y="111234"/>
                      </a:lnTo>
                      <a:cubicBezTo>
                        <a:pt x="102065" y="111234"/>
                        <a:pt x="102065" y="113098"/>
                        <a:pt x="100200" y="113098"/>
                      </a:cubicBezTo>
                      <a:cubicBezTo>
                        <a:pt x="83416" y="137342"/>
                        <a:pt x="64767" y="165315"/>
                        <a:pt x="47984" y="189558"/>
                      </a:cubicBezTo>
                      <a:cubicBezTo>
                        <a:pt x="47984" y="191423"/>
                        <a:pt x="46119" y="191423"/>
                        <a:pt x="46119" y="193288"/>
                      </a:cubicBezTo>
                      <a:lnTo>
                        <a:pt x="34930" y="210071"/>
                      </a:lnTo>
                      <a:cubicBezTo>
                        <a:pt x="21876" y="230585"/>
                        <a:pt x="25605" y="256693"/>
                        <a:pt x="46119" y="271612"/>
                      </a:cubicBezTo>
                      <a:cubicBezTo>
                        <a:pt x="55443" y="279071"/>
                        <a:pt x="68497" y="280936"/>
                        <a:pt x="79686" y="279071"/>
                      </a:cubicBezTo>
                      <a:cubicBezTo>
                        <a:pt x="90876" y="277206"/>
                        <a:pt x="102065" y="269747"/>
                        <a:pt x="107659" y="260423"/>
                      </a:cubicBezTo>
                      <a:lnTo>
                        <a:pt x="115119" y="249233"/>
                      </a:lnTo>
                      <a:cubicBezTo>
                        <a:pt x="116984" y="247369"/>
                        <a:pt x="116984" y="243639"/>
                        <a:pt x="118848" y="241774"/>
                      </a:cubicBezTo>
                      <a:lnTo>
                        <a:pt x="204632" y="118693"/>
                      </a:lnTo>
                      <a:cubicBezTo>
                        <a:pt x="202767" y="120558"/>
                        <a:pt x="202767" y="120558"/>
                        <a:pt x="204632" y="118693"/>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5" name="Freeform: Shape 94">
                  <a:extLst>
                    <a:ext uri="{FF2B5EF4-FFF2-40B4-BE49-F238E27FC236}">
                      <a16:creationId xmlns:a16="http://schemas.microsoft.com/office/drawing/2014/main" id="{C6256D14-0F8D-4385-930E-1F72655BB698}"/>
                    </a:ext>
                  </a:extLst>
                </p:cNvPr>
                <p:cNvSpPr/>
                <p:nvPr/>
              </p:nvSpPr>
              <p:spPr>
                <a:xfrm>
                  <a:off x="3087111" y="5436327"/>
                  <a:ext cx="367268" cy="189722"/>
                </a:xfrm>
                <a:custGeom>
                  <a:avLst/>
                  <a:gdLst>
                    <a:gd name="connsiteX0" fmla="*/ 734797 w 932431"/>
                    <a:gd name="connsiteY0" fmla="*/ 56000 h 484864"/>
                    <a:gd name="connsiteX1" fmla="*/ 703095 w 932431"/>
                    <a:gd name="connsiteY1" fmla="*/ 44811 h 484864"/>
                    <a:gd name="connsiteX2" fmla="*/ 667662 w 932431"/>
                    <a:gd name="connsiteY2" fmla="*/ 59730 h 484864"/>
                    <a:gd name="connsiteX3" fmla="*/ 628500 w 932431"/>
                    <a:gd name="connsiteY3" fmla="*/ 63460 h 484864"/>
                    <a:gd name="connsiteX4" fmla="*/ 509149 w 932431"/>
                    <a:gd name="connsiteY4" fmla="*/ 37352 h 484864"/>
                    <a:gd name="connsiteX5" fmla="*/ 317068 w 932431"/>
                    <a:gd name="connsiteY5" fmla="*/ 35487 h 484864"/>
                    <a:gd name="connsiteX6" fmla="*/ 203311 w 932431"/>
                    <a:gd name="connsiteY6" fmla="*/ 56000 h 484864"/>
                    <a:gd name="connsiteX7" fmla="*/ 130582 w 932431"/>
                    <a:gd name="connsiteY7" fmla="*/ 100757 h 484864"/>
                    <a:gd name="connsiteX8" fmla="*/ 33609 w 932431"/>
                    <a:gd name="connsiteY8" fmla="*/ 225703 h 484864"/>
                    <a:gd name="connsiteX9" fmla="*/ 28014 w 932431"/>
                    <a:gd name="connsiteY9" fmla="*/ 248081 h 484864"/>
                    <a:gd name="connsiteX10" fmla="*/ 39203 w 932431"/>
                    <a:gd name="connsiteY10" fmla="*/ 268595 h 484864"/>
                    <a:gd name="connsiteX11" fmla="*/ 70906 w 932431"/>
                    <a:gd name="connsiteY11" fmla="*/ 270460 h 484864"/>
                    <a:gd name="connsiteX12" fmla="*/ 276041 w 932431"/>
                    <a:gd name="connsiteY12" fmla="*/ 164163 h 484864"/>
                    <a:gd name="connsiteX13" fmla="*/ 343176 w 932431"/>
                    <a:gd name="connsiteY13" fmla="*/ 167892 h 484864"/>
                    <a:gd name="connsiteX14" fmla="*/ 783284 w 932431"/>
                    <a:gd name="connsiteY14" fmla="*/ 453216 h 484864"/>
                    <a:gd name="connsiteX15" fmla="*/ 796338 w 932431"/>
                    <a:gd name="connsiteY15" fmla="*/ 464405 h 484864"/>
                    <a:gd name="connsiteX16" fmla="*/ 900770 w 932431"/>
                    <a:gd name="connsiteY16" fmla="*/ 365568 h 484864"/>
                    <a:gd name="connsiteX17" fmla="*/ 904500 w 932431"/>
                    <a:gd name="connsiteY17" fmla="*/ 332000 h 484864"/>
                    <a:gd name="connsiteX18" fmla="*/ 734797 w 932431"/>
                    <a:gd name="connsiteY18" fmla="*/ 56000 h 48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431" h="484864">
                      <a:moveTo>
                        <a:pt x="734797" y="56000"/>
                      </a:moveTo>
                      <a:cubicBezTo>
                        <a:pt x="727338" y="44811"/>
                        <a:pt x="714284" y="41082"/>
                        <a:pt x="703095" y="44811"/>
                      </a:cubicBezTo>
                      <a:lnTo>
                        <a:pt x="667662" y="59730"/>
                      </a:lnTo>
                      <a:cubicBezTo>
                        <a:pt x="654608" y="65325"/>
                        <a:pt x="641554" y="65325"/>
                        <a:pt x="628500" y="63460"/>
                      </a:cubicBezTo>
                      <a:lnTo>
                        <a:pt x="509149" y="37352"/>
                      </a:lnTo>
                      <a:cubicBezTo>
                        <a:pt x="445743" y="24298"/>
                        <a:pt x="380473" y="24298"/>
                        <a:pt x="317068" y="35487"/>
                      </a:cubicBezTo>
                      <a:lnTo>
                        <a:pt x="203311" y="56000"/>
                      </a:lnTo>
                      <a:cubicBezTo>
                        <a:pt x="175338" y="61595"/>
                        <a:pt x="149230" y="76514"/>
                        <a:pt x="130582" y="100757"/>
                      </a:cubicBezTo>
                      <a:lnTo>
                        <a:pt x="33609" y="225703"/>
                      </a:lnTo>
                      <a:cubicBezTo>
                        <a:pt x="28014" y="231298"/>
                        <a:pt x="26149" y="240622"/>
                        <a:pt x="28014" y="248081"/>
                      </a:cubicBezTo>
                      <a:cubicBezTo>
                        <a:pt x="29879" y="255541"/>
                        <a:pt x="33609" y="263000"/>
                        <a:pt x="39203" y="268595"/>
                      </a:cubicBezTo>
                      <a:cubicBezTo>
                        <a:pt x="48528" y="276054"/>
                        <a:pt x="61582" y="276054"/>
                        <a:pt x="70906" y="270460"/>
                      </a:cubicBezTo>
                      <a:lnTo>
                        <a:pt x="276041" y="164163"/>
                      </a:lnTo>
                      <a:cubicBezTo>
                        <a:pt x="296554" y="152973"/>
                        <a:pt x="322663" y="154838"/>
                        <a:pt x="343176" y="167892"/>
                      </a:cubicBezTo>
                      <a:lnTo>
                        <a:pt x="783284" y="453216"/>
                      </a:lnTo>
                      <a:cubicBezTo>
                        <a:pt x="788878" y="456946"/>
                        <a:pt x="792608" y="460676"/>
                        <a:pt x="796338" y="464405"/>
                      </a:cubicBezTo>
                      <a:lnTo>
                        <a:pt x="900770" y="365568"/>
                      </a:lnTo>
                      <a:cubicBezTo>
                        <a:pt x="910095" y="356243"/>
                        <a:pt x="911959" y="343189"/>
                        <a:pt x="904500" y="332000"/>
                      </a:cubicBezTo>
                      <a:lnTo>
                        <a:pt x="734797" y="56000"/>
                      </a:ln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6" name="Freeform: Shape 95">
                  <a:extLst>
                    <a:ext uri="{FF2B5EF4-FFF2-40B4-BE49-F238E27FC236}">
                      <a16:creationId xmlns:a16="http://schemas.microsoft.com/office/drawing/2014/main" id="{5B548E46-D82C-45FE-A2A6-5BA813B2704A}"/>
                    </a:ext>
                  </a:extLst>
                </p:cNvPr>
                <p:cNvSpPr/>
                <p:nvPr/>
              </p:nvSpPr>
              <p:spPr>
                <a:xfrm>
                  <a:off x="3125834" y="5697112"/>
                  <a:ext cx="66107" cy="65672"/>
                </a:xfrm>
                <a:custGeom>
                  <a:avLst/>
                  <a:gdLst>
                    <a:gd name="connsiteX0" fmla="*/ 127377 w 167837"/>
                    <a:gd name="connsiteY0" fmla="*/ 34774 h 167837"/>
                    <a:gd name="connsiteX1" fmla="*/ 104999 w 167837"/>
                    <a:gd name="connsiteY1" fmla="*/ 27315 h 167837"/>
                    <a:gd name="connsiteX2" fmla="*/ 99405 w 167837"/>
                    <a:gd name="connsiteY2" fmla="*/ 27315 h 167837"/>
                    <a:gd name="connsiteX3" fmla="*/ 77026 w 167837"/>
                    <a:gd name="connsiteY3" fmla="*/ 40369 h 167837"/>
                    <a:gd name="connsiteX4" fmla="*/ 30405 w 167837"/>
                    <a:gd name="connsiteY4" fmla="*/ 107504 h 167837"/>
                    <a:gd name="connsiteX5" fmla="*/ 28540 w 167837"/>
                    <a:gd name="connsiteY5" fmla="*/ 131747 h 167837"/>
                    <a:gd name="connsiteX6" fmla="*/ 49053 w 167837"/>
                    <a:gd name="connsiteY6" fmla="*/ 154125 h 167837"/>
                    <a:gd name="connsiteX7" fmla="*/ 91945 w 167837"/>
                    <a:gd name="connsiteY7" fmla="*/ 141071 h 167837"/>
                    <a:gd name="connsiteX8" fmla="*/ 132972 w 167837"/>
                    <a:gd name="connsiteY8" fmla="*/ 81396 h 167837"/>
                    <a:gd name="connsiteX9" fmla="*/ 127377 w 167837"/>
                    <a:gd name="connsiteY9" fmla="*/ 34774 h 16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37" h="167837">
                      <a:moveTo>
                        <a:pt x="127377" y="34774"/>
                      </a:moveTo>
                      <a:cubicBezTo>
                        <a:pt x="119918" y="29180"/>
                        <a:pt x="112459" y="27315"/>
                        <a:pt x="104999" y="27315"/>
                      </a:cubicBezTo>
                      <a:cubicBezTo>
                        <a:pt x="103134" y="27315"/>
                        <a:pt x="101269" y="27315"/>
                        <a:pt x="99405" y="27315"/>
                      </a:cubicBezTo>
                      <a:cubicBezTo>
                        <a:pt x="90080" y="29180"/>
                        <a:pt x="82621" y="32909"/>
                        <a:pt x="77026" y="40369"/>
                      </a:cubicBezTo>
                      <a:lnTo>
                        <a:pt x="30405" y="107504"/>
                      </a:lnTo>
                      <a:cubicBezTo>
                        <a:pt x="26675" y="114963"/>
                        <a:pt x="26675" y="124288"/>
                        <a:pt x="28540" y="131747"/>
                      </a:cubicBezTo>
                      <a:cubicBezTo>
                        <a:pt x="32269" y="142936"/>
                        <a:pt x="39729" y="150396"/>
                        <a:pt x="49053" y="154125"/>
                      </a:cubicBezTo>
                      <a:cubicBezTo>
                        <a:pt x="63972" y="159720"/>
                        <a:pt x="82621" y="155990"/>
                        <a:pt x="91945" y="141071"/>
                      </a:cubicBezTo>
                      <a:lnTo>
                        <a:pt x="132972" y="81396"/>
                      </a:lnTo>
                      <a:cubicBezTo>
                        <a:pt x="146026" y="68342"/>
                        <a:pt x="142296" y="45963"/>
                        <a:pt x="127377" y="34774"/>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2" name="Freeform: Shape 101">
                  <a:extLst>
                    <a:ext uri="{FF2B5EF4-FFF2-40B4-BE49-F238E27FC236}">
                      <a16:creationId xmlns:a16="http://schemas.microsoft.com/office/drawing/2014/main" id="{5D14C9F3-F8F4-4B22-A4FC-D1069BAC2881}"/>
                    </a:ext>
                  </a:extLst>
                </p:cNvPr>
                <p:cNvSpPr/>
                <p:nvPr/>
              </p:nvSpPr>
              <p:spPr>
                <a:xfrm>
                  <a:off x="3078505" y="5651869"/>
                  <a:ext cx="88145" cy="102158"/>
                </a:xfrm>
                <a:custGeom>
                  <a:avLst/>
                  <a:gdLst>
                    <a:gd name="connsiteX0" fmla="*/ 167348 w 223783"/>
                    <a:gd name="connsiteY0" fmla="*/ 133612 h 261080"/>
                    <a:gd name="connsiteX1" fmla="*/ 193456 w 223783"/>
                    <a:gd name="connsiteY1" fmla="*/ 96315 h 261080"/>
                    <a:gd name="connsiteX2" fmla="*/ 184131 w 223783"/>
                    <a:gd name="connsiteY2" fmla="*/ 36639 h 261080"/>
                    <a:gd name="connsiteX3" fmla="*/ 156159 w 223783"/>
                    <a:gd name="connsiteY3" fmla="*/ 27315 h 261080"/>
                    <a:gd name="connsiteX4" fmla="*/ 150564 w 223783"/>
                    <a:gd name="connsiteY4" fmla="*/ 27315 h 261080"/>
                    <a:gd name="connsiteX5" fmla="*/ 120726 w 223783"/>
                    <a:gd name="connsiteY5" fmla="*/ 44098 h 261080"/>
                    <a:gd name="connsiteX6" fmla="*/ 31213 w 223783"/>
                    <a:gd name="connsiteY6" fmla="*/ 174639 h 261080"/>
                    <a:gd name="connsiteX7" fmla="*/ 29348 w 223783"/>
                    <a:gd name="connsiteY7" fmla="*/ 202612 h 261080"/>
                    <a:gd name="connsiteX8" fmla="*/ 51726 w 223783"/>
                    <a:gd name="connsiteY8" fmla="*/ 230585 h 261080"/>
                    <a:gd name="connsiteX9" fmla="*/ 109537 w 223783"/>
                    <a:gd name="connsiteY9" fmla="*/ 217531 h 261080"/>
                    <a:gd name="connsiteX10" fmla="*/ 122591 w 223783"/>
                    <a:gd name="connsiteY10" fmla="*/ 198882 h 261080"/>
                    <a:gd name="connsiteX11" fmla="*/ 126321 w 223783"/>
                    <a:gd name="connsiteY11" fmla="*/ 193288 h 261080"/>
                    <a:gd name="connsiteX12" fmla="*/ 167348 w 223783"/>
                    <a:gd name="connsiteY12" fmla="*/ 133612 h 261080"/>
                    <a:gd name="connsiteX13" fmla="*/ 167348 w 223783"/>
                    <a:gd name="connsiteY13" fmla="*/ 133612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783" h="261080">
                      <a:moveTo>
                        <a:pt x="167348" y="133612"/>
                      </a:moveTo>
                      <a:lnTo>
                        <a:pt x="193456" y="96315"/>
                      </a:lnTo>
                      <a:cubicBezTo>
                        <a:pt x="206510" y="77666"/>
                        <a:pt x="202780" y="51558"/>
                        <a:pt x="184131" y="36639"/>
                      </a:cubicBezTo>
                      <a:cubicBezTo>
                        <a:pt x="176672" y="31044"/>
                        <a:pt x="167348" y="27315"/>
                        <a:pt x="156159" y="27315"/>
                      </a:cubicBezTo>
                      <a:cubicBezTo>
                        <a:pt x="154294" y="27315"/>
                        <a:pt x="152429" y="27315"/>
                        <a:pt x="150564" y="27315"/>
                      </a:cubicBezTo>
                      <a:cubicBezTo>
                        <a:pt x="139375" y="29180"/>
                        <a:pt x="128186" y="34774"/>
                        <a:pt x="120726" y="44098"/>
                      </a:cubicBezTo>
                      <a:lnTo>
                        <a:pt x="31213" y="174639"/>
                      </a:lnTo>
                      <a:cubicBezTo>
                        <a:pt x="27483" y="183963"/>
                        <a:pt x="25618" y="193288"/>
                        <a:pt x="29348" y="202612"/>
                      </a:cubicBezTo>
                      <a:cubicBezTo>
                        <a:pt x="33078" y="215666"/>
                        <a:pt x="40537" y="224990"/>
                        <a:pt x="51726" y="230585"/>
                      </a:cubicBezTo>
                      <a:cubicBezTo>
                        <a:pt x="72240" y="241774"/>
                        <a:pt x="96483" y="236179"/>
                        <a:pt x="109537" y="217531"/>
                      </a:cubicBezTo>
                      <a:lnTo>
                        <a:pt x="122591" y="198882"/>
                      </a:lnTo>
                      <a:cubicBezTo>
                        <a:pt x="124456" y="197017"/>
                        <a:pt x="124456" y="195152"/>
                        <a:pt x="126321" y="193288"/>
                      </a:cubicBezTo>
                      <a:lnTo>
                        <a:pt x="167348" y="133612"/>
                      </a:lnTo>
                      <a:cubicBezTo>
                        <a:pt x="165483" y="135477"/>
                        <a:pt x="167348" y="135477"/>
                        <a:pt x="167348" y="133612"/>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02667CEF-732B-4CD6-8460-75BC1F03E6DF}"/>
                    </a:ext>
                  </a:extLst>
                </p:cNvPr>
                <p:cNvSpPr/>
                <p:nvPr/>
              </p:nvSpPr>
              <p:spPr>
                <a:xfrm>
                  <a:off x="2975714" y="5449897"/>
                  <a:ext cx="433375" cy="313772"/>
                </a:xfrm>
                <a:custGeom>
                  <a:avLst/>
                  <a:gdLst>
                    <a:gd name="connsiteX0" fmla="*/ 1047453 w 1100269"/>
                    <a:gd name="connsiteY0" fmla="*/ 448377 h 801890"/>
                    <a:gd name="connsiteX1" fmla="*/ 607345 w 1100269"/>
                    <a:gd name="connsiteY1" fmla="*/ 163053 h 801890"/>
                    <a:gd name="connsiteX2" fmla="*/ 577508 w 1100269"/>
                    <a:gd name="connsiteY2" fmla="*/ 161188 h 801890"/>
                    <a:gd name="connsiteX3" fmla="*/ 376102 w 1100269"/>
                    <a:gd name="connsiteY3" fmla="*/ 267485 h 801890"/>
                    <a:gd name="connsiteX4" fmla="*/ 305237 w 1100269"/>
                    <a:gd name="connsiteY4" fmla="*/ 265620 h 801890"/>
                    <a:gd name="connsiteX5" fmla="*/ 275400 w 1100269"/>
                    <a:gd name="connsiteY5" fmla="*/ 205944 h 801890"/>
                    <a:gd name="connsiteX6" fmla="*/ 290319 w 1100269"/>
                    <a:gd name="connsiteY6" fmla="*/ 168647 h 801890"/>
                    <a:gd name="connsiteX7" fmla="*/ 372373 w 1100269"/>
                    <a:gd name="connsiteY7" fmla="*/ 62350 h 801890"/>
                    <a:gd name="connsiteX8" fmla="*/ 284724 w 1100269"/>
                    <a:gd name="connsiteY8" fmla="*/ 49296 h 801890"/>
                    <a:gd name="connsiteX9" fmla="*/ 264210 w 1100269"/>
                    <a:gd name="connsiteY9" fmla="*/ 41836 h 801890"/>
                    <a:gd name="connsiteX10" fmla="*/ 245562 w 1100269"/>
                    <a:gd name="connsiteY10" fmla="*/ 32512 h 801890"/>
                    <a:gd name="connsiteX11" fmla="*/ 180292 w 1100269"/>
                    <a:gd name="connsiteY11" fmla="*/ 49296 h 801890"/>
                    <a:gd name="connsiteX12" fmla="*/ 34832 w 1100269"/>
                    <a:gd name="connsiteY12" fmla="*/ 278674 h 801890"/>
                    <a:gd name="connsiteX13" fmla="*/ 36697 w 1100269"/>
                    <a:gd name="connsiteY13" fmla="*/ 334620 h 801890"/>
                    <a:gd name="connsiteX14" fmla="*/ 113157 w 1100269"/>
                    <a:gd name="connsiteY14" fmla="*/ 435323 h 801890"/>
                    <a:gd name="connsiteX15" fmla="*/ 122481 w 1100269"/>
                    <a:gd name="connsiteY15" fmla="*/ 435323 h 801890"/>
                    <a:gd name="connsiteX16" fmla="*/ 223183 w 1100269"/>
                    <a:gd name="connsiteY16" fmla="*/ 422268 h 801890"/>
                    <a:gd name="connsiteX17" fmla="*/ 251156 w 1100269"/>
                    <a:gd name="connsiteY17" fmla="*/ 450241 h 801890"/>
                    <a:gd name="connsiteX18" fmla="*/ 260481 w 1100269"/>
                    <a:gd name="connsiteY18" fmla="*/ 450241 h 801890"/>
                    <a:gd name="connsiteX19" fmla="*/ 260481 w 1100269"/>
                    <a:gd name="connsiteY19" fmla="*/ 450241 h 801890"/>
                    <a:gd name="connsiteX20" fmla="*/ 366778 w 1100269"/>
                    <a:gd name="connsiteY20" fmla="*/ 420404 h 801890"/>
                    <a:gd name="connsiteX21" fmla="*/ 409670 w 1100269"/>
                    <a:gd name="connsiteY21" fmla="*/ 476349 h 801890"/>
                    <a:gd name="connsiteX22" fmla="*/ 411535 w 1100269"/>
                    <a:gd name="connsiteY22" fmla="*/ 500593 h 801890"/>
                    <a:gd name="connsiteX23" fmla="*/ 417129 w 1100269"/>
                    <a:gd name="connsiteY23" fmla="*/ 506187 h 801890"/>
                    <a:gd name="connsiteX24" fmla="*/ 469345 w 1100269"/>
                    <a:gd name="connsiteY24" fmla="*/ 524836 h 801890"/>
                    <a:gd name="connsiteX25" fmla="*/ 495454 w 1100269"/>
                    <a:gd name="connsiteY25" fmla="*/ 614349 h 801890"/>
                    <a:gd name="connsiteX26" fmla="*/ 499183 w 1100269"/>
                    <a:gd name="connsiteY26" fmla="*/ 621809 h 801890"/>
                    <a:gd name="connsiteX27" fmla="*/ 556994 w 1100269"/>
                    <a:gd name="connsiteY27" fmla="*/ 672160 h 801890"/>
                    <a:gd name="connsiteX28" fmla="*/ 545805 w 1100269"/>
                    <a:gd name="connsiteY28" fmla="*/ 737430 h 801890"/>
                    <a:gd name="connsiteX29" fmla="*/ 536481 w 1100269"/>
                    <a:gd name="connsiteY29" fmla="*/ 750484 h 801890"/>
                    <a:gd name="connsiteX30" fmla="*/ 540210 w 1100269"/>
                    <a:gd name="connsiteY30" fmla="*/ 759809 h 801890"/>
                    <a:gd name="connsiteX31" fmla="*/ 653967 w 1100269"/>
                    <a:gd name="connsiteY31" fmla="*/ 776592 h 801890"/>
                    <a:gd name="connsiteX32" fmla="*/ 726697 w 1100269"/>
                    <a:gd name="connsiteY32" fmla="*/ 767268 h 801890"/>
                    <a:gd name="connsiteX33" fmla="*/ 726697 w 1100269"/>
                    <a:gd name="connsiteY33" fmla="*/ 733701 h 801890"/>
                    <a:gd name="connsiteX34" fmla="*/ 624129 w 1100269"/>
                    <a:gd name="connsiteY34" fmla="*/ 681484 h 801890"/>
                    <a:gd name="connsiteX35" fmla="*/ 616670 w 1100269"/>
                    <a:gd name="connsiteY35" fmla="*/ 657241 h 801890"/>
                    <a:gd name="connsiteX36" fmla="*/ 640913 w 1100269"/>
                    <a:gd name="connsiteY36" fmla="*/ 649782 h 801890"/>
                    <a:gd name="connsiteX37" fmla="*/ 782643 w 1100269"/>
                    <a:gd name="connsiteY37" fmla="*/ 722511 h 801890"/>
                    <a:gd name="connsiteX38" fmla="*/ 853507 w 1100269"/>
                    <a:gd name="connsiteY38" fmla="*/ 703863 h 801890"/>
                    <a:gd name="connsiteX39" fmla="*/ 860967 w 1100269"/>
                    <a:gd name="connsiteY39" fmla="*/ 675890 h 801890"/>
                    <a:gd name="connsiteX40" fmla="*/ 844183 w 1100269"/>
                    <a:gd name="connsiteY40" fmla="*/ 653511 h 801890"/>
                    <a:gd name="connsiteX41" fmla="*/ 810615 w 1100269"/>
                    <a:gd name="connsiteY41" fmla="*/ 632998 h 801890"/>
                    <a:gd name="connsiteX42" fmla="*/ 676345 w 1100269"/>
                    <a:gd name="connsiteY42" fmla="*/ 560268 h 801890"/>
                    <a:gd name="connsiteX43" fmla="*/ 668886 w 1100269"/>
                    <a:gd name="connsiteY43" fmla="*/ 534160 h 801890"/>
                    <a:gd name="connsiteX44" fmla="*/ 694994 w 1100269"/>
                    <a:gd name="connsiteY44" fmla="*/ 526701 h 801890"/>
                    <a:gd name="connsiteX45" fmla="*/ 881480 w 1100269"/>
                    <a:gd name="connsiteY45" fmla="*/ 627403 h 801890"/>
                    <a:gd name="connsiteX46" fmla="*/ 959805 w 1100269"/>
                    <a:gd name="connsiteY46" fmla="*/ 606890 h 801890"/>
                    <a:gd name="connsiteX47" fmla="*/ 965399 w 1100269"/>
                    <a:gd name="connsiteY47" fmla="*/ 578917 h 801890"/>
                    <a:gd name="connsiteX48" fmla="*/ 948615 w 1100269"/>
                    <a:gd name="connsiteY48" fmla="*/ 554674 h 801890"/>
                    <a:gd name="connsiteX49" fmla="*/ 935561 w 1100269"/>
                    <a:gd name="connsiteY49" fmla="*/ 547214 h 801890"/>
                    <a:gd name="connsiteX50" fmla="*/ 736021 w 1100269"/>
                    <a:gd name="connsiteY50" fmla="*/ 427863 h 801890"/>
                    <a:gd name="connsiteX51" fmla="*/ 730426 w 1100269"/>
                    <a:gd name="connsiteY51" fmla="*/ 401755 h 801890"/>
                    <a:gd name="connsiteX52" fmla="*/ 756534 w 1100269"/>
                    <a:gd name="connsiteY52" fmla="*/ 396160 h 801890"/>
                    <a:gd name="connsiteX53" fmla="*/ 946751 w 1100269"/>
                    <a:gd name="connsiteY53" fmla="*/ 509917 h 801890"/>
                    <a:gd name="connsiteX54" fmla="*/ 946751 w 1100269"/>
                    <a:gd name="connsiteY54" fmla="*/ 509917 h 801890"/>
                    <a:gd name="connsiteX55" fmla="*/ 956075 w 1100269"/>
                    <a:gd name="connsiteY55" fmla="*/ 515512 h 801890"/>
                    <a:gd name="connsiteX56" fmla="*/ 991507 w 1100269"/>
                    <a:gd name="connsiteY56" fmla="*/ 536025 h 801890"/>
                    <a:gd name="connsiteX57" fmla="*/ 1066102 w 1100269"/>
                    <a:gd name="connsiteY57" fmla="*/ 519241 h 801890"/>
                    <a:gd name="connsiteX58" fmla="*/ 1071696 w 1100269"/>
                    <a:gd name="connsiteY58" fmla="*/ 481944 h 801890"/>
                    <a:gd name="connsiteX59" fmla="*/ 1047453 w 1100269"/>
                    <a:gd name="connsiteY59" fmla="*/ 448377 h 80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00269" h="801890">
                      <a:moveTo>
                        <a:pt x="1047453" y="448377"/>
                      </a:moveTo>
                      <a:lnTo>
                        <a:pt x="607345" y="163053"/>
                      </a:lnTo>
                      <a:cubicBezTo>
                        <a:pt x="598021" y="157458"/>
                        <a:pt x="586832" y="157458"/>
                        <a:pt x="577508" y="161188"/>
                      </a:cubicBezTo>
                      <a:lnTo>
                        <a:pt x="376102" y="267485"/>
                      </a:lnTo>
                      <a:cubicBezTo>
                        <a:pt x="353724" y="278674"/>
                        <a:pt x="325751" y="278674"/>
                        <a:pt x="305237" y="265620"/>
                      </a:cubicBezTo>
                      <a:cubicBezTo>
                        <a:pt x="284724" y="252566"/>
                        <a:pt x="273535" y="230188"/>
                        <a:pt x="275400" y="205944"/>
                      </a:cubicBezTo>
                      <a:cubicBezTo>
                        <a:pt x="275400" y="192890"/>
                        <a:pt x="282859" y="177971"/>
                        <a:pt x="290319" y="168647"/>
                      </a:cubicBezTo>
                      <a:lnTo>
                        <a:pt x="372373" y="62350"/>
                      </a:lnTo>
                      <a:lnTo>
                        <a:pt x="284724" y="49296"/>
                      </a:lnTo>
                      <a:cubicBezTo>
                        <a:pt x="277265" y="47431"/>
                        <a:pt x="271670" y="45566"/>
                        <a:pt x="264210" y="41836"/>
                      </a:cubicBezTo>
                      <a:lnTo>
                        <a:pt x="245562" y="32512"/>
                      </a:lnTo>
                      <a:cubicBezTo>
                        <a:pt x="223183" y="21323"/>
                        <a:pt x="195211" y="28782"/>
                        <a:pt x="180292" y="49296"/>
                      </a:cubicBezTo>
                      <a:lnTo>
                        <a:pt x="34832" y="278674"/>
                      </a:lnTo>
                      <a:cubicBezTo>
                        <a:pt x="23643" y="295458"/>
                        <a:pt x="25508" y="319701"/>
                        <a:pt x="36697" y="334620"/>
                      </a:cubicBezTo>
                      <a:lnTo>
                        <a:pt x="113157" y="435323"/>
                      </a:lnTo>
                      <a:cubicBezTo>
                        <a:pt x="115021" y="439052"/>
                        <a:pt x="118751" y="439052"/>
                        <a:pt x="122481" y="435323"/>
                      </a:cubicBezTo>
                      <a:cubicBezTo>
                        <a:pt x="148589" y="407350"/>
                        <a:pt x="189616" y="401755"/>
                        <a:pt x="223183" y="422268"/>
                      </a:cubicBezTo>
                      <a:cubicBezTo>
                        <a:pt x="234373" y="429728"/>
                        <a:pt x="243697" y="439052"/>
                        <a:pt x="251156" y="450241"/>
                      </a:cubicBezTo>
                      <a:cubicBezTo>
                        <a:pt x="253021" y="453971"/>
                        <a:pt x="258616" y="453971"/>
                        <a:pt x="260481" y="450241"/>
                      </a:cubicBezTo>
                      <a:lnTo>
                        <a:pt x="260481" y="450241"/>
                      </a:lnTo>
                      <a:cubicBezTo>
                        <a:pt x="284724" y="416674"/>
                        <a:pt x="329481" y="401755"/>
                        <a:pt x="366778" y="420404"/>
                      </a:cubicBezTo>
                      <a:cubicBezTo>
                        <a:pt x="389156" y="431593"/>
                        <a:pt x="404075" y="452106"/>
                        <a:pt x="409670" y="476349"/>
                      </a:cubicBezTo>
                      <a:cubicBezTo>
                        <a:pt x="411535" y="483809"/>
                        <a:pt x="411535" y="491268"/>
                        <a:pt x="411535" y="500593"/>
                      </a:cubicBezTo>
                      <a:cubicBezTo>
                        <a:pt x="411535" y="504322"/>
                        <a:pt x="413400" y="506187"/>
                        <a:pt x="417129" y="506187"/>
                      </a:cubicBezTo>
                      <a:cubicBezTo>
                        <a:pt x="435778" y="506187"/>
                        <a:pt x="454427" y="511782"/>
                        <a:pt x="469345" y="524836"/>
                      </a:cubicBezTo>
                      <a:cubicBezTo>
                        <a:pt x="495454" y="547214"/>
                        <a:pt x="506643" y="582647"/>
                        <a:pt x="495454" y="614349"/>
                      </a:cubicBezTo>
                      <a:cubicBezTo>
                        <a:pt x="493589" y="618079"/>
                        <a:pt x="495454" y="621809"/>
                        <a:pt x="499183" y="621809"/>
                      </a:cubicBezTo>
                      <a:cubicBezTo>
                        <a:pt x="525291" y="625539"/>
                        <a:pt x="547670" y="644187"/>
                        <a:pt x="556994" y="672160"/>
                      </a:cubicBezTo>
                      <a:cubicBezTo>
                        <a:pt x="564453" y="694538"/>
                        <a:pt x="558859" y="718782"/>
                        <a:pt x="545805" y="737430"/>
                      </a:cubicBezTo>
                      <a:lnTo>
                        <a:pt x="536481" y="750484"/>
                      </a:lnTo>
                      <a:cubicBezTo>
                        <a:pt x="534616" y="754214"/>
                        <a:pt x="536481" y="759809"/>
                        <a:pt x="540210" y="759809"/>
                      </a:cubicBezTo>
                      <a:lnTo>
                        <a:pt x="653967" y="776592"/>
                      </a:lnTo>
                      <a:cubicBezTo>
                        <a:pt x="678210" y="780322"/>
                        <a:pt x="704318" y="776592"/>
                        <a:pt x="726697" y="767268"/>
                      </a:cubicBezTo>
                      <a:cubicBezTo>
                        <a:pt x="741616" y="761674"/>
                        <a:pt x="741616" y="741160"/>
                        <a:pt x="726697" y="733701"/>
                      </a:cubicBezTo>
                      <a:lnTo>
                        <a:pt x="624129" y="681484"/>
                      </a:lnTo>
                      <a:cubicBezTo>
                        <a:pt x="614805" y="675890"/>
                        <a:pt x="611075" y="664701"/>
                        <a:pt x="616670" y="657241"/>
                      </a:cubicBezTo>
                      <a:cubicBezTo>
                        <a:pt x="622264" y="647917"/>
                        <a:pt x="633453" y="644187"/>
                        <a:pt x="640913" y="649782"/>
                      </a:cubicBezTo>
                      <a:lnTo>
                        <a:pt x="782643" y="722511"/>
                      </a:lnTo>
                      <a:cubicBezTo>
                        <a:pt x="808751" y="735565"/>
                        <a:pt x="838588" y="726241"/>
                        <a:pt x="853507" y="703863"/>
                      </a:cubicBezTo>
                      <a:cubicBezTo>
                        <a:pt x="860967" y="694538"/>
                        <a:pt x="862832" y="685214"/>
                        <a:pt x="860967" y="675890"/>
                      </a:cubicBezTo>
                      <a:cubicBezTo>
                        <a:pt x="859102" y="666566"/>
                        <a:pt x="853507" y="657241"/>
                        <a:pt x="844183" y="653511"/>
                      </a:cubicBezTo>
                      <a:lnTo>
                        <a:pt x="810615" y="632998"/>
                      </a:lnTo>
                      <a:lnTo>
                        <a:pt x="676345" y="560268"/>
                      </a:lnTo>
                      <a:cubicBezTo>
                        <a:pt x="667021" y="554674"/>
                        <a:pt x="663291" y="543485"/>
                        <a:pt x="668886" y="534160"/>
                      </a:cubicBezTo>
                      <a:cubicBezTo>
                        <a:pt x="674480" y="524836"/>
                        <a:pt x="685670" y="521106"/>
                        <a:pt x="694994" y="526701"/>
                      </a:cubicBezTo>
                      <a:lnTo>
                        <a:pt x="881480" y="627403"/>
                      </a:lnTo>
                      <a:cubicBezTo>
                        <a:pt x="909453" y="642322"/>
                        <a:pt x="943021" y="632998"/>
                        <a:pt x="959805" y="606890"/>
                      </a:cubicBezTo>
                      <a:cubicBezTo>
                        <a:pt x="965399" y="597566"/>
                        <a:pt x="967264" y="588241"/>
                        <a:pt x="965399" y="578917"/>
                      </a:cubicBezTo>
                      <a:cubicBezTo>
                        <a:pt x="963534" y="569593"/>
                        <a:pt x="957940" y="560268"/>
                        <a:pt x="948615" y="554674"/>
                      </a:cubicBezTo>
                      <a:lnTo>
                        <a:pt x="935561" y="547214"/>
                      </a:lnTo>
                      <a:lnTo>
                        <a:pt x="736021" y="427863"/>
                      </a:lnTo>
                      <a:cubicBezTo>
                        <a:pt x="726697" y="422268"/>
                        <a:pt x="724832" y="411079"/>
                        <a:pt x="730426" y="401755"/>
                      </a:cubicBezTo>
                      <a:cubicBezTo>
                        <a:pt x="736021" y="392431"/>
                        <a:pt x="747210" y="390566"/>
                        <a:pt x="756534" y="396160"/>
                      </a:cubicBezTo>
                      <a:lnTo>
                        <a:pt x="946751" y="509917"/>
                      </a:lnTo>
                      <a:cubicBezTo>
                        <a:pt x="946751" y="509917"/>
                        <a:pt x="946751" y="509917"/>
                        <a:pt x="946751" y="509917"/>
                      </a:cubicBezTo>
                      <a:lnTo>
                        <a:pt x="956075" y="515512"/>
                      </a:lnTo>
                      <a:lnTo>
                        <a:pt x="991507" y="536025"/>
                      </a:lnTo>
                      <a:cubicBezTo>
                        <a:pt x="1015750" y="550944"/>
                        <a:pt x="1051183" y="543485"/>
                        <a:pt x="1066102" y="519241"/>
                      </a:cubicBezTo>
                      <a:cubicBezTo>
                        <a:pt x="1073561" y="508052"/>
                        <a:pt x="1075426" y="494998"/>
                        <a:pt x="1071696" y="481944"/>
                      </a:cubicBezTo>
                      <a:cubicBezTo>
                        <a:pt x="1067967" y="468890"/>
                        <a:pt x="1060507" y="455836"/>
                        <a:pt x="1047453" y="448377"/>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3" name="Freeform: Shape 122">
                  <a:extLst>
                    <a:ext uri="{FF2B5EF4-FFF2-40B4-BE49-F238E27FC236}">
                      <a16:creationId xmlns:a16="http://schemas.microsoft.com/office/drawing/2014/main" id="{5C71068A-EC37-4386-B8BA-875139B2EC32}"/>
                    </a:ext>
                  </a:extLst>
                </p:cNvPr>
                <p:cNvSpPr/>
                <p:nvPr/>
              </p:nvSpPr>
              <p:spPr>
                <a:xfrm>
                  <a:off x="2996979" y="5613924"/>
                  <a:ext cx="73452" cy="80267"/>
                </a:xfrm>
                <a:custGeom>
                  <a:avLst/>
                  <a:gdLst>
                    <a:gd name="connsiteX0" fmla="*/ 169200 w 186486"/>
                    <a:gd name="connsiteY0" fmla="*/ 62747 h 205134"/>
                    <a:gd name="connsiteX1" fmla="*/ 148686 w 186486"/>
                    <a:gd name="connsiteY1" fmla="*/ 34774 h 205134"/>
                    <a:gd name="connsiteX2" fmla="*/ 124443 w 186486"/>
                    <a:gd name="connsiteY2" fmla="*/ 27315 h 205134"/>
                    <a:gd name="connsiteX3" fmla="*/ 89011 w 186486"/>
                    <a:gd name="connsiteY3" fmla="*/ 45963 h 205134"/>
                    <a:gd name="connsiteX4" fmla="*/ 34930 w 186486"/>
                    <a:gd name="connsiteY4" fmla="*/ 122423 h 205134"/>
                    <a:gd name="connsiteX5" fmla="*/ 46119 w 186486"/>
                    <a:gd name="connsiteY5" fmla="*/ 182098 h 205134"/>
                    <a:gd name="connsiteX6" fmla="*/ 47984 w 186486"/>
                    <a:gd name="connsiteY6" fmla="*/ 183963 h 205134"/>
                    <a:gd name="connsiteX7" fmla="*/ 79686 w 186486"/>
                    <a:gd name="connsiteY7" fmla="*/ 191423 h 205134"/>
                    <a:gd name="connsiteX8" fmla="*/ 105794 w 186486"/>
                    <a:gd name="connsiteY8" fmla="*/ 176504 h 205134"/>
                    <a:gd name="connsiteX9" fmla="*/ 161740 w 186486"/>
                    <a:gd name="connsiteY9" fmla="*/ 94450 h 205134"/>
                    <a:gd name="connsiteX10" fmla="*/ 169200 w 186486"/>
                    <a:gd name="connsiteY10" fmla="*/ 62747 h 20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86" h="205134">
                      <a:moveTo>
                        <a:pt x="169200" y="62747"/>
                      </a:moveTo>
                      <a:cubicBezTo>
                        <a:pt x="167335" y="51558"/>
                        <a:pt x="159875" y="40369"/>
                        <a:pt x="148686" y="34774"/>
                      </a:cubicBezTo>
                      <a:cubicBezTo>
                        <a:pt x="141227" y="31044"/>
                        <a:pt x="133767" y="27315"/>
                        <a:pt x="124443" y="27315"/>
                      </a:cubicBezTo>
                      <a:cubicBezTo>
                        <a:pt x="111389" y="27315"/>
                        <a:pt x="98335" y="32909"/>
                        <a:pt x="89011" y="45963"/>
                      </a:cubicBezTo>
                      <a:lnTo>
                        <a:pt x="34930" y="122423"/>
                      </a:lnTo>
                      <a:cubicBezTo>
                        <a:pt x="21876" y="141071"/>
                        <a:pt x="25605" y="169044"/>
                        <a:pt x="46119" y="182098"/>
                      </a:cubicBezTo>
                      <a:lnTo>
                        <a:pt x="47984" y="183963"/>
                      </a:lnTo>
                      <a:cubicBezTo>
                        <a:pt x="57308" y="191423"/>
                        <a:pt x="68497" y="193288"/>
                        <a:pt x="79686" y="191423"/>
                      </a:cubicBezTo>
                      <a:cubicBezTo>
                        <a:pt x="89011" y="189558"/>
                        <a:pt x="98335" y="183963"/>
                        <a:pt x="105794" y="176504"/>
                      </a:cubicBezTo>
                      <a:lnTo>
                        <a:pt x="161740" y="94450"/>
                      </a:lnTo>
                      <a:cubicBezTo>
                        <a:pt x="169200" y="83261"/>
                        <a:pt x="171065" y="73936"/>
                        <a:pt x="169200" y="62747"/>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4" name="Freeform: Shape 123">
                  <a:extLst>
                    <a:ext uri="{FF2B5EF4-FFF2-40B4-BE49-F238E27FC236}">
                      <a16:creationId xmlns:a16="http://schemas.microsoft.com/office/drawing/2014/main" id="{4DECCD11-0461-43AE-9861-2FA0FF8125BF}"/>
                    </a:ext>
                  </a:extLst>
                </p:cNvPr>
                <p:cNvSpPr/>
                <p:nvPr/>
              </p:nvSpPr>
              <p:spPr>
                <a:xfrm>
                  <a:off x="2891208" y="5384741"/>
                  <a:ext cx="161598" cy="197019"/>
                </a:xfrm>
                <a:custGeom>
                  <a:avLst/>
                  <a:gdLst>
                    <a:gd name="connsiteX0" fmla="*/ 383650 w 410269"/>
                    <a:gd name="connsiteY0" fmla="*/ 89002 h 503512"/>
                    <a:gd name="connsiteX1" fmla="*/ 294137 w 410269"/>
                    <a:gd name="connsiteY1" fmla="*/ 33056 h 503512"/>
                    <a:gd name="connsiteX2" fmla="*/ 240056 w 410269"/>
                    <a:gd name="connsiteY2" fmla="*/ 46110 h 503512"/>
                    <a:gd name="connsiteX3" fmla="*/ 33056 w 410269"/>
                    <a:gd name="connsiteY3" fmla="*/ 372461 h 503512"/>
                    <a:gd name="connsiteX4" fmla="*/ 46110 w 410269"/>
                    <a:gd name="connsiteY4" fmla="*/ 426542 h 503512"/>
                    <a:gd name="connsiteX5" fmla="*/ 135623 w 410269"/>
                    <a:gd name="connsiteY5" fmla="*/ 482488 h 503512"/>
                    <a:gd name="connsiteX6" fmla="*/ 189704 w 410269"/>
                    <a:gd name="connsiteY6" fmla="*/ 469434 h 503512"/>
                    <a:gd name="connsiteX7" fmla="*/ 394839 w 410269"/>
                    <a:gd name="connsiteY7" fmla="*/ 143083 h 503512"/>
                    <a:gd name="connsiteX8" fmla="*/ 383650 w 410269"/>
                    <a:gd name="connsiteY8" fmla="*/ 89002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269" h="503512">
                      <a:moveTo>
                        <a:pt x="383650" y="89002"/>
                      </a:moveTo>
                      <a:lnTo>
                        <a:pt x="294137" y="33056"/>
                      </a:lnTo>
                      <a:cubicBezTo>
                        <a:pt x="275488" y="21867"/>
                        <a:pt x="251245" y="27461"/>
                        <a:pt x="240056" y="46110"/>
                      </a:cubicBezTo>
                      <a:lnTo>
                        <a:pt x="33056" y="372461"/>
                      </a:lnTo>
                      <a:cubicBezTo>
                        <a:pt x="21867" y="391109"/>
                        <a:pt x="27461" y="415353"/>
                        <a:pt x="46110" y="426542"/>
                      </a:cubicBezTo>
                      <a:lnTo>
                        <a:pt x="135623" y="482488"/>
                      </a:lnTo>
                      <a:cubicBezTo>
                        <a:pt x="154272" y="493677"/>
                        <a:pt x="178515" y="488082"/>
                        <a:pt x="189704" y="469434"/>
                      </a:cubicBezTo>
                      <a:lnTo>
                        <a:pt x="394839" y="143083"/>
                      </a:lnTo>
                      <a:cubicBezTo>
                        <a:pt x="406029" y="124434"/>
                        <a:pt x="400434" y="100191"/>
                        <a:pt x="383650" y="89002"/>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grpSp>
        </p:grpSp>
        <p:sp>
          <p:nvSpPr>
            <p:cNvPr id="158" name="Oval 157">
              <a:extLst>
                <a:ext uri="{FF2B5EF4-FFF2-40B4-BE49-F238E27FC236}">
                  <a16:creationId xmlns:a16="http://schemas.microsoft.com/office/drawing/2014/main" id="{8DCA2868-0709-4199-8964-3AE2CF8B2E6F}"/>
                </a:ext>
              </a:extLst>
            </p:cNvPr>
            <p:cNvSpPr/>
            <p:nvPr/>
          </p:nvSpPr>
          <p:spPr bwMode="auto">
            <a:xfrm>
              <a:off x="4205471" y="2418076"/>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2" name="Straight Connector 161">
            <a:extLst>
              <a:ext uri="{FF2B5EF4-FFF2-40B4-BE49-F238E27FC236}">
                <a16:creationId xmlns:a16="http://schemas.microsoft.com/office/drawing/2014/main" id="{75D342B6-ED18-4634-8E00-96E4E4917D2E}"/>
              </a:ext>
            </a:extLst>
          </p:cNvPr>
          <p:cNvCxnSpPr>
            <a:cxnSpLocks/>
            <a:stCxn id="158" idx="1"/>
          </p:cNvCxnSpPr>
          <p:nvPr/>
        </p:nvCxnSpPr>
        <p:spPr>
          <a:xfrm flipH="1" flipV="1">
            <a:off x="3250312" y="1812864"/>
            <a:ext cx="247796" cy="34416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F3978602-292F-497A-BDCA-E6D18F3A626D}"/>
              </a:ext>
            </a:extLst>
          </p:cNvPr>
          <p:cNvSpPr/>
          <p:nvPr/>
        </p:nvSpPr>
        <p:spPr bwMode="auto">
          <a:xfrm>
            <a:off x="7162619" y="1081755"/>
            <a:ext cx="3839811" cy="899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streamlin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automation</a:t>
            </a:r>
            <a:r>
              <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rPr>
              <a:t> </a:t>
            </a: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and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operational efficiency</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19" name="Group 18">
            <a:extLst>
              <a:ext uri="{FF2B5EF4-FFF2-40B4-BE49-F238E27FC236}">
                <a16:creationId xmlns:a16="http://schemas.microsoft.com/office/drawing/2014/main" id="{A7563EE4-0955-4BA7-94D2-D0798E860821}"/>
              </a:ext>
            </a:extLst>
          </p:cNvPr>
          <p:cNvGrpSpPr/>
          <p:nvPr/>
        </p:nvGrpSpPr>
        <p:grpSpPr>
          <a:xfrm rot="21305278">
            <a:off x="7777372" y="2196540"/>
            <a:ext cx="1416686" cy="1400905"/>
            <a:chOff x="7123448" y="2462512"/>
            <a:chExt cx="1416686" cy="1400905"/>
          </a:xfrm>
        </p:grpSpPr>
        <p:sp>
          <p:nvSpPr>
            <p:cNvPr id="143" name="Arc 142">
              <a:extLst>
                <a:ext uri="{FF2B5EF4-FFF2-40B4-BE49-F238E27FC236}">
                  <a16:creationId xmlns:a16="http://schemas.microsoft.com/office/drawing/2014/main" id="{2C243A75-94A0-4586-8569-13AC8717EE21}"/>
                </a:ext>
              </a:extLst>
            </p:cNvPr>
            <p:cNvSpPr/>
            <p:nvPr/>
          </p:nvSpPr>
          <p:spPr>
            <a:xfrm rot="18487209">
              <a:off x="7123448" y="2462512"/>
              <a:ext cx="1399958" cy="1399958"/>
            </a:xfrm>
            <a:prstGeom prst="arc">
              <a:avLst>
                <a:gd name="adj1" fmla="val 15375412"/>
                <a:gd name="adj2" fmla="val 3657801"/>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35" name="Group 134">
              <a:extLst>
                <a:ext uri="{FF2B5EF4-FFF2-40B4-BE49-F238E27FC236}">
                  <a16:creationId xmlns:a16="http://schemas.microsoft.com/office/drawing/2014/main" id="{45B5D1E6-F9F6-40E0-8E43-4759C736F0B5}"/>
                </a:ext>
              </a:extLst>
            </p:cNvPr>
            <p:cNvGrpSpPr/>
            <p:nvPr/>
          </p:nvGrpSpPr>
          <p:grpSpPr>
            <a:xfrm>
              <a:off x="7277189" y="2616253"/>
              <a:ext cx="1092476" cy="1092476"/>
              <a:chOff x="9383865" y="2258164"/>
              <a:chExt cx="1092476" cy="1092476"/>
            </a:xfrm>
          </p:grpSpPr>
          <p:sp>
            <p:nvSpPr>
              <p:cNvPr id="136" name="Flowchart: Connector 135">
                <a:extLst>
                  <a:ext uri="{FF2B5EF4-FFF2-40B4-BE49-F238E27FC236}">
                    <a16:creationId xmlns:a16="http://schemas.microsoft.com/office/drawing/2014/main" id="{62406027-0864-4E46-B380-4462085F76C2}"/>
                  </a:ext>
                </a:extLst>
              </p:cNvPr>
              <p:cNvSpPr/>
              <p:nvPr/>
            </p:nvSpPr>
            <p:spPr bwMode="auto">
              <a:xfrm>
                <a:off x="9383865"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37" name="Graphic 15">
                <a:extLst>
                  <a:ext uri="{FF2B5EF4-FFF2-40B4-BE49-F238E27FC236}">
                    <a16:creationId xmlns:a16="http://schemas.microsoft.com/office/drawing/2014/main" id="{7C7FAF73-B9AF-4DCD-A249-F680E01CD013}"/>
                  </a:ext>
                </a:extLst>
              </p:cNvPr>
              <p:cNvGrpSpPr/>
              <p:nvPr/>
            </p:nvGrpSpPr>
            <p:grpSpPr>
              <a:xfrm>
                <a:off x="9646455" y="2520326"/>
                <a:ext cx="567296" cy="568153"/>
                <a:chOff x="9647311" y="2519896"/>
                <a:chExt cx="567296" cy="568153"/>
              </a:xfrm>
              <a:solidFill>
                <a:srgbClr val="000000"/>
              </a:solidFill>
            </p:grpSpPr>
            <p:sp>
              <p:nvSpPr>
                <p:cNvPr id="138" name="Freeform: Shape 137">
                  <a:extLst>
                    <a:ext uri="{FF2B5EF4-FFF2-40B4-BE49-F238E27FC236}">
                      <a16:creationId xmlns:a16="http://schemas.microsoft.com/office/drawing/2014/main" id="{C86557DC-E157-4D89-AE13-6729FC0CB576}"/>
                    </a:ext>
                  </a:extLst>
                </p:cNvPr>
                <p:cNvSpPr/>
                <p:nvPr/>
              </p:nvSpPr>
              <p:spPr>
                <a:xfrm>
                  <a:off x="9864118" y="2519896"/>
                  <a:ext cx="350490" cy="349633"/>
                </a:xfrm>
                <a:custGeom>
                  <a:avLst/>
                  <a:gdLst>
                    <a:gd name="connsiteX0" fmla="*/ 341921 w 350490"/>
                    <a:gd name="connsiteY0" fmla="*/ 142253 h 349633"/>
                    <a:gd name="connsiteX1" fmla="*/ 310214 w 350490"/>
                    <a:gd name="connsiteY1" fmla="*/ 134540 h 349633"/>
                    <a:gd name="connsiteX2" fmla="*/ 298217 w 350490"/>
                    <a:gd name="connsiteY2" fmla="*/ 106261 h 349633"/>
                    <a:gd name="connsiteX3" fmla="*/ 315355 w 350490"/>
                    <a:gd name="connsiteY3" fmla="*/ 78839 h 349633"/>
                    <a:gd name="connsiteX4" fmla="*/ 314499 w 350490"/>
                    <a:gd name="connsiteY4" fmla="*/ 68556 h 349633"/>
                    <a:gd name="connsiteX5" fmla="*/ 280221 w 350490"/>
                    <a:gd name="connsiteY5" fmla="*/ 34278 h 349633"/>
                    <a:gd name="connsiteX6" fmla="*/ 269937 w 350490"/>
                    <a:gd name="connsiteY6" fmla="*/ 33421 h 349633"/>
                    <a:gd name="connsiteX7" fmla="*/ 242515 w 350490"/>
                    <a:gd name="connsiteY7" fmla="*/ 50560 h 349633"/>
                    <a:gd name="connsiteX8" fmla="*/ 214236 w 350490"/>
                    <a:gd name="connsiteY8" fmla="*/ 38562 h 349633"/>
                    <a:gd name="connsiteX9" fmla="*/ 206524 w 350490"/>
                    <a:gd name="connsiteY9" fmla="*/ 6856 h 349633"/>
                    <a:gd name="connsiteX10" fmla="*/ 197954 w 350490"/>
                    <a:gd name="connsiteY10" fmla="*/ 0 h 349633"/>
                    <a:gd name="connsiteX11" fmla="*/ 149965 w 350490"/>
                    <a:gd name="connsiteY11" fmla="*/ 0 h 349633"/>
                    <a:gd name="connsiteX12" fmla="*/ 141396 w 350490"/>
                    <a:gd name="connsiteY12" fmla="*/ 6856 h 349633"/>
                    <a:gd name="connsiteX13" fmla="*/ 134540 w 350490"/>
                    <a:gd name="connsiteY13" fmla="*/ 38562 h 349633"/>
                    <a:gd name="connsiteX14" fmla="*/ 106261 w 350490"/>
                    <a:gd name="connsiteY14" fmla="*/ 50560 h 349633"/>
                    <a:gd name="connsiteX15" fmla="*/ 78839 w 350490"/>
                    <a:gd name="connsiteY15" fmla="*/ 33421 h 349633"/>
                    <a:gd name="connsiteX16" fmla="*/ 68556 w 350490"/>
                    <a:gd name="connsiteY16" fmla="*/ 34278 h 349633"/>
                    <a:gd name="connsiteX17" fmla="*/ 34278 w 350490"/>
                    <a:gd name="connsiteY17" fmla="*/ 68556 h 349633"/>
                    <a:gd name="connsiteX18" fmla="*/ 33421 w 350490"/>
                    <a:gd name="connsiteY18" fmla="*/ 78839 h 349633"/>
                    <a:gd name="connsiteX19" fmla="*/ 50560 w 350490"/>
                    <a:gd name="connsiteY19" fmla="*/ 106261 h 349633"/>
                    <a:gd name="connsiteX20" fmla="*/ 38562 w 350490"/>
                    <a:gd name="connsiteY20" fmla="*/ 134540 h 349633"/>
                    <a:gd name="connsiteX21" fmla="*/ 6856 w 350490"/>
                    <a:gd name="connsiteY21" fmla="*/ 142253 h 349633"/>
                    <a:gd name="connsiteX22" fmla="*/ 0 w 350490"/>
                    <a:gd name="connsiteY22" fmla="*/ 150822 h 349633"/>
                    <a:gd name="connsiteX23" fmla="*/ 0 w 350490"/>
                    <a:gd name="connsiteY23" fmla="*/ 198811 h 349633"/>
                    <a:gd name="connsiteX24" fmla="*/ 6856 w 350490"/>
                    <a:gd name="connsiteY24" fmla="*/ 207380 h 349633"/>
                    <a:gd name="connsiteX25" fmla="*/ 38562 w 350490"/>
                    <a:gd name="connsiteY25" fmla="*/ 215093 h 349633"/>
                    <a:gd name="connsiteX26" fmla="*/ 50560 w 350490"/>
                    <a:gd name="connsiteY26" fmla="*/ 243372 h 349633"/>
                    <a:gd name="connsiteX27" fmla="*/ 33421 w 350490"/>
                    <a:gd name="connsiteY27" fmla="*/ 270794 h 349633"/>
                    <a:gd name="connsiteX28" fmla="*/ 35135 w 350490"/>
                    <a:gd name="connsiteY28" fmla="*/ 281078 h 349633"/>
                    <a:gd name="connsiteX29" fmla="*/ 69412 w 350490"/>
                    <a:gd name="connsiteY29" fmla="*/ 315355 h 349633"/>
                    <a:gd name="connsiteX30" fmla="*/ 79696 w 350490"/>
                    <a:gd name="connsiteY30" fmla="*/ 316212 h 349633"/>
                    <a:gd name="connsiteX31" fmla="*/ 107118 w 350490"/>
                    <a:gd name="connsiteY31" fmla="*/ 299074 h 349633"/>
                    <a:gd name="connsiteX32" fmla="*/ 135397 w 350490"/>
                    <a:gd name="connsiteY32" fmla="*/ 311071 h 349633"/>
                    <a:gd name="connsiteX33" fmla="*/ 143110 w 350490"/>
                    <a:gd name="connsiteY33" fmla="*/ 342778 h 349633"/>
                    <a:gd name="connsiteX34" fmla="*/ 151679 w 350490"/>
                    <a:gd name="connsiteY34" fmla="*/ 349633 h 349633"/>
                    <a:gd name="connsiteX35" fmla="*/ 199668 w 350490"/>
                    <a:gd name="connsiteY35" fmla="*/ 349633 h 349633"/>
                    <a:gd name="connsiteX36" fmla="*/ 208237 w 350490"/>
                    <a:gd name="connsiteY36" fmla="*/ 342778 h 349633"/>
                    <a:gd name="connsiteX37" fmla="*/ 215950 w 350490"/>
                    <a:gd name="connsiteY37" fmla="*/ 311071 h 349633"/>
                    <a:gd name="connsiteX38" fmla="*/ 244229 w 350490"/>
                    <a:gd name="connsiteY38" fmla="*/ 299074 h 349633"/>
                    <a:gd name="connsiteX39" fmla="*/ 271651 w 350490"/>
                    <a:gd name="connsiteY39" fmla="*/ 316212 h 349633"/>
                    <a:gd name="connsiteX40" fmla="*/ 281935 w 350490"/>
                    <a:gd name="connsiteY40" fmla="*/ 315355 h 349633"/>
                    <a:gd name="connsiteX41" fmla="*/ 316212 w 350490"/>
                    <a:gd name="connsiteY41" fmla="*/ 281078 h 349633"/>
                    <a:gd name="connsiteX42" fmla="*/ 317069 w 350490"/>
                    <a:gd name="connsiteY42" fmla="*/ 270794 h 349633"/>
                    <a:gd name="connsiteX43" fmla="*/ 299930 w 350490"/>
                    <a:gd name="connsiteY43" fmla="*/ 243372 h 349633"/>
                    <a:gd name="connsiteX44" fmla="*/ 311928 w 350490"/>
                    <a:gd name="connsiteY44" fmla="*/ 215093 h 349633"/>
                    <a:gd name="connsiteX45" fmla="*/ 343635 w 350490"/>
                    <a:gd name="connsiteY45" fmla="*/ 207380 h 349633"/>
                    <a:gd name="connsiteX46" fmla="*/ 350490 w 350490"/>
                    <a:gd name="connsiteY46" fmla="*/ 198811 h 349633"/>
                    <a:gd name="connsiteX47" fmla="*/ 350490 w 350490"/>
                    <a:gd name="connsiteY47" fmla="*/ 150822 h 349633"/>
                    <a:gd name="connsiteX48" fmla="*/ 341921 w 350490"/>
                    <a:gd name="connsiteY48" fmla="*/ 142253 h 349633"/>
                    <a:gd name="connsiteX49" fmla="*/ 174817 w 350490"/>
                    <a:gd name="connsiteY49" fmla="*/ 253655 h 349633"/>
                    <a:gd name="connsiteX50" fmla="*/ 95121 w 350490"/>
                    <a:gd name="connsiteY50" fmla="*/ 173960 h 349633"/>
                    <a:gd name="connsiteX51" fmla="*/ 174817 w 350490"/>
                    <a:gd name="connsiteY51" fmla="*/ 94264 h 349633"/>
                    <a:gd name="connsiteX52" fmla="*/ 254512 w 350490"/>
                    <a:gd name="connsiteY52" fmla="*/ 173960 h 349633"/>
                    <a:gd name="connsiteX53" fmla="*/ 174817 w 350490"/>
                    <a:gd name="connsiteY53" fmla="*/ 253655 h 34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0490" h="349633">
                      <a:moveTo>
                        <a:pt x="341921" y="142253"/>
                      </a:moveTo>
                      <a:lnTo>
                        <a:pt x="310214" y="134540"/>
                      </a:lnTo>
                      <a:lnTo>
                        <a:pt x="298217" y="106261"/>
                      </a:lnTo>
                      <a:lnTo>
                        <a:pt x="315355" y="78839"/>
                      </a:lnTo>
                      <a:cubicBezTo>
                        <a:pt x="317069" y="75411"/>
                        <a:pt x="317069" y="71126"/>
                        <a:pt x="314499" y="68556"/>
                      </a:cubicBezTo>
                      <a:lnTo>
                        <a:pt x="280221" y="34278"/>
                      </a:lnTo>
                      <a:cubicBezTo>
                        <a:pt x="277650" y="31707"/>
                        <a:pt x="273365" y="30850"/>
                        <a:pt x="269937" y="33421"/>
                      </a:cubicBezTo>
                      <a:lnTo>
                        <a:pt x="242515" y="50560"/>
                      </a:lnTo>
                      <a:lnTo>
                        <a:pt x="214236" y="38562"/>
                      </a:lnTo>
                      <a:lnTo>
                        <a:pt x="206524" y="6856"/>
                      </a:lnTo>
                      <a:cubicBezTo>
                        <a:pt x="205667" y="3428"/>
                        <a:pt x="202239" y="0"/>
                        <a:pt x="197954" y="0"/>
                      </a:cubicBezTo>
                      <a:lnTo>
                        <a:pt x="149965" y="0"/>
                      </a:lnTo>
                      <a:cubicBezTo>
                        <a:pt x="145681" y="0"/>
                        <a:pt x="142253" y="2571"/>
                        <a:pt x="141396" y="6856"/>
                      </a:cubicBezTo>
                      <a:lnTo>
                        <a:pt x="134540" y="38562"/>
                      </a:lnTo>
                      <a:lnTo>
                        <a:pt x="106261" y="50560"/>
                      </a:lnTo>
                      <a:lnTo>
                        <a:pt x="78839" y="33421"/>
                      </a:lnTo>
                      <a:cubicBezTo>
                        <a:pt x="75411" y="31707"/>
                        <a:pt x="71126" y="31707"/>
                        <a:pt x="68556" y="34278"/>
                      </a:cubicBezTo>
                      <a:lnTo>
                        <a:pt x="34278" y="68556"/>
                      </a:lnTo>
                      <a:cubicBezTo>
                        <a:pt x="31707" y="71126"/>
                        <a:pt x="30850" y="75411"/>
                        <a:pt x="33421" y="78839"/>
                      </a:cubicBezTo>
                      <a:lnTo>
                        <a:pt x="50560" y="106261"/>
                      </a:lnTo>
                      <a:lnTo>
                        <a:pt x="38562" y="134540"/>
                      </a:lnTo>
                      <a:lnTo>
                        <a:pt x="6856" y="142253"/>
                      </a:lnTo>
                      <a:cubicBezTo>
                        <a:pt x="3428" y="143110"/>
                        <a:pt x="0" y="146537"/>
                        <a:pt x="0" y="150822"/>
                      </a:cubicBezTo>
                      <a:lnTo>
                        <a:pt x="0" y="198811"/>
                      </a:lnTo>
                      <a:cubicBezTo>
                        <a:pt x="0" y="203096"/>
                        <a:pt x="2571" y="206524"/>
                        <a:pt x="6856" y="207380"/>
                      </a:cubicBezTo>
                      <a:lnTo>
                        <a:pt x="38562" y="215093"/>
                      </a:lnTo>
                      <a:lnTo>
                        <a:pt x="50560" y="243372"/>
                      </a:lnTo>
                      <a:lnTo>
                        <a:pt x="33421" y="270794"/>
                      </a:lnTo>
                      <a:cubicBezTo>
                        <a:pt x="31707" y="274222"/>
                        <a:pt x="31707" y="278507"/>
                        <a:pt x="35135" y="281078"/>
                      </a:cubicBezTo>
                      <a:lnTo>
                        <a:pt x="69412" y="315355"/>
                      </a:lnTo>
                      <a:cubicBezTo>
                        <a:pt x="71983" y="317926"/>
                        <a:pt x="76268" y="318783"/>
                        <a:pt x="79696" y="316212"/>
                      </a:cubicBezTo>
                      <a:lnTo>
                        <a:pt x="107118" y="299074"/>
                      </a:lnTo>
                      <a:lnTo>
                        <a:pt x="135397" y="311071"/>
                      </a:lnTo>
                      <a:lnTo>
                        <a:pt x="143110" y="342778"/>
                      </a:lnTo>
                      <a:cubicBezTo>
                        <a:pt x="143967" y="346205"/>
                        <a:pt x="147394" y="349633"/>
                        <a:pt x="151679" y="349633"/>
                      </a:cubicBezTo>
                      <a:lnTo>
                        <a:pt x="199668" y="349633"/>
                      </a:lnTo>
                      <a:cubicBezTo>
                        <a:pt x="203953" y="349633"/>
                        <a:pt x="207380" y="347062"/>
                        <a:pt x="208237" y="342778"/>
                      </a:cubicBezTo>
                      <a:lnTo>
                        <a:pt x="215950" y="311071"/>
                      </a:lnTo>
                      <a:lnTo>
                        <a:pt x="244229" y="299074"/>
                      </a:lnTo>
                      <a:lnTo>
                        <a:pt x="271651" y="316212"/>
                      </a:lnTo>
                      <a:cubicBezTo>
                        <a:pt x="275079" y="317926"/>
                        <a:pt x="279364" y="317926"/>
                        <a:pt x="281935" y="315355"/>
                      </a:cubicBezTo>
                      <a:lnTo>
                        <a:pt x="316212" y="281078"/>
                      </a:lnTo>
                      <a:cubicBezTo>
                        <a:pt x="318783" y="278507"/>
                        <a:pt x="319640" y="274222"/>
                        <a:pt x="317069" y="270794"/>
                      </a:cubicBezTo>
                      <a:lnTo>
                        <a:pt x="299930" y="243372"/>
                      </a:lnTo>
                      <a:lnTo>
                        <a:pt x="311928" y="215093"/>
                      </a:lnTo>
                      <a:lnTo>
                        <a:pt x="343635" y="207380"/>
                      </a:lnTo>
                      <a:cubicBezTo>
                        <a:pt x="347062" y="206524"/>
                        <a:pt x="350490" y="203096"/>
                        <a:pt x="350490" y="198811"/>
                      </a:cubicBezTo>
                      <a:lnTo>
                        <a:pt x="350490" y="150822"/>
                      </a:lnTo>
                      <a:cubicBezTo>
                        <a:pt x="348776" y="146537"/>
                        <a:pt x="346205" y="143110"/>
                        <a:pt x="341921" y="142253"/>
                      </a:cubicBezTo>
                      <a:close/>
                      <a:moveTo>
                        <a:pt x="174817" y="253655"/>
                      </a:moveTo>
                      <a:cubicBezTo>
                        <a:pt x="131112" y="253655"/>
                        <a:pt x="95121" y="218521"/>
                        <a:pt x="95121" y="173960"/>
                      </a:cubicBezTo>
                      <a:cubicBezTo>
                        <a:pt x="95121" y="130256"/>
                        <a:pt x="130256" y="94264"/>
                        <a:pt x="174817" y="94264"/>
                      </a:cubicBezTo>
                      <a:cubicBezTo>
                        <a:pt x="218521" y="94264"/>
                        <a:pt x="254512" y="129399"/>
                        <a:pt x="254512" y="173960"/>
                      </a:cubicBezTo>
                      <a:cubicBezTo>
                        <a:pt x="253655" y="218521"/>
                        <a:pt x="218521" y="253655"/>
                        <a:pt x="174817" y="253655"/>
                      </a:cubicBezTo>
                      <a:close/>
                    </a:path>
                  </a:pathLst>
                </a:custGeom>
                <a:solidFill>
                  <a:srgbClr val="30E5D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3913DED3-EF0F-410A-97D3-F6C642E7FD4E}"/>
                    </a:ext>
                  </a:extLst>
                </p:cNvPr>
                <p:cNvSpPr/>
                <p:nvPr/>
              </p:nvSpPr>
              <p:spPr>
                <a:xfrm>
                  <a:off x="9647311" y="2788120"/>
                  <a:ext cx="300376" cy="299930"/>
                </a:xfrm>
                <a:custGeom>
                  <a:avLst/>
                  <a:gdLst>
                    <a:gd name="connsiteX0" fmla="*/ 293075 w 300376"/>
                    <a:gd name="connsiteY0" fmla="*/ 125971 h 299930"/>
                    <a:gd name="connsiteX1" fmla="*/ 262225 w 300376"/>
                    <a:gd name="connsiteY1" fmla="*/ 112260 h 299930"/>
                    <a:gd name="connsiteX2" fmla="*/ 256226 w 300376"/>
                    <a:gd name="connsiteY2" fmla="*/ 96835 h 299930"/>
                    <a:gd name="connsiteX3" fmla="*/ 269080 w 300376"/>
                    <a:gd name="connsiteY3" fmla="*/ 65128 h 299930"/>
                    <a:gd name="connsiteX4" fmla="*/ 266510 w 300376"/>
                    <a:gd name="connsiteY4" fmla="*/ 50560 h 299930"/>
                    <a:gd name="connsiteX5" fmla="*/ 248514 w 300376"/>
                    <a:gd name="connsiteY5" fmla="*/ 35135 h 299930"/>
                    <a:gd name="connsiteX6" fmla="*/ 233946 w 300376"/>
                    <a:gd name="connsiteY6" fmla="*/ 31707 h 299930"/>
                    <a:gd name="connsiteX7" fmla="*/ 202239 w 300376"/>
                    <a:gd name="connsiteY7" fmla="*/ 44561 h 299930"/>
                    <a:gd name="connsiteX8" fmla="*/ 186814 w 300376"/>
                    <a:gd name="connsiteY8" fmla="*/ 38562 h 299930"/>
                    <a:gd name="connsiteX9" fmla="*/ 173103 w 300376"/>
                    <a:gd name="connsiteY9" fmla="*/ 7713 h 299930"/>
                    <a:gd name="connsiteX10" fmla="*/ 161105 w 300376"/>
                    <a:gd name="connsiteY10" fmla="*/ 0 h 299930"/>
                    <a:gd name="connsiteX11" fmla="*/ 137968 w 300376"/>
                    <a:gd name="connsiteY11" fmla="*/ 0 h 299930"/>
                    <a:gd name="connsiteX12" fmla="*/ 125971 w 300376"/>
                    <a:gd name="connsiteY12" fmla="*/ 7713 h 299930"/>
                    <a:gd name="connsiteX13" fmla="*/ 112260 w 300376"/>
                    <a:gd name="connsiteY13" fmla="*/ 38562 h 299930"/>
                    <a:gd name="connsiteX14" fmla="*/ 96835 w 300376"/>
                    <a:gd name="connsiteY14" fmla="*/ 44561 h 299930"/>
                    <a:gd name="connsiteX15" fmla="*/ 65128 w 300376"/>
                    <a:gd name="connsiteY15" fmla="*/ 31707 h 299930"/>
                    <a:gd name="connsiteX16" fmla="*/ 50560 w 300376"/>
                    <a:gd name="connsiteY16" fmla="*/ 35135 h 299930"/>
                    <a:gd name="connsiteX17" fmla="*/ 34278 w 300376"/>
                    <a:gd name="connsiteY17" fmla="*/ 51417 h 299930"/>
                    <a:gd name="connsiteX18" fmla="*/ 31707 w 300376"/>
                    <a:gd name="connsiteY18" fmla="*/ 65985 h 299930"/>
                    <a:gd name="connsiteX19" fmla="*/ 44561 w 300376"/>
                    <a:gd name="connsiteY19" fmla="*/ 97692 h 299930"/>
                    <a:gd name="connsiteX20" fmla="*/ 38562 w 300376"/>
                    <a:gd name="connsiteY20" fmla="*/ 113117 h 299930"/>
                    <a:gd name="connsiteX21" fmla="*/ 7712 w 300376"/>
                    <a:gd name="connsiteY21" fmla="*/ 126828 h 299930"/>
                    <a:gd name="connsiteX22" fmla="*/ 0 w 300376"/>
                    <a:gd name="connsiteY22" fmla="*/ 137968 h 299930"/>
                    <a:gd name="connsiteX23" fmla="*/ 0 w 300376"/>
                    <a:gd name="connsiteY23" fmla="*/ 161106 h 299930"/>
                    <a:gd name="connsiteX24" fmla="*/ 7712 w 300376"/>
                    <a:gd name="connsiteY24" fmla="*/ 173103 h 299930"/>
                    <a:gd name="connsiteX25" fmla="*/ 38562 w 300376"/>
                    <a:gd name="connsiteY25" fmla="*/ 186814 h 299930"/>
                    <a:gd name="connsiteX26" fmla="*/ 44561 w 300376"/>
                    <a:gd name="connsiteY26" fmla="*/ 202239 h 299930"/>
                    <a:gd name="connsiteX27" fmla="*/ 31707 w 300376"/>
                    <a:gd name="connsiteY27" fmla="*/ 233946 h 299930"/>
                    <a:gd name="connsiteX28" fmla="*/ 34278 w 300376"/>
                    <a:gd name="connsiteY28" fmla="*/ 248514 h 299930"/>
                    <a:gd name="connsiteX29" fmla="*/ 50560 w 300376"/>
                    <a:gd name="connsiteY29" fmla="*/ 264796 h 299930"/>
                    <a:gd name="connsiteX30" fmla="*/ 65128 w 300376"/>
                    <a:gd name="connsiteY30" fmla="*/ 268224 h 299930"/>
                    <a:gd name="connsiteX31" fmla="*/ 96835 w 300376"/>
                    <a:gd name="connsiteY31" fmla="*/ 255369 h 299930"/>
                    <a:gd name="connsiteX32" fmla="*/ 112260 w 300376"/>
                    <a:gd name="connsiteY32" fmla="*/ 261368 h 299930"/>
                    <a:gd name="connsiteX33" fmla="*/ 125971 w 300376"/>
                    <a:gd name="connsiteY33" fmla="*/ 292218 h 299930"/>
                    <a:gd name="connsiteX34" fmla="*/ 137968 w 300376"/>
                    <a:gd name="connsiteY34" fmla="*/ 299930 h 299930"/>
                    <a:gd name="connsiteX35" fmla="*/ 161105 w 300376"/>
                    <a:gd name="connsiteY35" fmla="*/ 299930 h 299930"/>
                    <a:gd name="connsiteX36" fmla="*/ 173103 w 300376"/>
                    <a:gd name="connsiteY36" fmla="*/ 292218 h 299930"/>
                    <a:gd name="connsiteX37" fmla="*/ 186814 w 300376"/>
                    <a:gd name="connsiteY37" fmla="*/ 261368 h 299930"/>
                    <a:gd name="connsiteX38" fmla="*/ 202239 w 300376"/>
                    <a:gd name="connsiteY38" fmla="*/ 255369 h 299930"/>
                    <a:gd name="connsiteX39" fmla="*/ 233946 w 300376"/>
                    <a:gd name="connsiteY39" fmla="*/ 268224 h 299930"/>
                    <a:gd name="connsiteX40" fmla="*/ 248514 w 300376"/>
                    <a:gd name="connsiteY40" fmla="*/ 264796 h 299930"/>
                    <a:gd name="connsiteX41" fmla="*/ 265653 w 300376"/>
                    <a:gd name="connsiteY41" fmla="*/ 247657 h 299930"/>
                    <a:gd name="connsiteX42" fmla="*/ 268224 w 300376"/>
                    <a:gd name="connsiteY42" fmla="*/ 233089 h 299930"/>
                    <a:gd name="connsiteX43" fmla="*/ 255369 w 300376"/>
                    <a:gd name="connsiteY43" fmla="*/ 201382 h 299930"/>
                    <a:gd name="connsiteX44" fmla="*/ 261368 w 300376"/>
                    <a:gd name="connsiteY44" fmla="*/ 185957 h 299930"/>
                    <a:gd name="connsiteX45" fmla="*/ 292218 w 300376"/>
                    <a:gd name="connsiteY45" fmla="*/ 172246 h 299930"/>
                    <a:gd name="connsiteX46" fmla="*/ 299930 w 300376"/>
                    <a:gd name="connsiteY46" fmla="*/ 160249 h 299930"/>
                    <a:gd name="connsiteX47" fmla="*/ 299930 w 300376"/>
                    <a:gd name="connsiteY47" fmla="*/ 137111 h 299930"/>
                    <a:gd name="connsiteX48" fmla="*/ 293075 w 300376"/>
                    <a:gd name="connsiteY48" fmla="*/ 125971 h 299930"/>
                    <a:gd name="connsiteX49" fmla="*/ 150822 w 300376"/>
                    <a:gd name="connsiteY49" fmla="*/ 210808 h 299930"/>
                    <a:gd name="connsiteX50" fmla="*/ 89122 w 300376"/>
                    <a:gd name="connsiteY50" fmla="*/ 149108 h 299930"/>
                    <a:gd name="connsiteX51" fmla="*/ 150822 w 300376"/>
                    <a:gd name="connsiteY51" fmla="*/ 87408 h 299930"/>
                    <a:gd name="connsiteX52" fmla="*/ 212522 w 300376"/>
                    <a:gd name="connsiteY52" fmla="*/ 149108 h 299930"/>
                    <a:gd name="connsiteX53" fmla="*/ 150822 w 300376"/>
                    <a:gd name="connsiteY53" fmla="*/ 210808 h 29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0376" h="299930">
                      <a:moveTo>
                        <a:pt x="293075" y="125971"/>
                      </a:moveTo>
                      <a:lnTo>
                        <a:pt x="262225" y="112260"/>
                      </a:lnTo>
                      <a:lnTo>
                        <a:pt x="256226" y="96835"/>
                      </a:lnTo>
                      <a:lnTo>
                        <a:pt x="269080" y="65128"/>
                      </a:lnTo>
                      <a:cubicBezTo>
                        <a:pt x="270794" y="59986"/>
                        <a:pt x="269937" y="54844"/>
                        <a:pt x="266510" y="50560"/>
                      </a:cubicBezTo>
                      <a:lnTo>
                        <a:pt x="248514" y="35135"/>
                      </a:lnTo>
                      <a:cubicBezTo>
                        <a:pt x="245086" y="31707"/>
                        <a:pt x="239087" y="29993"/>
                        <a:pt x="233946" y="31707"/>
                      </a:cubicBezTo>
                      <a:lnTo>
                        <a:pt x="202239" y="44561"/>
                      </a:lnTo>
                      <a:lnTo>
                        <a:pt x="186814" y="38562"/>
                      </a:lnTo>
                      <a:lnTo>
                        <a:pt x="173103" y="7713"/>
                      </a:lnTo>
                      <a:cubicBezTo>
                        <a:pt x="170532" y="2571"/>
                        <a:pt x="166247" y="0"/>
                        <a:pt x="161105" y="0"/>
                      </a:cubicBezTo>
                      <a:lnTo>
                        <a:pt x="137968" y="0"/>
                      </a:lnTo>
                      <a:cubicBezTo>
                        <a:pt x="132826" y="0"/>
                        <a:pt x="127685" y="3428"/>
                        <a:pt x="125971" y="7713"/>
                      </a:cubicBezTo>
                      <a:lnTo>
                        <a:pt x="112260" y="38562"/>
                      </a:lnTo>
                      <a:lnTo>
                        <a:pt x="96835" y="44561"/>
                      </a:lnTo>
                      <a:lnTo>
                        <a:pt x="65128" y="31707"/>
                      </a:lnTo>
                      <a:cubicBezTo>
                        <a:pt x="59986" y="29993"/>
                        <a:pt x="53987" y="30850"/>
                        <a:pt x="50560" y="35135"/>
                      </a:cubicBezTo>
                      <a:lnTo>
                        <a:pt x="34278" y="51417"/>
                      </a:lnTo>
                      <a:cubicBezTo>
                        <a:pt x="30850" y="54844"/>
                        <a:pt x="29136" y="60843"/>
                        <a:pt x="31707" y="65985"/>
                      </a:cubicBezTo>
                      <a:lnTo>
                        <a:pt x="44561" y="97692"/>
                      </a:lnTo>
                      <a:lnTo>
                        <a:pt x="38562" y="113117"/>
                      </a:lnTo>
                      <a:lnTo>
                        <a:pt x="7712" y="126828"/>
                      </a:lnTo>
                      <a:cubicBezTo>
                        <a:pt x="3428" y="127685"/>
                        <a:pt x="0" y="132826"/>
                        <a:pt x="0" y="137968"/>
                      </a:cubicBezTo>
                      <a:lnTo>
                        <a:pt x="0" y="161106"/>
                      </a:lnTo>
                      <a:cubicBezTo>
                        <a:pt x="0" y="166247"/>
                        <a:pt x="3428" y="171389"/>
                        <a:pt x="7712" y="173103"/>
                      </a:cubicBezTo>
                      <a:lnTo>
                        <a:pt x="38562" y="186814"/>
                      </a:lnTo>
                      <a:lnTo>
                        <a:pt x="44561" y="202239"/>
                      </a:lnTo>
                      <a:lnTo>
                        <a:pt x="31707" y="233946"/>
                      </a:lnTo>
                      <a:cubicBezTo>
                        <a:pt x="29993" y="239087"/>
                        <a:pt x="30850" y="244229"/>
                        <a:pt x="34278" y="248514"/>
                      </a:cubicBezTo>
                      <a:lnTo>
                        <a:pt x="50560" y="264796"/>
                      </a:lnTo>
                      <a:cubicBezTo>
                        <a:pt x="53987" y="268224"/>
                        <a:pt x="59986" y="269937"/>
                        <a:pt x="65128" y="268224"/>
                      </a:cubicBezTo>
                      <a:lnTo>
                        <a:pt x="96835" y="255369"/>
                      </a:lnTo>
                      <a:lnTo>
                        <a:pt x="112260" y="261368"/>
                      </a:lnTo>
                      <a:lnTo>
                        <a:pt x="125971" y="292218"/>
                      </a:lnTo>
                      <a:cubicBezTo>
                        <a:pt x="127685" y="297360"/>
                        <a:pt x="132826" y="299930"/>
                        <a:pt x="137968" y="299930"/>
                      </a:cubicBezTo>
                      <a:lnTo>
                        <a:pt x="161105" y="299930"/>
                      </a:lnTo>
                      <a:cubicBezTo>
                        <a:pt x="166247" y="299930"/>
                        <a:pt x="171389" y="296503"/>
                        <a:pt x="173103" y="292218"/>
                      </a:cubicBezTo>
                      <a:lnTo>
                        <a:pt x="186814" y="261368"/>
                      </a:lnTo>
                      <a:lnTo>
                        <a:pt x="202239" y="255369"/>
                      </a:lnTo>
                      <a:lnTo>
                        <a:pt x="233946" y="268224"/>
                      </a:lnTo>
                      <a:cubicBezTo>
                        <a:pt x="239087" y="269937"/>
                        <a:pt x="245086" y="269080"/>
                        <a:pt x="248514" y="264796"/>
                      </a:cubicBezTo>
                      <a:lnTo>
                        <a:pt x="265653" y="247657"/>
                      </a:lnTo>
                      <a:cubicBezTo>
                        <a:pt x="269080" y="244229"/>
                        <a:pt x="270794" y="238230"/>
                        <a:pt x="268224" y="233089"/>
                      </a:cubicBezTo>
                      <a:lnTo>
                        <a:pt x="255369" y="201382"/>
                      </a:lnTo>
                      <a:lnTo>
                        <a:pt x="261368" y="185957"/>
                      </a:lnTo>
                      <a:lnTo>
                        <a:pt x="292218" y="172246"/>
                      </a:lnTo>
                      <a:cubicBezTo>
                        <a:pt x="297360" y="169675"/>
                        <a:pt x="299930" y="165390"/>
                        <a:pt x="299930" y="160249"/>
                      </a:cubicBezTo>
                      <a:lnTo>
                        <a:pt x="299930" y="137111"/>
                      </a:lnTo>
                      <a:cubicBezTo>
                        <a:pt x="301644" y="132826"/>
                        <a:pt x="298217" y="127685"/>
                        <a:pt x="293075" y="125971"/>
                      </a:cubicBezTo>
                      <a:close/>
                      <a:moveTo>
                        <a:pt x="150822" y="210808"/>
                      </a:moveTo>
                      <a:cubicBezTo>
                        <a:pt x="116544" y="210808"/>
                        <a:pt x="89122" y="183386"/>
                        <a:pt x="89122" y="149108"/>
                      </a:cubicBezTo>
                      <a:cubicBezTo>
                        <a:pt x="89122" y="114831"/>
                        <a:pt x="116544" y="87408"/>
                        <a:pt x="150822" y="87408"/>
                      </a:cubicBezTo>
                      <a:cubicBezTo>
                        <a:pt x="185100" y="87408"/>
                        <a:pt x="212522" y="114831"/>
                        <a:pt x="212522" y="149108"/>
                      </a:cubicBezTo>
                      <a:cubicBezTo>
                        <a:pt x="212522" y="183386"/>
                        <a:pt x="184243" y="210808"/>
                        <a:pt x="150822" y="210808"/>
                      </a:cubicBezTo>
                      <a:close/>
                    </a:path>
                  </a:pathLst>
                </a:custGeom>
                <a:solidFill>
                  <a:srgbClr val="50505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2" name="Arc 151">
              <a:extLst>
                <a:ext uri="{FF2B5EF4-FFF2-40B4-BE49-F238E27FC236}">
                  <a16:creationId xmlns:a16="http://schemas.microsoft.com/office/drawing/2014/main" id="{FBAA7FAB-EC94-46DF-87B3-F2A429ADBC13}"/>
                </a:ext>
              </a:extLst>
            </p:cNvPr>
            <p:cNvSpPr/>
            <p:nvPr/>
          </p:nvSpPr>
          <p:spPr>
            <a:xfrm rot="1608303">
              <a:off x="7140176" y="246345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7" name="Oval 156">
              <a:extLst>
                <a:ext uri="{FF2B5EF4-FFF2-40B4-BE49-F238E27FC236}">
                  <a16:creationId xmlns:a16="http://schemas.microsoft.com/office/drawing/2014/main" id="{7BD4CB1D-A7DE-4EEC-B36F-23640458923B}"/>
                </a:ext>
              </a:extLst>
            </p:cNvPr>
            <p:cNvSpPr/>
            <p:nvPr/>
          </p:nvSpPr>
          <p:spPr bwMode="auto">
            <a:xfrm>
              <a:off x="8088380" y="2473712"/>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3" name="Straight Connector 162">
            <a:extLst>
              <a:ext uri="{FF2B5EF4-FFF2-40B4-BE49-F238E27FC236}">
                <a16:creationId xmlns:a16="http://schemas.microsoft.com/office/drawing/2014/main" id="{B6FDF4D3-8FCF-4B1E-8610-1775A847E1FE}"/>
              </a:ext>
            </a:extLst>
          </p:cNvPr>
          <p:cNvCxnSpPr>
            <a:cxnSpLocks/>
            <a:endCxn id="157" idx="7"/>
          </p:cNvCxnSpPr>
          <p:nvPr/>
        </p:nvCxnSpPr>
        <p:spPr>
          <a:xfrm flipH="1">
            <a:off x="8784885" y="1890012"/>
            <a:ext cx="76246" cy="30694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FB9BA5FA-BCA1-4AF9-94BF-1EBDB6F63253}"/>
              </a:ext>
            </a:extLst>
          </p:cNvPr>
          <p:cNvSpPr/>
          <p:nvPr/>
        </p:nvSpPr>
        <p:spPr bwMode="auto">
          <a:xfrm>
            <a:off x="9284495" y="2069413"/>
            <a:ext cx="2324894" cy="675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improve </a:t>
            </a:r>
            <a:b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reputation</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21" name="Group 20">
            <a:extLst>
              <a:ext uri="{FF2B5EF4-FFF2-40B4-BE49-F238E27FC236}">
                <a16:creationId xmlns:a16="http://schemas.microsoft.com/office/drawing/2014/main" id="{07293160-585E-4BFC-8F4D-707D92987656}"/>
              </a:ext>
            </a:extLst>
          </p:cNvPr>
          <p:cNvGrpSpPr/>
          <p:nvPr/>
        </p:nvGrpSpPr>
        <p:grpSpPr>
          <a:xfrm>
            <a:off x="10173762" y="2832165"/>
            <a:ext cx="1399958" cy="1435140"/>
            <a:chOff x="8489380" y="3832097"/>
            <a:chExt cx="1399958" cy="1435140"/>
          </a:xfrm>
        </p:grpSpPr>
        <p:sp>
          <p:nvSpPr>
            <p:cNvPr id="142" name="Arc 141">
              <a:extLst>
                <a:ext uri="{FF2B5EF4-FFF2-40B4-BE49-F238E27FC236}">
                  <a16:creationId xmlns:a16="http://schemas.microsoft.com/office/drawing/2014/main" id="{30377F20-FE4B-4B21-976A-DE18D993974D}"/>
                </a:ext>
              </a:extLst>
            </p:cNvPr>
            <p:cNvSpPr/>
            <p:nvPr/>
          </p:nvSpPr>
          <p:spPr>
            <a:xfrm rot="2700000">
              <a:off x="8489380" y="3867279"/>
              <a:ext cx="1399958" cy="1399958"/>
            </a:xfrm>
            <a:prstGeom prst="arc">
              <a:avLst>
                <a:gd name="adj1" fmla="val 9192847"/>
                <a:gd name="adj2" fmla="val 2022894"/>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4" name="Arc 153">
              <a:extLst>
                <a:ext uri="{FF2B5EF4-FFF2-40B4-BE49-F238E27FC236}">
                  <a16:creationId xmlns:a16="http://schemas.microsoft.com/office/drawing/2014/main" id="{23C4A40E-F150-4084-9C51-A0525824120F}"/>
                </a:ext>
              </a:extLst>
            </p:cNvPr>
            <p:cNvSpPr/>
            <p:nvPr/>
          </p:nvSpPr>
          <p:spPr>
            <a:xfrm rot="1380174">
              <a:off x="8489380" y="386727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25" name="Group 124">
              <a:extLst>
                <a:ext uri="{FF2B5EF4-FFF2-40B4-BE49-F238E27FC236}">
                  <a16:creationId xmlns:a16="http://schemas.microsoft.com/office/drawing/2014/main" id="{D8EAB65F-8DC7-414E-8980-0F1CFAE53D60}"/>
                </a:ext>
              </a:extLst>
            </p:cNvPr>
            <p:cNvGrpSpPr/>
            <p:nvPr/>
          </p:nvGrpSpPr>
          <p:grpSpPr>
            <a:xfrm>
              <a:off x="8643121" y="4021020"/>
              <a:ext cx="1092476" cy="1092476"/>
              <a:chOff x="5549762" y="2258164"/>
              <a:chExt cx="1092476" cy="1092476"/>
            </a:xfrm>
          </p:grpSpPr>
          <p:sp>
            <p:nvSpPr>
              <p:cNvPr id="126" name="Flowchart: Connector 125">
                <a:extLst>
                  <a:ext uri="{FF2B5EF4-FFF2-40B4-BE49-F238E27FC236}">
                    <a16:creationId xmlns:a16="http://schemas.microsoft.com/office/drawing/2014/main" id="{B6DA7129-EAA7-4F18-8E1A-BD6DB24F7A47}"/>
                  </a:ext>
                </a:extLst>
              </p:cNvPr>
              <p:cNvSpPr/>
              <p:nvPr/>
            </p:nvSpPr>
            <p:spPr bwMode="auto">
              <a:xfrm>
                <a:off x="5549762"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27" name="Group 126">
                <a:extLst>
                  <a:ext uri="{FF2B5EF4-FFF2-40B4-BE49-F238E27FC236}">
                    <a16:creationId xmlns:a16="http://schemas.microsoft.com/office/drawing/2014/main" id="{9C2FAD5E-506C-49B1-8726-BC94D0D447C9}"/>
                  </a:ext>
                </a:extLst>
              </p:cNvPr>
              <p:cNvGrpSpPr/>
              <p:nvPr/>
            </p:nvGrpSpPr>
            <p:grpSpPr>
              <a:xfrm>
                <a:off x="5852963" y="2561365"/>
                <a:ext cx="486074" cy="486074"/>
                <a:chOff x="3842467" y="3185112"/>
                <a:chExt cx="328830" cy="328830"/>
              </a:xfrm>
            </p:grpSpPr>
            <p:sp>
              <p:nvSpPr>
                <p:cNvPr id="128" name="Freeform 10">
                  <a:extLst>
                    <a:ext uri="{FF2B5EF4-FFF2-40B4-BE49-F238E27FC236}">
                      <a16:creationId xmlns:a16="http://schemas.microsoft.com/office/drawing/2014/main" id="{C3F188E3-D596-4CEA-BAEB-0A3A21E3C87A}"/>
                    </a:ext>
                  </a:extLst>
                </p:cNvPr>
                <p:cNvSpPr>
                  <a:spLocks noEditPoints="1"/>
                </p:cNvSpPr>
                <p:nvPr/>
              </p:nvSpPr>
              <p:spPr bwMode="auto">
                <a:xfrm>
                  <a:off x="3842467" y="3332200"/>
                  <a:ext cx="328830" cy="181742"/>
                </a:xfrm>
                <a:custGeom>
                  <a:avLst/>
                  <a:gdLst>
                    <a:gd name="T0" fmla="*/ 85 w 854"/>
                    <a:gd name="T1" fmla="*/ 472 h 472"/>
                    <a:gd name="T2" fmla="*/ 0 w 854"/>
                    <a:gd name="T3" fmla="*/ 472 h 472"/>
                    <a:gd name="T4" fmla="*/ 0 w 854"/>
                    <a:gd name="T5" fmla="*/ 368 h 472"/>
                    <a:gd name="T6" fmla="*/ 85 w 854"/>
                    <a:gd name="T7" fmla="*/ 368 h 472"/>
                    <a:gd name="T8" fmla="*/ 85 w 854"/>
                    <a:gd name="T9" fmla="*/ 472 h 472"/>
                    <a:gd name="T10" fmla="*/ 214 w 854"/>
                    <a:gd name="T11" fmla="*/ 263 h 472"/>
                    <a:gd name="T12" fmla="*/ 128 w 854"/>
                    <a:gd name="T13" fmla="*/ 263 h 472"/>
                    <a:gd name="T14" fmla="*/ 128 w 854"/>
                    <a:gd name="T15" fmla="*/ 472 h 472"/>
                    <a:gd name="T16" fmla="*/ 214 w 854"/>
                    <a:gd name="T17" fmla="*/ 472 h 472"/>
                    <a:gd name="T18" fmla="*/ 214 w 854"/>
                    <a:gd name="T19" fmla="*/ 263 h 472"/>
                    <a:gd name="T20" fmla="*/ 342 w 854"/>
                    <a:gd name="T21" fmla="*/ 157 h 472"/>
                    <a:gd name="T22" fmla="*/ 256 w 854"/>
                    <a:gd name="T23" fmla="*/ 157 h 472"/>
                    <a:gd name="T24" fmla="*/ 256 w 854"/>
                    <a:gd name="T25" fmla="*/ 472 h 472"/>
                    <a:gd name="T26" fmla="*/ 342 w 854"/>
                    <a:gd name="T27" fmla="*/ 472 h 472"/>
                    <a:gd name="T28" fmla="*/ 342 w 854"/>
                    <a:gd name="T29" fmla="*/ 157 h 472"/>
                    <a:gd name="T30" fmla="*/ 470 w 854"/>
                    <a:gd name="T31" fmla="*/ 52 h 472"/>
                    <a:gd name="T32" fmla="*/ 384 w 854"/>
                    <a:gd name="T33" fmla="*/ 52 h 472"/>
                    <a:gd name="T34" fmla="*/ 384 w 854"/>
                    <a:gd name="T35" fmla="*/ 472 h 472"/>
                    <a:gd name="T36" fmla="*/ 470 w 854"/>
                    <a:gd name="T37" fmla="*/ 472 h 472"/>
                    <a:gd name="T38" fmla="*/ 470 w 854"/>
                    <a:gd name="T39" fmla="*/ 52 h 472"/>
                    <a:gd name="T40" fmla="*/ 598 w 854"/>
                    <a:gd name="T41" fmla="*/ 157 h 472"/>
                    <a:gd name="T42" fmla="*/ 512 w 854"/>
                    <a:gd name="T43" fmla="*/ 157 h 472"/>
                    <a:gd name="T44" fmla="*/ 512 w 854"/>
                    <a:gd name="T45" fmla="*/ 472 h 472"/>
                    <a:gd name="T46" fmla="*/ 598 w 854"/>
                    <a:gd name="T47" fmla="*/ 472 h 472"/>
                    <a:gd name="T48" fmla="*/ 598 w 854"/>
                    <a:gd name="T49" fmla="*/ 157 h 472"/>
                    <a:gd name="T50" fmla="*/ 726 w 854"/>
                    <a:gd name="T51" fmla="*/ 52 h 472"/>
                    <a:gd name="T52" fmla="*/ 641 w 854"/>
                    <a:gd name="T53" fmla="*/ 52 h 472"/>
                    <a:gd name="T54" fmla="*/ 641 w 854"/>
                    <a:gd name="T55" fmla="*/ 472 h 472"/>
                    <a:gd name="T56" fmla="*/ 726 w 854"/>
                    <a:gd name="T57" fmla="*/ 472 h 472"/>
                    <a:gd name="T58" fmla="*/ 726 w 854"/>
                    <a:gd name="T59" fmla="*/ 52 h 472"/>
                    <a:gd name="T60" fmla="*/ 854 w 854"/>
                    <a:gd name="T61" fmla="*/ 0 h 472"/>
                    <a:gd name="T62" fmla="*/ 769 w 854"/>
                    <a:gd name="T63" fmla="*/ 0 h 472"/>
                    <a:gd name="T64" fmla="*/ 769 w 854"/>
                    <a:gd name="T65" fmla="*/ 472 h 472"/>
                    <a:gd name="T66" fmla="*/ 854 w 854"/>
                    <a:gd name="T67" fmla="*/ 472 h 472"/>
                    <a:gd name="T68" fmla="*/ 854 w 854"/>
                    <a:gd name="T69"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4" h="472">
                      <a:moveTo>
                        <a:pt x="85" y="472"/>
                      </a:moveTo>
                      <a:lnTo>
                        <a:pt x="0" y="472"/>
                      </a:lnTo>
                      <a:lnTo>
                        <a:pt x="0" y="368"/>
                      </a:lnTo>
                      <a:lnTo>
                        <a:pt x="85" y="368"/>
                      </a:lnTo>
                      <a:lnTo>
                        <a:pt x="85" y="472"/>
                      </a:lnTo>
                      <a:close/>
                      <a:moveTo>
                        <a:pt x="214" y="263"/>
                      </a:moveTo>
                      <a:lnTo>
                        <a:pt x="128" y="263"/>
                      </a:lnTo>
                      <a:lnTo>
                        <a:pt x="128" y="472"/>
                      </a:lnTo>
                      <a:lnTo>
                        <a:pt x="214" y="472"/>
                      </a:lnTo>
                      <a:lnTo>
                        <a:pt x="214" y="263"/>
                      </a:lnTo>
                      <a:close/>
                      <a:moveTo>
                        <a:pt x="342" y="157"/>
                      </a:moveTo>
                      <a:lnTo>
                        <a:pt x="256" y="157"/>
                      </a:lnTo>
                      <a:lnTo>
                        <a:pt x="256" y="472"/>
                      </a:lnTo>
                      <a:lnTo>
                        <a:pt x="342" y="472"/>
                      </a:lnTo>
                      <a:lnTo>
                        <a:pt x="342" y="157"/>
                      </a:lnTo>
                      <a:close/>
                      <a:moveTo>
                        <a:pt x="470" y="52"/>
                      </a:moveTo>
                      <a:lnTo>
                        <a:pt x="384" y="52"/>
                      </a:lnTo>
                      <a:lnTo>
                        <a:pt x="384" y="472"/>
                      </a:lnTo>
                      <a:lnTo>
                        <a:pt x="470" y="472"/>
                      </a:lnTo>
                      <a:lnTo>
                        <a:pt x="470" y="52"/>
                      </a:lnTo>
                      <a:close/>
                      <a:moveTo>
                        <a:pt x="598" y="157"/>
                      </a:moveTo>
                      <a:lnTo>
                        <a:pt x="512" y="157"/>
                      </a:lnTo>
                      <a:lnTo>
                        <a:pt x="512" y="472"/>
                      </a:lnTo>
                      <a:lnTo>
                        <a:pt x="598" y="472"/>
                      </a:lnTo>
                      <a:lnTo>
                        <a:pt x="598" y="157"/>
                      </a:lnTo>
                      <a:close/>
                      <a:moveTo>
                        <a:pt x="726" y="52"/>
                      </a:moveTo>
                      <a:lnTo>
                        <a:pt x="641" y="52"/>
                      </a:lnTo>
                      <a:lnTo>
                        <a:pt x="641" y="472"/>
                      </a:lnTo>
                      <a:lnTo>
                        <a:pt x="726" y="472"/>
                      </a:lnTo>
                      <a:lnTo>
                        <a:pt x="726" y="52"/>
                      </a:lnTo>
                      <a:close/>
                      <a:moveTo>
                        <a:pt x="854" y="0"/>
                      </a:moveTo>
                      <a:lnTo>
                        <a:pt x="769" y="0"/>
                      </a:lnTo>
                      <a:lnTo>
                        <a:pt x="769" y="472"/>
                      </a:lnTo>
                      <a:lnTo>
                        <a:pt x="854" y="472"/>
                      </a:lnTo>
                      <a:lnTo>
                        <a:pt x="85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29" name="Freeform 11">
                  <a:extLst>
                    <a:ext uri="{FF2B5EF4-FFF2-40B4-BE49-F238E27FC236}">
                      <a16:creationId xmlns:a16="http://schemas.microsoft.com/office/drawing/2014/main" id="{B06CC2ED-8A5A-425D-8FAD-A29B5B8B38CB}"/>
                    </a:ext>
                  </a:extLst>
                </p:cNvPr>
                <p:cNvSpPr>
                  <a:spLocks/>
                </p:cNvSpPr>
                <p:nvPr/>
              </p:nvSpPr>
              <p:spPr bwMode="auto">
                <a:xfrm>
                  <a:off x="3847088" y="3185112"/>
                  <a:ext cx="316894" cy="194449"/>
                </a:xfrm>
                <a:custGeom>
                  <a:avLst/>
                  <a:gdLst>
                    <a:gd name="T0" fmla="*/ 645 w 823"/>
                    <a:gd name="T1" fmla="*/ 0 h 505"/>
                    <a:gd name="T2" fmla="*/ 645 w 823"/>
                    <a:gd name="T3" fmla="*/ 38 h 505"/>
                    <a:gd name="T4" fmla="*/ 757 w 823"/>
                    <a:gd name="T5" fmla="*/ 38 h 505"/>
                    <a:gd name="T6" fmla="*/ 541 w 823"/>
                    <a:gd name="T7" fmla="*/ 251 h 505"/>
                    <a:gd name="T8" fmla="*/ 384 w 823"/>
                    <a:gd name="T9" fmla="*/ 95 h 505"/>
                    <a:gd name="T10" fmla="*/ 0 w 823"/>
                    <a:gd name="T11" fmla="*/ 477 h 505"/>
                    <a:gd name="T12" fmla="*/ 26 w 823"/>
                    <a:gd name="T13" fmla="*/ 505 h 505"/>
                    <a:gd name="T14" fmla="*/ 384 w 823"/>
                    <a:gd name="T15" fmla="*/ 149 h 505"/>
                    <a:gd name="T16" fmla="*/ 541 w 823"/>
                    <a:gd name="T17" fmla="*/ 304 h 505"/>
                    <a:gd name="T18" fmla="*/ 785 w 823"/>
                    <a:gd name="T19" fmla="*/ 64 h 505"/>
                    <a:gd name="T20" fmla="*/ 785 w 823"/>
                    <a:gd name="T21" fmla="*/ 176 h 505"/>
                    <a:gd name="T22" fmla="*/ 823 w 823"/>
                    <a:gd name="T23" fmla="*/ 176 h 505"/>
                    <a:gd name="T24" fmla="*/ 823 w 823"/>
                    <a:gd name="T25" fmla="*/ 0 h 505"/>
                    <a:gd name="T26" fmla="*/ 645 w 823"/>
                    <a:gd name="T27"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3" h="505">
                      <a:moveTo>
                        <a:pt x="645" y="0"/>
                      </a:moveTo>
                      <a:lnTo>
                        <a:pt x="645" y="38"/>
                      </a:lnTo>
                      <a:lnTo>
                        <a:pt x="757" y="38"/>
                      </a:lnTo>
                      <a:lnTo>
                        <a:pt x="541" y="251"/>
                      </a:lnTo>
                      <a:lnTo>
                        <a:pt x="384" y="95"/>
                      </a:lnTo>
                      <a:lnTo>
                        <a:pt x="0" y="477"/>
                      </a:lnTo>
                      <a:lnTo>
                        <a:pt x="26" y="505"/>
                      </a:lnTo>
                      <a:lnTo>
                        <a:pt x="384" y="149"/>
                      </a:lnTo>
                      <a:lnTo>
                        <a:pt x="541" y="304"/>
                      </a:lnTo>
                      <a:lnTo>
                        <a:pt x="785" y="64"/>
                      </a:lnTo>
                      <a:lnTo>
                        <a:pt x="785" y="176"/>
                      </a:lnTo>
                      <a:lnTo>
                        <a:pt x="823" y="176"/>
                      </a:lnTo>
                      <a:lnTo>
                        <a:pt x="823" y="0"/>
                      </a:lnTo>
                      <a:lnTo>
                        <a:pt x="645" y="0"/>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9" name="Oval 158">
              <a:extLst>
                <a:ext uri="{FF2B5EF4-FFF2-40B4-BE49-F238E27FC236}">
                  <a16:creationId xmlns:a16="http://schemas.microsoft.com/office/drawing/2014/main" id="{222E2BBB-8200-4AC5-917E-A45CE41F8B1C}"/>
                </a:ext>
              </a:extLst>
            </p:cNvPr>
            <p:cNvSpPr/>
            <p:nvPr/>
          </p:nvSpPr>
          <p:spPr bwMode="auto">
            <a:xfrm>
              <a:off x="9362170" y="3832097"/>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8" name="Straight Connector 167">
            <a:extLst>
              <a:ext uri="{FF2B5EF4-FFF2-40B4-BE49-F238E27FC236}">
                <a16:creationId xmlns:a16="http://schemas.microsoft.com/office/drawing/2014/main" id="{1C49DD94-5D04-4701-9B30-AE1FCE18BB5E}"/>
              </a:ext>
            </a:extLst>
          </p:cNvPr>
          <p:cNvCxnSpPr>
            <a:cxnSpLocks/>
            <a:endCxn id="159" idx="7"/>
          </p:cNvCxnSpPr>
          <p:nvPr/>
        </p:nvCxnSpPr>
        <p:spPr>
          <a:xfrm flipH="1">
            <a:off x="11147976" y="2613192"/>
            <a:ext cx="64650" cy="236375"/>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6D2FDA6C-D6AB-4B60-B2F9-713086C9C4F0}"/>
              </a:ext>
            </a:extLst>
          </p:cNvPr>
          <p:cNvSpPr/>
          <p:nvPr/>
        </p:nvSpPr>
        <p:spPr bwMode="auto">
          <a:xfrm>
            <a:off x="511033" y="2148932"/>
            <a:ext cx="1904443" cy="516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Enabl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intelligence</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cxnSp>
        <p:nvCxnSpPr>
          <p:cNvPr id="165" name="Straight Connector 164">
            <a:extLst>
              <a:ext uri="{FF2B5EF4-FFF2-40B4-BE49-F238E27FC236}">
                <a16:creationId xmlns:a16="http://schemas.microsoft.com/office/drawing/2014/main" id="{AD68F8B6-5A03-41CD-8343-9275AB5F0F73}"/>
              </a:ext>
            </a:extLst>
          </p:cNvPr>
          <p:cNvCxnSpPr>
            <a:cxnSpLocks/>
            <a:stCxn id="161" idx="1"/>
          </p:cNvCxnSpPr>
          <p:nvPr/>
        </p:nvCxnSpPr>
        <p:spPr>
          <a:xfrm flipH="1" flipV="1">
            <a:off x="793228" y="2730357"/>
            <a:ext cx="201365" cy="15179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C7255BB-D421-46A3-919E-73D12601DE7C}"/>
              </a:ext>
            </a:extLst>
          </p:cNvPr>
          <p:cNvGrpSpPr/>
          <p:nvPr/>
        </p:nvGrpSpPr>
        <p:grpSpPr>
          <a:xfrm>
            <a:off x="620678" y="2864746"/>
            <a:ext cx="1401925" cy="1402559"/>
            <a:chOff x="2440387" y="3863510"/>
            <a:chExt cx="1401925" cy="1402559"/>
          </a:xfrm>
        </p:grpSpPr>
        <p:sp>
          <p:nvSpPr>
            <p:cNvPr id="156" name="Arc 155">
              <a:extLst>
                <a:ext uri="{FF2B5EF4-FFF2-40B4-BE49-F238E27FC236}">
                  <a16:creationId xmlns:a16="http://schemas.microsoft.com/office/drawing/2014/main" id="{10E6FF2A-F784-4395-9E15-E127FD570806}"/>
                </a:ext>
              </a:extLst>
            </p:cNvPr>
            <p:cNvSpPr/>
            <p:nvPr/>
          </p:nvSpPr>
          <p:spPr>
            <a:xfrm rot="20206005" flipH="1">
              <a:off x="2440387" y="3866111"/>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31" name="Flowchart: Connector 130">
              <a:extLst>
                <a:ext uri="{FF2B5EF4-FFF2-40B4-BE49-F238E27FC236}">
                  <a16:creationId xmlns:a16="http://schemas.microsoft.com/office/drawing/2014/main" id="{DCCD4A82-41EF-4B1B-BA7A-C1889D69697F}"/>
                </a:ext>
              </a:extLst>
            </p:cNvPr>
            <p:cNvSpPr/>
            <p:nvPr/>
          </p:nvSpPr>
          <p:spPr bwMode="auto">
            <a:xfrm>
              <a:off x="2595356" y="4024472"/>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1" name="Arc 140">
              <a:extLst>
                <a:ext uri="{FF2B5EF4-FFF2-40B4-BE49-F238E27FC236}">
                  <a16:creationId xmlns:a16="http://schemas.microsoft.com/office/drawing/2014/main" id="{F231DCAE-5A25-48ED-B166-CDF6F5471977}"/>
                </a:ext>
              </a:extLst>
            </p:cNvPr>
            <p:cNvSpPr/>
            <p:nvPr/>
          </p:nvSpPr>
          <p:spPr>
            <a:xfrm rot="1324984">
              <a:off x="2442354" y="3866111"/>
              <a:ext cx="1399958" cy="1399958"/>
            </a:xfrm>
            <a:prstGeom prst="arc">
              <a:avLst>
                <a:gd name="adj1" fmla="val 4834015"/>
                <a:gd name="adj2" fmla="val 19313044"/>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61" name="Oval 160">
              <a:extLst>
                <a:ext uri="{FF2B5EF4-FFF2-40B4-BE49-F238E27FC236}">
                  <a16:creationId xmlns:a16="http://schemas.microsoft.com/office/drawing/2014/main" id="{7F2E9562-796B-4BB8-9FBB-E5E54B2388EB}"/>
                </a:ext>
              </a:extLst>
            </p:cNvPr>
            <p:cNvSpPr/>
            <p:nvPr/>
          </p:nvSpPr>
          <p:spPr bwMode="auto">
            <a:xfrm>
              <a:off x="2796900" y="386351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nvGrpSpPr>
            <p:cNvPr id="79" name="Group 78">
              <a:extLst>
                <a:ext uri="{FF2B5EF4-FFF2-40B4-BE49-F238E27FC236}">
                  <a16:creationId xmlns:a16="http://schemas.microsoft.com/office/drawing/2014/main" id="{659F91EE-3AE9-4A7F-B869-2B20AC8A58F8}"/>
                </a:ext>
              </a:extLst>
            </p:cNvPr>
            <p:cNvGrpSpPr/>
            <p:nvPr/>
          </p:nvGrpSpPr>
          <p:grpSpPr>
            <a:xfrm>
              <a:off x="2870831" y="4336707"/>
              <a:ext cx="599821" cy="458767"/>
              <a:chOff x="-1120538" y="6963557"/>
              <a:chExt cx="910734" cy="696566"/>
            </a:xfrm>
            <a:solidFill>
              <a:schemeClr val="accent1">
                <a:lumMod val="75000"/>
              </a:schemeClr>
            </a:solidFill>
          </p:grpSpPr>
          <p:sp>
            <p:nvSpPr>
              <p:cNvPr id="97" name="Freeform: Shape 96">
                <a:extLst>
                  <a:ext uri="{FF2B5EF4-FFF2-40B4-BE49-F238E27FC236}">
                    <a16:creationId xmlns:a16="http://schemas.microsoft.com/office/drawing/2014/main" id="{FC3FC8A1-BAEC-4B22-8E58-564042112228}"/>
                  </a:ext>
                </a:extLst>
              </p:cNvPr>
              <p:cNvSpPr/>
              <p:nvPr/>
            </p:nvSpPr>
            <p:spPr>
              <a:xfrm>
                <a:off x="-1041596" y="6963557"/>
                <a:ext cx="144318" cy="144318"/>
              </a:xfrm>
              <a:custGeom>
                <a:avLst/>
                <a:gdLst>
                  <a:gd name="connsiteX0" fmla="*/ 152285 w 144318"/>
                  <a:gd name="connsiteY0" fmla="*/ 76142 h 144318"/>
                  <a:gd name="connsiteX1" fmla="*/ 76142 w 144318"/>
                  <a:gd name="connsiteY1" fmla="*/ 152285 h 144318"/>
                  <a:gd name="connsiteX2" fmla="*/ 0 w 144318"/>
                  <a:gd name="connsiteY2" fmla="*/ 76142 h 144318"/>
                  <a:gd name="connsiteX3" fmla="*/ 76142 w 144318"/>
                  <a:gd name="connsiteY3" fmla="*/ 0 h 144318"/>
                  <a:gd name="connsiteX4" fmla="*/ 152285 w 144318"/>
                  <a:gd name="connsiteY4" fmla="*/ 76142 h 14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18" h="144318">
                    <a:moveTo>
                      <a:pt x="152285" y="76142"/>
                    </a:moveTo>
                    <a:cubicBezTo>
                      <a:pt x="152285" y="118194"/>
                      <a:pt x="118194" y="152285"/>
                      <a:pt x="76142" y="152285"/>
                    </a:cubicBezTo>
                    <a:cubicBezTo>
                      <a:pt x="34090" y="152285"/>
                      <a:pt x="0" y="118194"/>
                      <a:pt x="0" y="76142"/>
                    </a:cubicBezTo>
                    <a:cubicBezTo>
                      <a:pt x="0" y="34090"/>
                      <a:pt x="34090" y="0"/>
                      <a:pt x="76142" y="0"/>
                    </a:cubicBezTo>
                    <a:cubicBezTo>
                      <a:pt x="118194" y="0"/>
                      <a:pt x="152285" y="34090"/>
                      <a:pt x="152285" y="76142"/>
                    </a:cubicBez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156424BE-87A6-49BF-8B94-44ED73216CA8}"/>
                  </a:ext>
                </a:extLst>
              </p:cNvPr>
              <p:cNvSpPr/>
              <p:nvPr/>
            </p:nvSpPr>
            <p:spPr>
              <a:xfrm>
                <a:off x="-1120538" y="7140260"/>
                <a:ext cx="432955" cy="519545"/>
              </a:xfrm>
              <a:custGeom>
                <a:avLst/>
                <a:gdLst>
                  <a:gd name="connsiteX0" fmla="*/ 418523 w 432954"/>
                  <a:gd name="connsiteY0" fmla="*/ 53398 h 519545"/>
                  <a:gd name="connsiteX1" fmla="*/ 445193 w 432954"/>
                  <a:gd name="connsiteY1" fmla="*/ 26728 h 519545"/>
                  <a:gd name="connsiteX2" fmla="*/ 418523 w 432954"/>
                  <a:gd name="connsiteY2" fmla="*/ 58 h 519545"/>
                  <a:gd name="connsiteX3" fmla="*/ 415694 w 432954"/>
                  <a:gd name="connsiteY3" fmla="*/ 58 h 519545"/>
                  <a:gd name="connsiteX4" fmla="*/ 415694 w 432954"/>
                  <a:gd name="connsiteY4" fmla="*/ 0 h 519545"/>
                  <a:gd name="connsiteX5" fmla="*/ 186777 w 432954"/>
                  <a:gd name="connsiteY5" fmla="*/ 0 h 519545"/>
                  <a:gd name="connsiteX6" fmla="*/ 156730 w 432954"/>
                  <a:gd name="connsiteY6" fmla="*/ 0 h 519545"/>
                  <a:gd name="connsiteX7" fmla="*/ 53398 w 432954"/>
                  <a:gd name="connsiteY7" fmla="*/ 0 h 519545"/>
                  <a:gd name="connsiteX8" fmla="*/ 0 w 432954"/>
                  <a:gd name="connsiteY8" fmla="*/ 53398 h 519545"/>
                  <a:gd name="connsiteX9" fmla="*/ 0 w 432954"/>
                  <a:gd name="connsiteY9" fmla="*/ 218411 h 519545"/>
                  <a:gd name="connsiteX10" fmla="*/ 0 w 432954"/>
                  <a:gd name="connsiteY10" fmla="*/ 262313 h 519545"/>
                  <a:gd name="connsiteX11" fmla="*/ 26670 w 432954"/>
                  <a:gd name="connsiteY11" fmla="*/ 288983 h 519545"/>
                  <a:gd name="connsiteX12" fmla="*/ 53398 w 432954"/>
                  <a:gd name="connsiteY12" fmla="*/ 262313 h 519545"/>
                  <a:gd name="connsiteX13" fmla="*/ 53398 w 432954"/>
                  <a:gd name="connsiteY13" fmla="*/ 84513 h 519545"/>
                  <a:gd name="connsiteX14" fmla="*/ 70023 w 432954"/>
                  <a:gd name="connsiteY14" fmla="*/ 84513 h 519545"/>
                  <a:gd name="connsiteX15" fmla="*/ 70023 w 432954"/>
                  <a:gd name="connsiteY15" fmla="*/ 315653 h 519545"/>
                  <a:gd name="connsiteX16" fmla="*/ 70081 w 432954"/>
                  <a:gd name="connsiteY16" fmla="*/ 315653 h 519545"/>
                  <a:gd name="connsiteX17" fmla="*/ 70081 w 432954"/>
                  <a:gd name="connsiteY17" fmla="*/ 457546 h 519545"/>
                  <a:gd name="connsiteX18" fmla="*/ 70081 w 432954"/>
                  <a:gd name="connsiteY18" fmla="*/ 510136 h 519545"/>
                  <a:gd name="connsiteX19" fmla="*/ 70081 w 432954"/>
                  <a:gd name="connsiteY19" fmla="*/ 513744 h 519545"/>
                  <a:gd name="connsiteX20" fmla="*/ 104255 w 432954"/>
                  <a:gd name="connsiteY20" fmla="*/ 547976 h 519545"/>
                  <a:gd name="connsiteX21" fmla="*/ 138430 w 432954"/>
                  <a:gd name="connsiteY21" fmla="*/ 513744 h 519545"/>
                  <a:gd name="connsiteX22" fmla="*/ 138430 w 432954"/>
                  <a:gd name="connsiteY22" fmla="*/ 510136 h 519545"/>
                  <a:gd name="connsiteX23" fmla="*/ 138430 w 432954"/>
                  <a:gd name="connsiteY23" fmla="*/ 457546 h 519545"/>
                  <a:gd name="connsiteX24" fmla="*/ 138430 w 432954"/>
                  <a:gd name="connsiteY24" fmla="*/ 315653 h 519545"/>
                  <a:gd name="connsiteX25" fmla="*/ 171796 w 432954"/>
                  <a:gd name="connsiteY25" fmla="*/ 315653 h 519545"/>
                  <a:gd name="connsiteX26" fmla="*/ 171796 w 432954"/>
                  <a:gd name="connsiteY26" fmla="*/ 457546 h 519545"/>
                  <a:gd name="connsiteX27" fmla="*/ 171796 w 432954"/>
                  <a:gd name="connsiteY27" fmla="*/ 510136 h 519545"/>
                  <a:gd name="connsiteX28" fmla="*/ 171796 w 432954"/>
                  <a:gd name="connsiteY28" fmla="*/ 513744 h 519545"/>
                  <a:gd name="connsiteX29" fmla="*/ 205971 w 432954"/>
                  <a:gd name="connsiteY29" fmla="*/ 547976 h 519545"/>
                  <a:gd name="connsiteX30" fmla="*/ 240145 w 432954"/>
                  <a:gd name="connsiteY30" fmla="*/ 513744 h 519545"/>
                  <a:gd name="connsiteX31" fmla="*/ 240145 w 432954"/>
                  <a:gd name="connsiteY31" fmla="*/ 510136 h 519545"/>
                  <a:gd name="connsiteX32" fmla="*/ 240145 w 432954"/>
                  <a:gd name="connsiteY32" fmla="*/ 457546 h 519545"/>
                  <a:gd name="connsiteX33" fmla="*/ 240145 w 432954"/>
                  <a:gd name="connsiteY33" fmla="*/ 262313 h 519545"/>
                  <a:gd name="connsiteX34" fmla="*/ 240145 w 432954"/>
                  <a:gd name="connsiteY34" fmla="*/ 260061 h 519545"/>
                  <a:gd name="connsiteX35" fmla="*/ 240145 w 432954"/>
                  <a:gd name="connsiteY35" fmla="*/ 53398 h 519545"/>
                  <a:gd name="connsiteX36" fmla="*/ 415752 w 432954"/>
                  <a:gd name="connsiteY36" fmla="*/ 53398 h 519545"/>
                  <a:gd name="connsiteX37" fmla="*/ 418523 w 432954"/>
                  <a:gd name="connsiteY37" fmla="*/ 53398 h 5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954" h="519545">
                    <a:moveTo>
                      <a:pt x="418523" y="53398"/>
                    </a:moveTo>
                    <a:cubicBezTo>
                      <a:pt x="433243" y="53398"/>
                      <a:pt x="445193" y="41448"/>
                      <a:pt x="445193" y="26728"/>
                    </a:cubicBezTo>
                    <a:cubicBezTo>
                      <a:pt x="445193" y="11950"/>
                      <a:pt x="433243" y="58"/>
                      <a:pt x="418523" y="58"/>
                    </a:cubicBezTo>
                    <a:lnTo>
                      <a:pt x="415694" y="58"/>
                    </a:lnTo>
                    <a:lnTo>
                      <a:pt x="415694" y="0"/>
                    </a:lnTo>
                    <a:lnTo>
                      <a:pt x="186777" y="0"/>
                    </a:lnTo>
                    <a:lnTo>
                      <a:pt x="156730" y="0"/>
                    </a:lnTo>
                    <a:lnTo>
                      <a:pt x="53398" y="0"/>
                    </a:lnTo>
                    <a:cubicBezTo>
                      <a:pt x="23928" y="0"/>
                      <a:pt x="0" y="23899"/>
                      <a:pt x="0" y="53398"/>
                    </a:cubicBezTo>
                    <a:lnTo>
                      <a:pt x="0" y="218411"/>
                    </a:lnTo>
                    <a:lnTo>
                      <a:pt x="0" y="262313"/>
                    </a:lnTo>
                    <a:cubicBezTo>
                      <a:pt x="0" y="277091"/>
                      <a:pt x="11950" y="288983"/>
                      <a:pt x="26670" y="288983"/>
                    </a:cubicBezTo>
                    <a:cubicBezTo>
                      <a:pt x="41448" y="288983"/>
                      <a:pt x="53398" y="277091"/>
                      <a:pt x="53398" y="262313"/>
                    </a:cubicBezTo>
                    <a:lnTo>
                      <a:pt x="53398" y="84513"/>
                    </a:lnTo>
                    <a:lnTo>
                      <a:pt x="70023" y="84513"/>
                    </a:lnTo>
                    <a:lnTo>
                      <a:pt x="70023" y="315653"/>
                    </a:lnTo>
                    <a:lnTo>
                      <a:pt x="70081" y="315653"/>
                    </a:lnTo>
                    <a:lnTo>
                      <a:pt x="70081" y="457546"/>
                    </a:lnTo>
                    <a:lnTo>
                      <a:pt x="70081" y="510136"/>
                    </a:lnTo>
                    <a:lnTo>
                      <a:pt x="70081" y="513744"/>
                    </a:lnTo>
                    <a:cubicBezTo>
                      <a:pt x="70081" y="532621"/>
                      <a:pt x="85350" y="547976"/>
                      <a:pt x="104255" y="547976"/>
                    </a:cubicBezTo>
                    <a:cubicBezTo>
                      <a:pt x="123161" y="547976"/>
                      <a:pt x="138430" y="532650"/>
                      <a:pt x="138430" y="513744"/>
                    </a:cubicBezTo>
                    <a:lnTo>
                      <a:pt x="138430" y="510136"/>
                    </a:lnTo>
                    <a:lnTo>
                      <a:pt x="138430" y="457546"/>
                    </a:lnTo>
                    <a:lnTo>
                      <a:pt x="138430" y="315653"/>
                    </a:lnTo>
                    <a:lnTo>
                      <a:pt x="171796" y="315653"/>
                    </a:lnTo>
                    <a:lnTo>
                      <a:pt x="171796" y="457546"/>
                    </a:lnTo>
                    <a:lnTo>
                      <a:pt x="171796" y="510136"/>
                    </a:lnTo>
                    <a:lnTo>
                      <a:pt x="171796" y="513744"/>
                    </a:lnTo>
                    <a:cubicBezTo>
                      <a:pt x="171796" y="532621"/>
                      <a:pt x="187123" y="547976"/>
                      <a:pt x="205971" y="547976"/>
                    </a:cubicBezTo>
                    <a:cubicBezTo>
                      <a:pt x="224848" y="547976"/>
                      <a:pt x="240145" y="532650"/>
                      <a:pt x="240145" y="513744"/>
                    </a:cubicBezTo>
                    <a:lnTo>
                      <a:pt x="240145" y="510136"/>
                    </a:lnTo>
                    <a:lnTo>
                      <a:pt x="240145" y="457546"/>
                    </a:lnTo>
                    <a:lnTo>
                      <a:pt x="240145" y="262313"/>
                    </a:lnTo>
                    <a:lnTo>
                      <a:pt x="240145" y="260061"/>
                    </a:lnTo>
                    <a:lnTo>
                      <a:pt x="240145" y="53398"/>
                    </a:lnTo>
                    <a:lnTo>
                      <a:pt x="415752" y="53398"/>
                    </a:lnTo>
                    <a:lnTo>
                      <a:pt x="418523" y="53398"/>
                    </a:ln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031E00F4-239D-4982-9A72-1E99675DE94B}"/>
                  </a:ext>
                </a:extLst>
              </p:cNvPr>
              <p:cNvSpPr/>
              <p:nvPr/>
            </p:nvSpPr>
            <p:spPr>
              <a:xfrm>
                <a:off x="-787077" y="7053987"/>
                <a:ext cx="577273" cy="606136"/>
              </a:xfrm>
              <a:custGeom>
                <a:avLst/>
                <a:gdLst>
                  <a:gd name="connsiteX0" fmla="*/ 546822 w 577272"/>
                  <a:gd name="connsiteY0" fmla="*/ 0 h 606136"/>
                  <a:gd name="connsiteX1" fmla="*/ 43353 w 577272"/>
                  <a:gd name="connsiteY1" fmla="*/ 0 h 606136"/>
                  <a:gd name="connsiteX2" fmla="*/ 0 w 577272"/>
                  <a:gd name="connsiteY2" fmla="*/ 43353 h 606136"/>
                  <a:gd name="connsiteX3" fmla="*/ 0 w 577272"/>
                  <a:gd name="connsiteY3" fmla="*/ 67079 h 606136"/>
                  <a:gd name="connsiteX4" fmla="*/ 33309 w 577272"/>
                  <a:gd name="connsiteY4" fmla="*/ 67079 h 606136"/>
                  <a:gd name="connsiteX5" fmla="*/ 33309 w 577272"/>
                  <a:gd name="connsiteY5" fmla="*/ 43353 h 606136"/>
                  <a:gd name="connsiteX6" fmla="*/ 43353 w 577272"/>
                  <a:gd name="connsiteY6" fmla="*/ 33366 h 606136"/>
                  <a:gd name="connsiteX7" fmla="*/ 546822 w 577272"/>
                  <a:gd name="connsiteY7" fmla="*/ 33366 h 606136"/>
                  <a:gd name="connsiteX8" fmla="*/ 556866 w 577272"/>
                  <a:gd name="connsiteY8" fmla="*/ 43353 h 606136"/>
                  <a:gd name="connsiteX9" fmla="*/ 556866 w 577272"/>
                  <a:gd name="connsiteY9" fmla="*/ 357967 h 606136"/>
                  <a:gd name="connsiteX10" fmla="*/ 546822 w 577272"/>
                  <a:gd name="connsiteY10" fmla="*/ 367954 h 606136"/>
                  <a:gd name="connsiteX11" fmla="*/ 43353 w 577272"/>
                  <a:gd name="connsiteY11" fmla="*/ 367954 h 606136"/>
                  <a:gd name="connsiteX12" fmla="*/ 33309 w 577272"/>
                  <a:gd name="connsiteY12" fmla="*/ 357967 h 606136"/>
                  <a:gd name="connsiteX13" fmla="*/ 33309 w 577272"/>
                  <a:gd name="connsiteY13" fmla="*/ 158577 h 606136"/>
                  <a:gd name="connsiteX14" fmla="*/ 0 w 577272"/>
                  <a:gd name="connsiteY14" fmla="*/ 158577 h 606136"/>
                  <a:gd name="connsiteX15" fmla="*/ 0 w 577272"/>
                  <a:gd name="connsiteY15" fmla="*/ 357967 h 606136"/>
                  <a:gd name="connsiteX16" fmla="*/ 41160 w 577272"/>
                  <a:gd name="connsiteY16" fmla="*/ 401031 h 606136"/>
                  <a:gd name="connsiteX17" fmla="*/ 41160 w 577272"/>
                  <a:gd name="connsiteY17" fmla="*/ 433330 h 606136"/>
                  <a:gd name="connsiteX18" fmla="*/ 115743 w 577272"/>
                  <a:gd name="connsiteY18" fmla="*/ 433330 h 606136"/>
                  <a:gd name="connsiteX19" fmla="*/ 68118 w 577272"/>
                  <a:gd name="connsiteY19" fmla="*/ 634250 h 606136"/>
                  <a:gd name="connsiteX20" fmla="*/ 122699 w 577272"/>
                  <a:gd name="connsiteY20" fmla="*/ 634250 h 606136"/>
                  <a:gd name="connsiteX21" fmla="*/ 170555 w 577272"/>
                  <a:gd name="connsiteY21" fmla="*/ 433330 h 606136"/>
                  <a:gd name="connsiteX22" fmla="*/ 419677 w 577272"/>
                  <a:gd name="connsiteY22" fmla="*/ 433330 h 606136"/>
                  <a:gd name="connsiteX23" fmla="*/ 467591 w 577272"/>
                  <a:gd name="connsiteY23" fmla="*/ 634250 h 606136"/>
                  <a:gd name="connsiteX24" fmla="*/ 522114 w 577272"/>
                  <a:gd name="connsiteY24" fmla="*/ 634250 h 606136"/>
                  <a:gd name="connsiteX25" fmla="*/ 474489 w 577272"/>
                  <a:gd name="connsiteY25" fmla="*/ 433330 h 606136"/>
                  <a:gd name="connsiteX26" fmla="*/ 549131 w 577272"/>
                  <a:gd name="connsiteY26" fmla="*/ 433330 h 606136"/>
                  <a:gd name="connsiteX27" fmla="*/ 549131 w 577272"/>
                  <a:gd name="connsiteY27" fmla="*/ 401031 h 606136"/>
                  <a:gd name="connsiteX28" fmla="*/ 590232 w 577272"/>
                  <a:gd name="connsiteY28" fmla="*/ 357967 h 606136"/>
                  <a:gd name="connsiteX29" fmla="*/ 590232 w 577272"/>
                  <a:gd name="connsiteY29" fmla="*/ 43353 h 606136"/>
                  <a:gd name="connsiteX30" fmla="*/ 546822 w 577272"/>
                  <a:gd name="connsiteY30" fmla="*/ 0 h 60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7272" h="606136">
                    <a:moveTo>
                      <a:pt x="546822" y="0"/>
                    </a:moveTo>
                    <a:lnTo>
                      <a:pt x="43353" y="0"/>
                    </a:lnTo>
                    <a:cubicBezTo>
                      <a:pt x="19454" y="0"/>
                      <a:pt x="0" y="19454"/>
                      <a:pt x="0" y="43353"/>
                    </a:cubicBezTo>
                    <a:lnTo>
                      <a:pt x="0" y="67079"/>
                    </a:lnTo>
                    <a:lnTo>
                      <a:pt x="33309" y="67079"/>
                    </a:lnTo>
                    <a:lnTo>
                      <a:pt x="33309" y="43353"/>
                    </a:lnTo>
                    <a:cubicBezTo>
                      <a:pt x="33309" y="37840"/>
                      <a:pt x="37811" y="33366"/>
                      <a:pt x="43353" y="33366"/>
                    </a:cubicBezTo>
                    <a:lnTo>
                      <a:pt x="546822" y="33366"/>
                    </a:lnTo>
                    <a:cubicBezTo>
                      <a:pt x="552335" y="33366"/>
                      <a:pt x="556866" y="37811"/>
                      <a:pt x="556866" y="43353"/>
                    </a:cubicBezTo>
                    <a:lnTo>
                      <a:pt x="556866" y="357967"/>
                    </a:lnTo>
                    <a:cubicBezTo>
                      <a:pt x="556866" y="363480"/>
                      <a:pt x="552363" y="367954"/>
                      <a:pt x="546822" y="367954"/>
                    </a:cubicBezTo>
                    <a:lnTo>
                      <a:pt x="43353" y="367954"/>
                    </a:lnTo>
                    <a:cubicBezTo>
                      <a:pt x="37840" y="367954"/>
                      <a:pt x="33309" y="363509"/>
                      <a:pt x="33309" y="357967"/>
                    </a:cubicBezTo>
                    <a:lnTo>
                      <a:pt x="33309" y="158577"/>
                    </a:lnTo>
                    <a:lnTo>
                      <a:pt x="0" y="158577"/>
                    </a:lnTo>
                    <a:lnTo>
                      <a:pt x="0" y="357967"/>
                    </a:lnTo>
                    <a:cubicBezTo>
                      <a:pt x="0" y="381087"/>
                      <a:pt x="18271" y="399906"/>
                      <a:pt x="41160" y="401031"/>
                    </a:cubicBezTo>
                    <a:lnTo>
                      <a:pt x="41160" y="433330"/>
                    </a:lnTo>
                    <a:lnTo>
                      <a:pt x="115743" y="433330"/>
                    </a:lnTo>
                    <a:lnTo>
                      <a:pt x="68118" y="634250"/>
                    </a:lnTo>
                    <a:lnTo>
                      <a:pt x="122699" y="634250"/>
                    </a:lnTo>
                    <a:lnTo>
                      <a:pt x="170555" y="433330"/>
                    </a:lnTo>
                    <a:lnTo>
                      <a:pt x="419677" y="433330"/>
                    </a:lnTo>
                    <a:lnTo>
                      <a:pt x="467591" y="634250"/>
                    </a:lnTo>
                    <a:lnTo>
                      <a:pt x="522114" y="634250"/>
                    </a:lnTo>
                    <a:lnTo>
                      <a:pt x="474489" y="433330"/>
                    </a:lnTo>
                    <a:lnTo>
                      <a:pt x="549131" y="433330"/>
                    </a:lnTo>
                    <a:lnTo>
                      <a:pt x="549131" y="401031"/>
                    </a:lnTo>
                    <a:cubicBezTo>
                      <a:pt x="571962" y="399906"/>
                      <a:pt x="590232" y="381087"/>
                      <a:pt x="590232" y="357967"/>
                    </a:cubicBezTo>
                    <a:lnTo>
                      <a:pt x="590232" y="43353"/>
                    </a:lnTo>
                    <a:cubicBezTo>
                      <a:pt x="590175" y="19425"/>
                      <a:pt x="570721" y="0"/>
                      <a:pt x="546822" y="0"/>
                    </a:cubicBez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9D8A847-C6EC-46A2-9FD5-DF09C437BB02}"/>
                  </a:ext>
                </a:extLst>
              </p:cNvPr>
              <p:cNvSpPr/>
              <p:nvPr/>
            </p:nvSpPr>
            <p:spPr>
              <a:xfrm>
                <a:off x="-699447" y="7249104"/>
                <a:ext cx="28864" cy="115455"/>
              </a:xfrm>
              <a:custGeom>
                <a:avLst/>
                <a:gdLst>
                  <a:gd name="connsiteX0" fmla="*/ 0 w 28863"/>
                  <a:gd name="connsiteY0" fmla="*/ 0 h 115454"/>
                  <a:gd name="connsiteX1" fmla="*/ 48837 w 28863"/>
                  <a:gd name="connsiteY1" fmla="*/ 0 h 115454"/>
                  <a:gd name="connsiteX2" fmla="*/ 48837 w 28863"/>
                  <a:gd name="connsiteY2" fmla="*/ 134678 h 115454"/>
                  <a:gd name="connsiteX3" fmla="*/ 0 w 28863"/>
                  <a:gd name="connsiteY3" fmla="*/ 134678 h 115454"/>
                </a:gdLst>
                <a:ahLst/>
                <a:cxnLst>
                  <a:cxn ang="0">
                    <a:pos x="connsiteX0" y="connsiteY0"/>
                  </a:cxn>
                  <a:cxn ang="0">
                    <a:pos x="connsiteX1" y="connsiteY1"/>
                  </a:cxn>
                  <a:cxn ang="0">
                    <a:pos x="connsiteX2" y="connsiteY2"/>
                  </a:cxn>
                  <a:cxn ang="0">
                    <a:pos x="connsiteX3" y="connsiteY3"/>
                  </a:cxn>
                </a:cxnLst>
                <a:rect l="l" t="t" r="r" b="b"/>
                <a:pathLst>
                  <a:path w="28863" h="115454">
                    <a:moveTo>
                      <a:pt x="0" y="0"/>
                    </a:moveTo>
                    <a:lnTo>
                      <a:pt x="48837" y="0"/>
                    </a:lnTo>
                    <a:lnTo>
                      <a:pt x="48837" y="134678"/>
                    </a:lnTo>
                    <a:lnTo>
                      <a:pt x="0" y="134678"/>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E207B5F-028B-4328-8089-5D061B2614B8}"/>
                  </a:ext>
                </a:extLst>
              </p:cNvPr>
              <p:cNvSpPr/>
              <p:nvPr/>
            </p:nvSpPr>
            <p:spPr>
              <a:xfrm>
                <a:off x="-607920" y="7169730"/>
                <a:ext cx="28864" cy="202045"/>
              </a:xfrm>
              <a:custGeom>
                <a:avLst/>
                <a:gdLst>
                  <a:gd name="connsiteX0" fmla="*/ 0 w 28863"/>
                  <a:gd name="connsiteY0" fmla="*/ 0 h 202045"/>
                  <a:gd name="connsiteX1" fmla="*/ 48808 w 28863"/>
                  <a:gd name="connsiteY1" fmla="*/ 0 h 202045"/>
                  <a:gd name="connsiteX2" fmla="*/ 48808 w 28863"/>
                  <a:gd name="connsiteY2" fmla="*/ 214053 h 202045"/>
                  <a:gd name="connsiteX3" fmla="*/ 0 w 28863"/>
                  <a:gd name="connsiteY3" fmla="*/ 214053 h 202045"/>
                </a:gdLst>
                <a:ahLst/>
                <a:cxnLst>
                  <a:cxn ang="0">
                    <a:pos x="connsiteX0" y="connsiteY0"/>
                  </a:cxn>
                  <a:cxn ang="0">
                    <a:pos x="connsiteX1" y="connsiteY1"/>
                  </a:cxn>
                  <a:cxn ang="0">
                    <a:pos x="connsiteX2" y="connsiteY2"/>
                  </a:cxn>
                  <a:cxn ang="0">
                    <a:pos x="connsiteX3" y="connsiteY3"/>
                  </a:cxn>
                </a:cxnLst>
                <a:rect l="l" t="t" r="r" b="b"/>
                <a:pathLst>
                  <a:path w="28863" h="202045">
                    <a:moveTo>
                      <a:pt x="0" y="0"/>
                    </a:moveTo>
                    <a:lnTo>
                      <a:pt x="48808" y="0"/>
                    </a:lnTo>
                    <a:lnTo>
                      <a:pt x="48808" y="214053"/>
                    </a:lnTo>
                    <a:lnTo>
                      <a:pt x="0" y="21405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9343F60-FF08-478D-B5A8-587DE791B7B7}"/>
                  </a:ext>
                </a:extLst>
              </p:cNvPr>
              <p:cNvSpPr/>
              <p:nvPr/>
            </p:nvSpPr>
            <p:spPr>
              <a:xfrm>
                <a:off x="-516393" y="7222637"/>
                <a:ext cx="28864" cy="144318"/>
              </a:xfrm>
              <a:custGeom>
                <a:avLst/>
                <a:gdLst>
                  <a:gd name="connsiteX0" fmla="*/ 0 w 28863"/>
                  <a:gd name="connsiteY0" fmla="*/ 0 h 144318"/>
                  <a:gd name="connsiteX1" fmla="*/ 48808 w 28863"/>
                  <a:gd name="connsiteY1" fmla="*/ 0 h 144318"/>
                  <a:gd name="connsiteX2" fmla="*/ 48808 w 28863"/>
                  <a:gd name="connsiteY2" fmla="*/ 161146 h 144318"/>
                  <a:gd name="connsiteX3" fmla="*/ 0 w 28863"/>
                  <a:gd name="connsiteY3" fmla="*/ 161146 h 144318"/>
                </a:gdLst>
                <a:ahLst/>
                <a:cxnLst>
                  <a:cxn ang="0">
                    <a:pos x="connsiteX0" y="connsiteY0"/>
                  </a:cxn>
                  <a:cxn ang="0">
                    <a:pos x="connsiteX1" y="connsiteY1"/>
                  </a:cxn>
                  <a:cxn ang="0">
                    <a:pos x="connsiteX2" y="connsiteY2"/>
                  </a:cxn>
                  <a:cxn ang="0">
                    <a:pos x="connsiteX3" y="connsiteY3"/>
                  </a:cxn>
                </a:cxnLst>
                <a:rect l="l" t="t" r="r" b="b"/>
                <a:pathLst>
                  <a:path w="28863" h="144318">
                    <a:moveTo>
                      <a:pt x="0" y="0"/>
                    </a:moveTo>
                    <a:lnTo>
                      <a:pt x="48808" y="0"/>
                    </a:lnTo>
                    <a:lnTo>
                      <a:pt x="48808" y="161146"/>
                    </a:lnTo>
                    <a:lnTo>
                      <a:pt x="0" y="161146"/>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A62524DE-6876-4F8E-8C9E-848479D0A4DB}"/>
                  </a:ext>
                </a:extLst>
              </p:cNvPr>
              <p:cNvSpPr/>
              <p:nvPr/>
            </p:nvSpPr>
            <p:spPr>
              <a:xfrm>
                <a:off x="-424867" y="7125222"/>
                <a:ext cx="28864" cy="230909"/>
              </a:xfrm>
              <a:custGeom>
                <a:avLst/>
                <a:gdLst>
                  <a:gd name="connsiteX0" fmla="*/ 0 w 28863"/>
                  <a:gd name="connsiteY0" fmla="*/ 0 h 230909"/>
                  <a:gd name="connsiteX1" fmla="*/ 48808 w 28863"/>
                  <a:gd name="connsiteY1" fmla="*/ 0 h 230909"/>
                  <a:gd name="connsiteX2" fmla="*/ 48808 w 28863"/>
                  <a:gd name="connsiteY2" fmla="*/ 258560 h 230909"/>
                  <a:gd name="connsiteX3" fmla="*/ 0 w 28863"/>
                  <a:gd name="connsiteY3" fmla="*/ 258560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08" y="0"/>
                    </a:lnTo>
                    <a:lnTo>
                      <a:pt x="48808" y="258560"/>
                    </a:lnTo>
                    <a:lnTo>
                      <a:pt x="0" y="258560"/>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C710EA5-F48D-4ACE-87D2-5DC0A0EEBD7A}"/>
                  </a:ext>
                </a:extLst>
              </p:cNvPr>
              <p:cNvSpPr/>
              <p:nvPr/>
            </p:nvSpPr>
            <p:spPr>
              <a:xfrm>
                <a:off x="-333398" y="7140289"/>
                <a:ext cx="28864" cy="230909"/>
              </a:xfrm>
              <a:custGeom>
                <a:avLst/>
                <a:gdLst>
                  <a:gd name="connsiteX0" fmla="*/ 0 w 28863"/>
                  <a:gd name="connsiteY0" fmla="*/ 0 h 230909"/>
                  <a:gd name="connsiteX1" fmla="*/ 48837 w 28863"/>
                  <a:gd name="connsiteY1" fmla="*/ 0 h 230909"/>
                  <a:gd name="connsiteX2" fmla="*/ 48837 w 28863"/>
                  <a:gd name="connsiteY2" fmla="*/ 243523 h 230909"/>
                  <a:gd name="connsiteX3" fmla="*/ 0 w 28863"/>
                  <a:gd name="connsiteY3" fmla="*/ 243523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37" y="0"/>
                    </a:lnTo>
                    <a:lnTo>
                      <a:pt x="48837" y="243523"/>
                    </a:lnTo>
                    <a:lnTo>
                      <a:pt x="0" y="24352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cxnSp>
        <p:nvCxnSpPr>
          <p:cNvPr id="114" name="Straight Connector 113">
            <a:extLst>
              <a:ext uri="{FF2B5EF4-FFF2-40B4-BE49-F238E27FC236}">
                <a16:creationId xmlns:a16="http://schemas.microsoft.com/office/drawing/2014/main" id="{26A02E66-F4C4-47CC-857F-5202FCA6B564}"/>
              </a:ext>
            </a:extLst>
          </p:cNvPr>
          <p:cNvCxnSpPr>
            <a:cxnSpLocks/>
            <a:endCxn id="10" idx="2"/>
          </p:cNvCxnSpPr>
          <p:nvPr/>
        </p:nvCxnSpPr>
        <p:spPr>
          <a:xfrm flipV="1">
            <a:off x="6096000" y="1699315"/>
            <a:ext cx="1" cy="16451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134E31F7-3519-49B6-B920-A66475B2E52C}"/>
              </a:ext>
            </a:extLst>
          </p:cNvPr>
          <p:cNvSpPr/>
          <p:nvPr/>
        </p:nvSpPr>
        <p:spPr bwMode="auto">
          <a:xfrm>
            <a:off x="2466789" y="3606400"/>
            <a:ext cx="2386584" cy="119720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Reduce frequency of challenges and friction in the shopping experience</a:t>
            </a:r>
          </a:p>
        </p:txBody>
      </p:sp>
      <p:sp>
        <p:nvSpPr>
          <p:cNvPr id="109" name="Rectangle 108">
            <a:extLst>
              <a:ext uri="{FF2B5EF4-FFF2-40B4-BE49-F238E27FC236}">
                <a16:creationId xmlns:a16="http://schemas.microsoft.com/office/drawing/2014/main" id="{BCD0AD93-1BA4-45BA-B71E-AA2EF0249D6D}"/>
              </a:ext>
            </a:extLst>
          </p:cNvPr>
          <p:cNvSpPr/>
          <p:nvPr/>
        </p:nvSpPr>
        <p:spPr bwMode="auto">
          <a:xfrm>
            <a:off x="4739906" y="3408197"/>
            <a:ext cx="2700384" cy="119720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Help decrease wrongful rejections and increase commerce transaction acceptance rates</a:t>
            </a:r>
          </a:p>
        </p:txBody>
      </p:sp>
      <p:sp>
        <p:nvSpPr>
          <p:cNvPr id="110" name="Rectangle 109">
            <a:extLst>
              <a:ext uri="{FF2B5EF4-FFF2-40B4-BE49-F238E27FC236}">
                <a16:creationId xmlns:a16="http://schemas.microsoft.com/office/drawing/2014/main" id="{64F83CD1-CE98-450F-90CC-80A1097970F5}"/>
              </a:ext>
            </a:extLst>
          </p:cNvPr>
          <p:cNvSpPr/>
          <p:nvPr/>
        </p:nvSpPr>
        <p:spPr bwMode="auto">
          <a:xfrm>
            <a:off x="7287602" y="3704194"/>
            <a:ext cx="2386584" cy="119720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Reduce fraud losses and manual</a:t>
            </a:r>
            <a:br>
              <a:rPr kumimoji="0" lang="en-US" sz="1600" b="0" i="0" u="none" strike="noStrike" kern="1200" cap="none" spc="0" normalizeH="0" baseline="0" noProof="0">
                <a:ln>
                  <a:noFill/>
                </a:ln>
                <a:solidFill>
                  <a:srgbClr val="505050"/>
                </a:solidFill>
                <a:effectLst/>
                <a:uLnTx/>
                <a:uFillTx/>
                <a:latin typeface="Segoe UI"/>
                <a:ea typeface="+mn-ea"/>
                <a:cs typeface="+mn-cs"/>
              </a:rPr>
            </a:br>
            <a:r>
              <a:rPr kumimoji="0" lang="en-US" sz="1600" b="0" i="0" u="none" strike="noStrike" kern="1200" cap="none" spc="0" normalizeH="0" baseline="0" noProof="0">
                <a:ln>
                  <a:noFill/>
                </a:ln>
                <a:solidFill>
                  <a:srgbClr val="505050"/>
                </a:solidFill>
                <a:effectLst/>
                <a:uLnTx/>
                <a:uFillTx/>
                <a:latin typeface="Segoe UI"/>
                <a:ea typeface="+mn-ea"/>
                <a:cs typeface="+mn-cs"/>
              </a:rPr>
              <a:t>review expenses</a:t>
            </a:r>
          </a:p>
        </p:txBody>
      </p:sp>
      <p:sp>
        <p:nvSpPr>
          <p:cNvPr id="111" name="Rectangle 110">
            <a:extLst>
              <a:ext uri="{FF2B5EF4-FFF2-40B4-BE49-F238E27FC236}">
                <a16:creationId xmlns:a16="http://schemas.microsoft.com/office/drawing/2014/main" id="{40BA1C11-3D31-4DFA-8CA7-87BD1CE12C44}"/>
              </a:ext>
            </a:extLst>
          </p:cNvPr>
          <p:cNvSpPr/>
          <p:nvPr/>
        </p:nvSpPr>
        <p:spPr bwMode="auto">
          <a:xfrm>
            <a:off x="10174270" y="2613192"/>
            <a:ext cx="1741964" cy="1689604"/>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AAE0921F-6650-4B44-A93C-FFA3B2304318}"/>
              </a:ext>
            </a:extLst>
          </p:cNvPr>
          <p:cNvSpPr/>
          <p:nvPr/>
        </p:nvSpPr>
        <p:spPr bwMode="auto">
          <a:xfrm flipV="1">
            <a:off x="9389648" y="1972058"/>
            <a:ext cx="2217136" cy="793532"/>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2D4530-0D8C-4D0E-A674-41FA63313634}"/>
              </a:ext>
            </a:extLst>
          </p:cNvPr>
          <p:cNvSpPr/>
          <p:nvPr/>
        </p:nvSpPr>
        <p:spPr bwMode="auto">
          <a:xfrm>
            <a:off x="372772" y="2698452"/>
            <a:ext cx="1741964" cy="1592278"/>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B8023873-3CEC-4B6D-B4BE-01C56ED95E9A}"/>
              </a:ext>
            </a:extLst>
          </p:cNvPr>
          <p:cNvSpPr/>
          <p:nvPr/>
        </p:nvSpPr>
        <p:spPr bwMode="auto">
          <a:xfrm flipV="1">
            <a:off x="500404" y="1870430"/>
            <a:ext cx="1986090" cy="931833"/>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F5DA8B34-B81A-4007-922A-9F3708CBE3AF}"/>
              </a:ext>
            </a:extLst>
          </p:cNvPr>
          <p:cNvSpPr/>
          <p:nvPr/>
        </p:nvSpPr>
        <p:spPr bwMode="auto">
          <a:xfrm>
            <a:off x="577464" y="4857964"/>
            <a:ext cx="11029320" cy="8966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r>
              <a:rPr kumimoji="0" lang="en-US" sz="1600" b="1" i="0" u="none" strike="noStrike" kern="1200" cap="none" spc="0" normalizeH="0" baseline="0" noProof="0">
                <a:ln>
                  <a:noFill/>
                </a:ln>
                <a:solidFill>
                  <a:prstClr val="white"/>
                </a:solidFill>
                <a:effectLst/>
                <a:uLnTx/>
                <a:uFillTx/>
                <a:latin typeface="Segoe UI Semibold"/>
                <a:ea typeface="+mn-ea"/>
                <a:cs typeface="+mn-cs"/>
              </a:rPr>
              <a:t>Help protect online revenue by improving commerce transaction acceptance rates while reducing checkout friction, and providing merchants with insightful tools to make decisions that appropriately balance revenue opportunity and customer experience vs fraud loss with Dynamics 365 Fraud Protection with </a:t>
            </a:r>
            <a:r>
              <a:rPr kumimoji="0" lang="en-US" sz="1600" b="1" i="0" u="none" strike="noStrike" kern="1200" cap="none" spc="0" normalizeH="0" baseline="0" noProof="0">
                <a:ln>
                  <a:noFill/>
                </a:ln>
                <a:solidFill>
                  <a:prstClr val="white"/>
                </a:solidFill>
                <a:effectLst/>
                <a:uLnTx/>
                <a:uFillTx/>
                <a:latin typeface="Segoe UI"/>
                <a:ea typeface="+mn-ea"/>
                <a:cs typeface="+mn-cs"/>
              </a:rPr>
              <a:t>purchase protection </a:t>
            </a:r>
            <a:r>
              <a:rPr kumimoji="0" lang="en-US" sz="1600" b="1" i="0" u="none" strike="noStrike" kern="1200" cap="none" spc="0" normalizeH="0" baseline="0" noProof="0">
                <a:ln>
                  <a:noFill/>
                </a:ln>
                <a:solidFill>
                  <a:prstClr val="white"/>
                </a:solidFill>
                <a:effectLst/>
                <a:uLnTx/>
                <a:uFillTx/>
                <a:latin typeface="Segoe UI Semibold"/>
                <a:ea typeface="+mn-ea"/>
                <a:cs typeface="+mn-cs"/>
              </a:rPr>
              <a:t>capability</a:t>
            </a:r>
          </a:p>
        </p:txBody>
      </p:sp>
      <p:grpSp>
        <p:nvGrpSpPr>
          <p:cNvPr id="116" name="Group 115">
            <a:extLst>
              <a:ext uri="{FF2B5EF4-FFF2-40B4-BE49-F238E27FC236}">
                <a16:creationId xmlns:a16="http://schemas.microsoft.com/office/drawing/2014/main" id="{C6463875-F55F-4B1A-9561-AA1817130AC2}"/>
              </a:ext>
            </a:extLst>
          </p:cNvPr>
          <p:cNvGrpSpPr/>
          <p:nvPr/>
        </p:nvGrpSpPr>
        <p:grpSpPr>
          <a:xfrm>
            <a:off x="5396021" y="1863826"/>
            <a:ext cx="1399958" cy="1469642"/>
            <a:chOff x="5394453" y="2152804"/>
            <a:chExt cx="1399958" cy="1469642"/>
          </a:xfrm>
        </p:grpSpPr>
        <p:sp>
          <p:nvSpPr>
            <p:cNvPr id="117" name="Flowchart: Connector 116">
              <a:extLst>
                <a:ext uri="{FF2B5EF4-FFF2-40B4-BE49-F238E27FC236}">
                  <a16:creationId xmlns:a16="http://schemas.microsoft.com/office/drawing/2014/main" id="{D2ED6223-7864-4896-A759-B32C8A0B8B58}"/>
                </a:ext>
              </a:extLst>
            </p:cNvPr>
            <p:cNvSpPr/>
            <p:nvPr/>
          </p:nvSpPr>
          <p:spPr bwMode="auto">
            <a:xfrm>
              <a:off x="5548194" y="2376229"/>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728E648-02E7-479F-A9DD-C4904EF01C61}"/>
                </a:ext>
              </a:extLst>
            </p:cNvPr>
            <p:cNvGrpSpPr/>
            <p:nvPr/>
          </p:nvGrpSpPr>
          <p:grpSpPr>
            <a:xfrm>
              <a:off x="5834356" y="2623423"/>
              <a:ext cx="520152" cy="525142"/>
              <a:chOff x="2952955" y="2293228"/>
              <a:chExt cx="520152" cy="525142"/>
            </a:xfrm>
            <a:solidFill>
              <a:srgbClr val="505050"/>
            </a:solidFill>
          </p:grpSpPr>
          <p:sp>
            <p:nvSpPr>
              <p:cNvPr id="122" name="Freeform: Shape 121">
                <a:extLst>
                  <a:ext uri="{FF2B5EF4-FFF2-40B4-BE49-F238E27FC236}">
                    <a16:creationId xmlns:a16="http://schemas.microsoft.com/office/drawing/2014/main" id="{D4285BA5-D533-4F0D-A5E9-A7EB48D6E729}"/>
                  </a:ext>
                </a:extLst>
              </p:cNvPr>
              <p:cNvSpPr/>
              <p:nvPr/>
            </p:nvSpPr>
            <p:spPr>
              <a:xfrm>
                <a:off x="3241793" y="2476259"/>
                <a:ext cx="231314" cy="95716"/>
              </a:xfrm>
              <a:custGeom>
                <a:avLst/>
                <a:gdLst>
                  <a:gd name="connsiteX0" fmla="*/ 0 w 394607"/>
                  <a:gd name="connsiteY0" fmla="*/ 85381 h 163285"/>
                  <a:gd name="connsiteX1" fmla="*/ 198283 w 394607"/>
                  <a:gd name="connsiteY1" fmla="*/ 170755 h 163285"/>
                  <a:gd name="connsiteX2" fmla="*/ 396568 w 394607"/>
                  <a:gd name="connsiteY2" fmla="*/ 85381 h 163285"/>
                  <a:gd name="connsiteX3" fmla="*/ 198283 w 394607"/>
                  <a:gd name="connsiteY3" fmla="*/ 0 h 163285"/>
                  <a:gd name="connsiteX4" fmla="*/ 0 w 394607"/>
                  <a:gd name="connsiteY4" fmla="*/ 85381 h 163285"/>
                  <a:gd name="connsiteX5" fmla="*/ 212090 w 394607"/>
                  <a:gd name="connsiteY5" fmla="*/ 18126 h 163285"/>
                  <a:gd name="connsiteX6" fmla="*/ 240566 w 394607"/>
                  <a:gd name="connsiteY6" fmla="*/ 57901 h 163285"/>
                  <a:gd name="connsiteX7" fmla="*/ 225763 w 394607"/>
                  <a:gd name="connsiteY7" fmla="*/ 72703 h 163285"/>
                  <a:gd name="connsiteX8" fmla="*/ 210961 w 394607"/>
                  <a:gd name="connsiteY8" fmla="*/ 57901 h 163285"/>
                  <a:gd name="connsiteX9" fmla="*/ 198283 w 394607"/>
                  <a:gd name="connsiteY9" fmla="*/ 45223 h 163285"/>
                  <a:gd name="connsiteX10" fmla="*/ 185607 w 394607"/>
                  <a:gd name="connsiteY10" fmla="*/ 57901 h 163285"/>
                  <a:gd name="connsiteX11" fmla="*/ 198283 w 394607"/>
                  <a:gd name="connsiteY11" fmla="*/ 70579 h 163285"/>
                  <a:gd name="connsiteX12" fmla="*/ 240566 w 394607"/>
                  <a:gd name="connsiteY12" fmla="*/ 112860 h 163285"/>
                  <a:gd name="connsiteX13" fmla="*/ 212090 w 394607"/>
                  <a:gd name="connsiteY13" fmla="*/ 152627 h 163285"/>
                  <a:gd name="connsiteX14" fmla="*/ 198283 w 394607"/>
                  <a:gd name="connsiteY14" fmla="*/ 162501 h 163285"/>
                  <a:gd name="connsiteX15" fmla="*/ 184477 w 394607"/>
                  <a:gd name="connsiteY15" fmla="*/ 152627 h 163285"/>
                  <a:gd name="connsiteX16" fmla="*/ 156002 w 394607"/>
                  <a:gd name="connsiteY16" fmla="*/ 112860 h 163285"/>
                  <a:gd name="connsiteX17" fmla="*/ 170804 w 394607"/>
                  <a:gd name="connsiteY17" fmla="*/ 98059 h 163285"/>
                  <a:gd name="connsiteX18" fmla="*/ 185607 w 394607"/>
                  <a:gd name="connsiteY18" fmla="*/ 112860 h 163285"/>
                  <a:gd name="connsiteX19" fmla="*/ 198283 w 394607"/>
                  <a:gd name="connsiteY19" fmla="*/ 125530 h 163285"/>
                  <a:gd name="connsiteX20" fmla="*/ 210961 w 394607"/>
                  <a:gd name="connsiteY20" fmla="*/ 112860 h 163285"/>
                  <a:gd name="connsiteX21" fmla="*/ 198283 w 394607"/>
                  <a:gd name="connsiteY21" fmla="*/ 100183 h 163285"/>
                  <a:gd name="connsiteX22" fmla="*/ 156002 w 394607"/>
                  <a:gd name="connsiteY22" fmla="*/ 57901 h 163285"/>
                  <a:gd name="connsiteX23" fmla="*/ 184477 w 394607"/>
                  <a:gd name="connsiteY23" fmla="*/ 18126 h 163285"/>
                  <a:gd name="connsiteX24" fmla="*/ 198283 w 394607"/>
                  <a:gd name="connsiteY24" fmla="*/ 8254 h 163285"/>
                  <a:gd name="connsiteX25" fmla="*/ 212090 w 394607"/>
                  <a:gd name="connsiteY25" fmla="*/ 18126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0" y="85381"/>
                    </a:moveTo>
                    <a:cubicBezTo>
                      <a:pt x="0" y="125761"/>
                      <a:pt x="81433" y="170755"/>
                      <a:pt x="198283" y="170755"/>
                    </a:cubicBezTo>
                    <a:cubicBezTo>
                      <a:pt x="315133" y="170755"/>
                      <a:pt x="396568" y="125761"/>
                      <a:pt x="396568" y="85381"/>
                    </a:cubicBezTo>
                    <a:cubicBezTo>
                      <a:pt x="396568" y="45000"/>
                      <a:pt x="315133" y="0"/>
                      <a:pt x="198283" y="0"/>
                    </a:cubicBezTo>
                    <a:cubicBezTo>
                      <a:pt x="81433" y="0"/>
                      <a:pt x="0" y="45000"/>
                      <a:pt x="0" y="85381"/>
                    </a:cubicBezTo>
                    <a:close/>
                    <a:moveTo>
                      <a:pt x="212090" y="18126"/>
                    </a:moveTo>
                    <a:cubicBezTo>
                      <a:pt x="228608" y="23882"/>
                      <a:pt x="240566" y="39446"/>
                      <a:pt x="240566" y="57901"/>
                    </a:cubicBezTo>
                    <a:cubicBezTo>
                      <a:pt x="240566" y="66075"/>
                      <a:pt x="233938" y="72703"/>
                      <a:pt x="225763" y="72703"/>
                    </a:cubicBezTo>
                    <a:cubicBezTo>
                      <a:pt x="217589" y="72703"/>
                      <a:pt x="210961" y="66075"/>
                      <a:pt x="210961" y="57901"/>
                    </a:cubicBezTo>
                    <a:cubicBezTo>
                      <a:pt x="210961" y="50912"/>
                      <a:pt x="205273" y="45223"/>
                      <a:pt x="198283" y="45223"/>
                    </a:cubicBezTo>
                    <a:cubicBezTo>
                      <a:pt x="191295" y="45223"/>
                      <a:pt x="185607" y="50912"/>
                      <a:pt x="185607" y="57901"/>
                    </a:cubicBezTo>
                    <a:cubicBezTo>
                      <a:pt x="185607" y="64890"/>
                      <a:pt x="191295" y="70579"/>
                      <a:pt x="198283" y="70579"/>
                    </a:cubicBezTo>
                    <a:cubicBezTo>
                      <a:pt x="221600" y="70579"/>
                      <a:pt x="240566" y="89543"/>
                      <a:pt x="240566" y="112860"/>
                    </a:cubicBezTo>
                    <a:cubicBezTo>
                      <a:pt x="240566" y="131310"/>
                      <a:pt x="228608" y="146871"/>
                      <a:pt x="212090" y="152627"/>
                    </a:cubicBezTo>
                    <a:cubicBezTo>
                      <a:pt x="210044" y="158350"/>
                      <a:pt x="204709" y="162501"/>
                      <a:pt x="198283" y="162501"/>
                    </a:cubicBezTo>
                    <a:cubicBezTo>
                      <a:pt x="191858" y="162501"/>
                      <a:pt x="186523" y="158350"/>
                      <a:pt x="184477" y="152627"/>
                    </a:cubicBezTo>
                    <a:cubicBezTo>
                      <a:pt x="167958" y="146871"/>
                      <a:pt x="156002" y="131310"/>
                      <a:pt x="156002" y="112860"/>
                    </a:cubicBezTo>
                    <a:cubicBezTo>
                      <a:pt x="156002" y="104685"/>
                      <a:pt x="162630" y="98059"/>
                      <a:pt x="170804" y="98059"/>
                    </a:cubicBezTo>
                    <a:cubicBezTo>
                      <a:pt x="178979" y="98059"/>
                      <a:pt x="185607" y="104685"/>
                      <a:pt x="185607" y="112860"/>
                    </a:cubicBezTo>
                    <a:cubicBezTo>
                      <a:pt x="185607" y="119849"/>
                      <a:pt x="191295" y="125530"/>
                      <a:pt x="198283" y="125530"/>
                    </a:cubicBezTo>
                    <a:cubicBezTo>
                      <a:pt x="205273" y="125530"/>
                      <a:pt x="210961" y="119849"/>
                      <a:pt x="210961" y="112860"/>
                    </a:cubicBezTo>
                    <a:cubicBezTo>
                      <a:pt x="210961" y="105872"/>
                      <a:pt x="205273" y="100183"/>
                      <a:pt x="198283" y="100183"/>
                    </a:cubicBezTo>
                    <a:cubicBezTo>
                      <a:pt x="174967" y="100183"/>
                      <a:pt x="156002" y="81217"/>
                      <a:pt x="156002" y="57901"/>
                    </a:cubicBezTo>
                    <a:cubicBezTo>
                      <a:pt x="156002" y="39446"/>
                      <a:pt x="167958" y="23882"/>
                      <a:pt x="184477" y="18126"/>
                    </a:cubicBezTo>
                    <a:cubicBezTo>
                      <a:pt x="186523" y="12404"/>
                      <a:pt x="191858" y="8254"/>
                      <a:pt x="198283" y="8254"/>
                    </a:cubicBezTo>
                    <a:cubicBezTo>
                      <a:pt x="204709" y="8254"/>
                      <a:pt x="210044" y="12404"/>
                      <a:pt x="212090" y="18126"/>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2" name="Freeform: Shape 131">
                <a:extLst>
                  <a:ext uri="{FF2B5EF4-FFF2-40B4-BE49-F238E27FC236}">
                    <a16:creationId xmlns:a16="http://schemas.microsoft.com/office/drawing/2014/main" id="{F8A95659-3746-42CB-AC0A-EC731B315C65}"/>
                  </a:ext>
                </a:extLst>
              </p:cNvPr>
              <p:cNvSpPr/>
              <p:nvPr/>
            </p:nvSpPr>
            <p:spPr>
              <a:xfrm>
                <a:off x="2952955" y="2657235"/>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3" name="Freeform: Shape 132">
                <a:extLst>
                  <a:ext uri="{FF2B5EF4-FFF2-40B4-BE49-F238E27FC236}">
                    <a16:creationId xmlns:a16="http://schemas.microsoft.com/office/drawing/2014/main" id="{C901A185-94C6-47B7-847B-5BEAC8EF25F6}"/>
                  </a:ext>
                </a:extLst>
              </p:cNvPr>
              <p:cNvSpPr/>
              <p:nvPr/>
            </p:nvSpPr>
            <p:spPr>
              <a:xfrm>
                <a:off x="2952955" y="2754559"/>
                <a:ext cx="231314" cy="63811"/>
              </a:xfrm>
              <a:custGeom>
                <a:avLst/>
                <a:gdLst>
                  <a:gd name="connsiteX0" fmla="*/ 0 w 394607"/>
                  <a:gd name="connsiteY0" fmla="*/ 0 h 108857"/>
                  <a:gd name="connsiteX1" fmla="*/ 0 w 394607"/>
                  <a:gd name="connsiteY1" fmla="*/ 25688 h 108857"/>
                  <a:gd name="connsiteX2" fmla="*/ 198285 w 394607"/>
                  <a:gd name="connsiteY2" fmla="*/ 111068 h 108857"/>
                  <a:gd name="connsiteX3" fmla="*/ 396576 w 394607"/>
                  <a:gd name="connsiteY3" fmla="*/ 25688 h 108857"/>
                  <a:gd name="connsiteX4" fmla="*/ 396576 w 394607"/>
                  <a:gd name="connsiteY4" fmla="*/ 0 h 108857"/>
                  <a:gd name="connsiteX5" fmla="*/ 198285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4" y="111068"/>
                      <a:pt x="198285" y="111068"/>
                    </a:cubicBezTo>
                    <a:cubicBezTo>
                      <a:pt x="315141" y="111068"/>
                      <a:pt x="396576" y="66068"/>
                      <a:pt x="396576" y="25688"/>
                    </a:cubicBezTo>
                    <a:lnTo>
                      <a:pt x="396576" y="0"/>
                    </a:lnTo>
                    <a:cubicBezTo>
                      <a:pt x="357760" y="34676"/>
                      <a:pt x="284382" y="57656"/>
                      <a:pt x="198285" y="57656"/>
                    </a:cubicBezTo>
                    <a:cubicBezTo>
                      <a:pt x="112191" y="57656"/>
                      <a:pt x="38815"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4" name="Freeform: Shape 133">
                <a:extLst>
                  <a:ext uri="{FF2B5EF4-FFF2-40B4-BE49-F238E27FC236}">
                    <a16:creationId xmlns:a16="http://schemas.microsoft.com/office/drawing/2014/main" id="{663B8EE4-1945-49E4-8FCB-5BA1BDFAE49C}"/>
                  </a:ext>
                </a:extLst>
              </p:cNvPr>
              <p:cNvSpPr/>
              <p:nvPr/>
            </p:nvSpPr>
            <p:spPr>
              <a:xfrm>
                <a:off x="2952955" y="2608572"/>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44" name="Freeform: Shape 143">
                <a:extLst>
                  <a:ext uri="{FF2B5EF4-FFF2-40B4-BE49-F238E27FC236}">
                    <a16:creationId xmlns:a16="http://schemas.microsoft.com/office/drawing/2014/main" id="{CEA21CB4-BA90-4E3A-8261-0C07757311CD}"/>
                  </a:ext>
                </a:extLst>
              </p:cNvPr>
              <p:cNvSpPr/>
              <p:nvPr/>
            </p:nvSpPr>
            <p:spPr>
              <a:xfrm>
                <a:off x="2952955" y="2524923"/>
                <a:ext cx="231314" cy="95716"/>
              </a:xfrm>
              <a:custGeom>
                <a:avLst/>
                <a:gdLst>
                  <a:gd name="connsiteX0" fmla="*/ 198285 w 394607"/>
                  <a:gd name="connsiteY0" fmla="*/ 0 h 163285"/>
                  <a:gd name="connsiteX1" fmla="*/ 0 w 394607"/>
                  <a:gd name="connsiteY1" fmla="*/ 85374 h 163285"/>
                  <a:gd name="connsiteX2" fmla="*/ 198285 w 394607"/>
                  <a:gd name="connsiteY2" fmla="*/ 170753 h 163285"/>
                  <a:gd name="connsiteX3" fmla="*/ 396576 w 394607"/>
                  <a:gd name="connsiteY3" fmla="*/ 85374 h 163285"/>
                  <a:gd name="connsiteX4" fmla="*/ 198285 w 394607"/>
                  <a:gd name="connsiteY4" fmla="*/ 0 h 163285"/>
                  <a:gd name="connsiteX5" fmla="*/ 198285 w 394607"/>
                  <a:gd name="connsiteY5" fmla="*/ 70571 h 163285"/>
                  <a:gd name="connsiteX6" fmla="*/ 240566 w 394607"/>
                  <a:gd name="connsiteY6" fmla="*/ 112854 h 163285"/>
                  <a:gd name="connsiteX7" fmla="*/ 212090 w 394607"/>
                  <a:gd name="connsiteY7" fmla="*/ 152627 h 163285"/>
                  <a:gd name="connsiteX8" fmla="*/ 198285 w 394607"/>
                  <a:gd name="connsiteY8" fmla="*/ 162501 h 163285"/>
                  <a:gd name="connsiteX9" fmla="*/ 184477 w 394607"/>
                  <a:gd name="connsiteY9" fmla="*/ 152627 h 163285"/>
                  <a:gd name="connsiteX10" fmla="*/ 156002 w 394607"/>
                  <a:gd name="connsiteY10" fmla="*/ 112854 h 163285"/>
                  <a:gd name="connsiteX11" fmla="*/ 170805 w 394607"/>
                  <a:gd name="connsiteY11" fmla="*/ 98050 h 163285"/>
                  <a:gd name="connsiteX12" fmla="*/ 185607 w 394607"/>
                  <a:gd name="connsiteY12" fmla="*/ 112854 h 163285"/>
                  <a:gd name="connsiteX13" fmla="*/ 198285 w 394607"/>
                  <a:gd name="connsiteY13" fmla="*/ 125530 h 163285"/>
                  <a:gd name="connsiteX14" fmla="*/ 210961 w 394607"/>
                  <a:gd name="connsiteY14" fmla="*/ 112854 h 163285"/>
                  <a:gd name="connsiteX15" fmla="*/ 198285 w 394607"/>
                  <a:gd name="connsiteY15" fmla="*/ 100176 h 163285"/>
                  <a:gd name="connsiteX16" fmla="*/ 156002 w 394607"/>
                  <a:gd name="connsiteY16" fmla="*/ 57901 h 163285"/>
                  <a:gd name="connsiteX17" fmla="*/ 184477 w 394607"/>
                  <a:gd name="connsiteY17" fmla="*/ 18126 h 163285"/>
                  <a:gd name="connsiteX18" fmla="*/ 198285 w 394607"/>
                  <a:gd name="connsiteY18" fmla="*/ 8254 h 163285"/>
                  <a:gd name="connsiteX19" fmla="*/ 212090 w 394607"/>
                  <a:gd name="connsiteY19" fmla="*/ 18126 h 163285"/>
                  <a:gd name="connsiteX20" fmla="*/ 240566 w 394607"/>
                  <a:gd name="connsiteY20" fmla="*/ 57901 h 163285"/>
                  <a:gd name="connsiteX21" fmla="*/ 225764 w 394607"/>
                  <a:gd name="connsiteY21" fmla="*/ 72703 h 163285"/>
                  <a:gd name="connsiteX22" fmla="*/ 210961 w 394607"/>
                  <a:gd name="connsiteY22" fmla="*/ 57901 h 163285"/>
                  <a:gd name="connsiteX23" fmla="*/ 198285 w 394607"/>
                  <a:gd name="connsiteY23" fmla="*/ 45223 h 163285"/>
                  <a:gd name="connsiteX24" fmla="*/ 185607 w 394607"/>
                  <a:gd name="connsiteY24" fmla="*/ 57901 h 163285"/>
                  <a:gd name="connsiteX25" fmla="*/ 198285 w 394607"/>
                  <a:gd name="connsiteY25" fmla="*/ 70571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198285" y="0"/>
                    </a:moveTo>
                    <a:cubicBezTo>
                      <a:pt x="81434" y="0"/>
                      <a:pt x="0" y="44992"/>
                      <a:pt x="0" y="85374"/>
                    </a:cubicBezTo>
                    <a:cubicBezTo>
                      <a:pt x="0" y="125755"/>
                      <a:pt x="81434" y="170753"/>
                      <a:pt x="198285" y="170753"/>
                    </a:cubicBezTo>
                    <a:cubicBezTo>
                      <a:pt x="315141" y="170753"/>
                      <a:pt x="396576" y="125755"/>
                      <a:pt x="396576" y="85374"/>
                    </a:cubicBezTo>
                    <a:cubicBezTo>
                      <a:pt x="396576" y="44992"/>
                      <a:pt x="315141" y="0"/>
                      <a:pt x="198285" y="0"/>
                    </a:cubicBezTo>
                    <a:close/>
                    <a:moveTo>
                      <a:pt x="198285" y="70571"/>
                    </a:moveTo>
                    <a:cubicBezTo>
                      <a:pt x="221600" y="70571"/>
                      <a:pt x="240566" y="89536"/>
                      <a:pt x="240566" y="112854"/>
                    </a:cubicBezTo>
                    <a:cubicBezTo>
                      <a:pt x="240566" y="131309"/>
                      <a:pt x="228609" y="146871"/>
                      <a:pt x="212090" y="152627"/>
                    </a:cubicBezTo>
                    <a:cubicBezTo>
                      <a:pt x="210045" y="158350"/>
                      <a:pt x="204710" y="162501"/>
                      <a:pt x="198285" y="162501"/>
                    </a:cubicBezTo>
                    <a:cubicBezTo>
                      <a:pt x="191859" y="162501"/>
                      <a:pt x="186524" y="158350"/>
                      <a:pt x="184477" y="152627"/>
                    </a:cubicBezTo>
                    <a:cubicBezTo>
                      <a:pt x="167960" y="146871"/>
                      <a:pt x="156002" y="131309"/>
                      <a:pt x="156002" y="112854"/>
                    </a:cubicBezTo>
                    <a:cubicBezTo>
                      <a:pt x="156002" y="104678"/>
                      <a:pt x="162630" y="98050"/>
                      <a:pt x="170805" y="98050"/>
                    </a:cubicBezTo>
                    <a:cubicBezTo>
                      <a:pt x="178979" y="98050"/>
                      <a:pt x="185607" y="104678"/>
                      <a:pt x="185607" y="112854"/>
                    </a:cubicBezTo>
                    <a:cubicBezTo>
                      <a:pt x="185607" y="119842"/>
                      <a:pt x="191295" y="125530"/>
                      <a:pt x="198285" y="125530"/>
                    </a:cubicBezTo>
                    <a:cubicBezTo>
                      <a:pt x="205273" y="125530"/>
                      <a:pt x="210961" y="119842"/>
                      <a:pt x="210961" y="112854"/>
                    </a:cubicBezTo>
                    <a:cubicBezTo>
                      <a:pt x="210961" y="105864"/>
                      <a:pt x="205273" y="100176"/>
                      <a:pt x="198285" y="100176"/>
                    </a:cubicBezTo>
                    <a:cubicBezTo>
                      <a:pt x="174967" y="100176"/>
                      <a:pt x="156002" y="81210"/>
                      <a:pt x="156002" y="57901"/>
                    </a:cubicBezTo>
                    <a:cubicBezTo>
                      <a:pt x="156002" y="39446"/>
                      <a:pt x="167960" y="23882"/>
                      <a:pt x="184477" y="18126"/>
                    </a:cubicBezTo>
                    <a:cubicBezTo>
                      <a:pt x="186524" y="12404"/>
                      <a:pt x="191859" y="8254"/>
                      <a:pt x="198285" y="8254"/>
                    </a:cubicBezTo>
                    <a:cubicBezTo>
                      <a:pt x="204710" y="8254"/>
                      <a:pt x="210045" y="12404"/>
                      <a:pt x="212090" y="18126"/>
                    </a:cubicBezTo>
                    <a:cubicBezTo>
                      <a:pt x="228609" y="23882"/>
                      <a:pt x="240566" y="39446"/>
                      <a:pt x="240566" y="57901"/>
                    </a:cubicBezTo>
                    <a:cubicBezTo>
                      <a:pt x="240566" y="66075"/>
                      <a:pt x="233938" y="72703"/>
                      <a:pt x="225764" y="72703"/>
                    </a:cubicBezTo>
                    <a:cubicBezTo>
                      <a:pt x="217589" y="72703"/>
                      <a:pt x="210961" y="66075"/>
                      <a:pt x="210961" y="57901"/>
                    </a:cubicBezTo>
                    <a:cubicBezTo>
                      <a:pt x="210961" y="50911"/>
                      <a:pt x="205273" y="45223"/>
                      <a:pt x="198285" y="45223"/>
                    </a:cubicBezTo>
                    <a:cubicBezTo>
                      <a:pt x="191295" y="45223"/>
                      <a:pt x="185607" y="50911"/>
                      <a:pt x="185607" y="57901"/>
                    </a:cubicBezTo>
                    <a:cubicBezTo>
                      <a:pt x="185607" y="64890"/>
                      <a:pt x="191295" y="70571"/>
                      <a:pt x="198285" y="70571"/>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0" name="Freeform: Shape 149">
                <a:extLst>
                  <a:ext uri="{FF2B5EF4-FFF2-40B4-BE49-F238E27FC236}">
                    <a16:creationId xmlns:a16="http://schemas.microsoft.com/office/drawing/2014/main" id="{3F2E445D-5A18-48FA-AC68-1188AD0CEC8A}"/>
                  </a:ext>
                </a:extLst>
              </p:cNvPr>
              <p:cNvSpPr/>
              <p:nvPr/>
            </p:nvSpPr>
            <p:spPr>
              <a:xfrm>
                <a:off x="2952955" y="2705899"/>
                <a:ext cx="231314" cy="63811"/>
              </a:xfrm>
              <a:custGeom>
                <a:avLst/>
                <a:gdLst>
                  <a:gd name="connsiteX0" fmla="*/ 0 w 394607"/>
                  <a:gd name="connsiteY0" fmla="*/ 0 h 108857"/>
                  <a:gd name="connsiteX1" fmla="*/ 0 w 394607"/>
                  <a:gd name="connsiteY1" fmla="*/ 25689 h 108857"/>
                  <a:gd name="connsiteX2" fmla="*/ 198285 w 394607"/>
                  <a:gd name="connsiteY2" fmla="*/ 111063 h 108857"/>
                  <a:gd name="connsiteX3" fmla="*/ 396576 w 394607"/>
                  <a:gd name="connsiteY3" fmla="*/ 25689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4" y="111063"/>
                      <a:pt x="198285" y="111063"/>
                    </a:cubicBezTo>
                    <a:cubicBezTo>
                      <a:pt x="315141" y="111063"/>
                      <a:pt x="396576" y="66071"/>
                      <a:pt x="396576" y="25689"/>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1" name="Freeform: Shape 150">
                <a:extLst>
                  <a:ext uri="{FF2B5EF4-FFF2-40B4-BE49-F238E27FC236}">
                    <a16:creationId xmlns:a16="http://schemas.microsoft.com/office/drawing/2014/main" id="{4047D5E1-B9AA-4121-91C5-ADE7978742E8}"/>
                  </a:ext>
                </a:extLst>
              </p:cNvPr>
              <p:cNvSpPr/>
              <p:nvPr/>
            </p:nvSpPr>
            <p:spPr>
              <a:xfrm>
                <a:off x="3241793" y="2754559"/>
                <a:ext cx="231314" cy="63811"/>
              </a:xfrm>
              <a:custGeom>
                <a:avLst/>
                <a:gdLst>
                  <a:gd name="connsiteX0" fmla="*/ 0 w 394607"/>
                  <a:gd name="connsiteY0" fmla="*/ 0 h 108857"/>
                  <a:gd name="connsiteX1" fmla="*/ 0 w 394607"/>
                  <a:gd name="connsiteY1" fmla="*/ 25688 h 108857"/>
                  <a:gd name="connsiteX2" fmla="*/ 198283 w 394607"/>
                  <a:gd name="connsiteY2" fmla="*/ 111068 h 108857"/>
                  <a:gd name="connsiteX3" fmla="*/ 396568 w 394607"/>
                  <a:gd name="connsiteY3" fmla="*/ 25688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3" y="111068"/>
                      <a:pt x="198283" y="111068"/>
                    </a:cubicBezTo>
                    <a:cubicBezTo>
                      <a:pt x="315133" y="111068"/>
                      <a:pt x="396568" y="66068"/>
                      <a:pt x="396568" y="25688"/>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55" name="Freeform: Shape 154">
                <a:extLst>
                  <a:ext uri="{FF2B5EF4-FFF2-40B4-BE49-F238E27FC236}">
                    <a16:creationId xmlns:a16="http://schemas.microsoft.com/office/drawing/2014/main" id="{7A5C0DF4-C621-4C4E-8324-84D51FFC7DA0}"/>
                  </a:ext>
                </a:extLst>
              </p:cNvPr>
              <p:cNvSpPr/>
              <p:nvPr/>
            </p:nvSpPr>
            <p:spPr>
              <a:xfrm>
                <a:off x="3241793" y="2559909"/>
                <a:ext cx="231314" cy="63811"/>
              </a:xfrm>
              <a:custGeom>
                <a:avLst/>
                <a:gdLst>
                  <a:gd name="connsiteX0" fmla="*/ 0 w 394607"/>
                  <a:gd name="connsiteY0" fmla="*/ 0 h 108857"/>
                  <a:gd name="connsiteX1" fmla="*/ 0 w 394607"/>
                  <a:gd name="connsiteY1" fmla="*/ 25689 h 108857"/>
                  <a:gd name="connsiteX2" fmla="*/ 198283 w 394607"/>
                  <a:gd name="connsiteY2" fmla="*/ 111068 h 108857"/>
                  <a:gd name="connsiteX3" fmla="*/ 396568 w 394607"/>
                  <a:gd name="connsiteY3" fmla="*/ 25689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0"/>
                      <a:pt x="81433" y="111068"/>
                      <a:pt x="198283" y="111068"/>
                    </a:cubicBezTo>
                    <a:cubicBezTo>
                      <a:pt x="315133" y="111068"/>
                      <a:pt x="396568" y="66070"/>
                      <a:pt x="396568" y="25689"/>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0" name="Freeform: Shape 159">
                <a:extLst>
                  <a:ext uri="{FF2B5EF4-FFF2-40B4-BE49-F238E27FC236}">
                    <a16:creationId xmlns:a16="http://schemas.microsoft.com/office/drawing/2014/main" id="{26DE019F-4839-4C76-B924-C5AD650E78F5}"/>
                  </a:ext>
                </a:extLst>
              </p:cNvPr>
              <p:cNvSpPr/>
              <p:nvPr/>
            </p:nvSpPr>
            <p:spPr>
              <a:xfrm>
                <a:off x="3241793" y="2705899"/>
                <a:ext cx="231314" cy="63811"/>
              </a:xfrm>
              <a:custGeom>
                <a:avLst/>
                <a:gdLst>
                  <a:gd name="connsiteX0" fmla="*/ 0 w 394607"/>
                  <a:gd name="connsiteY0" fmla="*/ 0 h 108857"/>
                  <a:gd name="connsiteX1" fmla="*/ 0 w 394607"/>
                  <a:gd name="connsiteY1" fmla="*/ 25689 h 108857"/>
                  <a:gd name="connsiteX2" fmla="*/ 198283 w 394607"/>
                  <a:gd name="connsiteY2" fmla="*/ 111063 h 108857"/>
                  <a:gd name="connsiteX3" fmla="*/ 396568 w 394607"/>
                  <a:gd name="connsiteY3" fmla="*/ 25689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3" y="111063"/>
                      <a:pt x="198283" y="111063"/>
                    </a:cubicBezTo>
                    <a:cubicBezTo>
                      <a:pt x="315133" y="111063"/>
                      <a:pt x="396568" y="66071"/>
                      <a:pt x="396568" y="25689"/>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4" name="Freeform: Shape 163">
                <a:extLst>
                  <a:ext uri="{FF2B5EF4-FFF2-40B4-BE49-F238E27FC236}">
                    <a16:creationId xmlns:a16="http://schemas.microsoft.com/office/drawing/2014/main" id="{2D30F542-33ED-4767-9AE9-F3E2C0D7048E}"/>
                  </a:ext>
                </a:extLst>
              </p:cNvPr>
              <p:cNvSpPr/>
              <p:nvPr/>
            </p:nvSpPr>
            <p:spPr>
              <a:xfrm>
                <a:off x="3241793" y="2608572"/>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6" name="Freeform: Shape 165">
                <a:extLst>
                  <a:ext uri="{FF2B5EF4-FFF2-40B4-BE49-F238E27FC236}">
                    <a16:creationId xmlns:a16="http://schemas.microsoft.com/office/drawing/2014/main" id="{7F491404-8030-4050-A667-76D1091B0ADD}"/>
                  </a:ext>
                </a:extLst>
              </p:cNvPr>
              <p:cNvSpPr/>
              <p:nvPr/>
            </p:nvSpPr>
            <p:spPr>
              <a:xfrm>
                <a:off x="3241793" y="2657235"/>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67" name="Freeform: Shape 166">
                <a:extLst>
                  <a:ext uri="{FF2B5EF4-FFF2-40B4-BE49-F238E27FC236}">
                    <a16:creationId xmlns:a16="http://schemas.microsoft.com/office/drawing/2014/main" id="{DE54BF83-5094-49F8-A87E-128FBF1EE745}"/>
                  </a:ext>
                </a:extLst>
              </p:cNvPr>
              <p:cNvSpPr/>
              <p:nvPr/>
            </p:nvSpPr>
            <p:spPr>
              <a:xfrm>
                <a:off x="3007096" y="2293228"/>
                <a:ext cx="406793" cy="183456"/>
              </a:xfrm>
              <a:custGeom>
                <a:avLst/>
                <a:gdLst>
                  <a:gd name="connsiteX0" fmla="*/ 14818 w 693964"/>
                  <a:gd name="connsiteY0" fmla="*/ 319618 h 312964"/>
                  <a:gd name="connsiteX1" fmla="*/ 22675 w 693964"/>
                  <a:gd name="connsiteY1" fmla="*/ 317349 h 312964"/>
                  <a:gd name="connsiteX2" fmla="*/ 228273 w 693964"/>
                  <a:gd name="connsiteY2" fmla="*/ 188204 h 312964"/>
                  <a:gd name="connsiteX3" fmla="*/ 414827 w 693964"/>
                  <a:gd name="connsiteY3" fmla="*/ 252358 h 312964"/>
                  <a:gd name="connsiteX4" fmla="*/ 428647 w 693964"/>
                  <a:gd name="connsiteY4" fmla="*/ 250103 h 312964"/>
                  <a:gd name="connsiteX5" fmla="*/ 670424 w 693964"/>
                  <a:gd name="connsiteY5" fmla="*/ 64771 h 312964"/>
                  <a:gd name="connsiteX6" fmla="*/ 658624 w 693964"/>
                  <a:gd name="connsiteY6" fmla="*/ 154083 h 312964"/>
                  <a:gd name="connsiteX7" fmla="*/ 671359 w 693964"/>
                  <a:gd name="connsiteY7" fmla="*/ 170692 h 312964"/>
                  <a:gd name="connsiteX8" fmla="*/ 673318 w 693964"/>
                  <a:gd name="connsiteY8" fmla="*/ 170823 h 312964"/>
                  <a:gd name="connsiteX9" fmla="*/ 687968 w 693964"/>
                  <a:gd name="connsiteY9" fmla="*/ 157957 h 312964"/>
                  <a:gd name="connsiteX10" fmla="*/ 704451 w 693964"/>
                  <a:gd name="connsiteY10" fmla="*/ 33247 h 312964"/>
                  <a:gd name="connsiteX11" fmla="*/ 704066 w 693964"/>
                  <a:gd name="connsiteY11" fmla="*/ 27466 h 312964"/>
                  <a:gd name="connsiteX12" fmla="*/ 697178 w 693964"/>
                  <a:gd name="connsiteY12" fmla="*/ 18485 h 312964"/>
                  <a:gd name="connsiteX13" fmla="*/ 691710 w 693964"/>
                  <a:gd name="connsiteY13" fmla="*/ 16612 h 312964"/>
                  <a:gd name="connsiteX14" fmla="*/ 566984 w 693964"/>
                  <a:gd name="connsiteY14" fmla="*/ 126 h 312964"/>
                  <a:gd name="connsiteX15" fmla="*/ 550375 w 693964"/>
                  <a:gd name="connsiteY15" fmla="*/ 12861 h 312964"/>
                  <a:gd name="connsiteX16" fmla="*/ 563110 w 693964"/>
                  <a:gd name="connsiteY16" fmla="*/ 29471 h 312964"/>
                  <a:gd name="connsiteX17" fmla="*/ 652418 w 693964"/>
                  <a:gd name="connsiteY17" fmla="*/ 41277 h 312964"/>
                  <a:gd name="connsiteX18" fmla="*/ 416938 w 693964"/>
                  <a:gd name="connsiteY18" fmla="*/ 221777 h 312964"/>
                  <a:gd name="connsiteX19" fmla="*/ 231207 w 693964"/>
                  <a:gd name="connsiteY19" fmla="*/ 157907 h 312964"/>
                  <a:gd name="connsiteX20" fmla="*/ 218523 w 693964"/>
                  <a:gd name="connsiteY20" fmla="*/ 159374 h 312964"/>
                  <a:gd name="connsiteX21" fmla="*/ 6933 w 693964"/>
                  <a:gd name="connsiteY21" fmla="*/ 292284 h 312964"/>
                  <a:gd name="connsiteX22" fmla="*/ 2271 w 693964"/>
                  <a:gd name="connsiteY22" fmla="*/ 312687 h 312964"/>
                  <a:gd name="connsiteX23" fmla="*/ 14818 w 693964"/>
                  <a:gd name="connsiteY23" fmla="*/ 319618 h 3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3964" h="312964">
                    <a:moveTo>
                      <a:pt x="14818" y="319618"/>
                    </a:moveTo>
                    <a:cubicBezTo>
                      <a:pt x="17507" y="319618"/>
                      <a:pt x="20231" y="318889"/>
                      <a:pt x="22675" y="317349"/>
                    </a:cubicBezTo>
                    <a:lnTo>
                      <a:pt x="228273" y="188204"/>
                    </a:lnTo>
                    <a:lnTo>
                      <a:pt x="414827" y="252358"/>
                    </a:lnTo>
                    <a:cubicBezTo>
                      <a:pt x="419511" y="253969"/>
                      <a:pt x="424699" y="253138"/>
                      <a:pt x="428647" y="250103"/>
                    </a:cubicBezTo>
                    <a:lnTo>
                      <a:pt x="670424" y="64771"/>
                    </a:lnTo>
                    <a:lnTo>
                      <a:pt x="658624" y="154083"/>
                    </a:lnTo>
                    <a:cubicBezTo>
                      <a:pt x="657546" y="162185"/>
                      <a:pt x="663249" y="169623"/>
                      <a:pt x="671359" y="170692"/>
                    </a:cubicBezTo>
                    <a:cubicBezTo>
                      <a:pt x="672016" y="170779"/>
                      <a:pt x="672668" y="170823"/>
                      <a:pt x="673318" y="170823"/>
                    </a:cubicBezTo>
                    <a:cubicBezTo>
                      <a:pt x="680625" y="170823"/>
                      <a:pt x="686985" y="165408"/>
                      <a:pt x="687968" y="157957"/>
                    </a:cubicBezTo>
                    <a:lnTo>
                      <a:pt x="704451" y="33247"/>
                    </a:lnTo>
                    <a:cubicBezTo>
                      <a:pt x="704707" y="31328"/>
                      <a:pt x="704575" y="29365"/>
                      <a:pt x="704066" y="27466"/>
                    </a:cubicBezTo>
                    <a:cubicBezTo>
                      <a:pt x="703055" y="23680"/>
                      <a:pt x="700572" y="20446"/>
                      <a:pt x="697178" y="18485"/>
                    </a:cubicBezTo>
                    <a:cubicBezTo>
                      <a:pt x="695479" y="17502"/>
                      <a:pt x="693624" y="16863"/>
                      <a:pt x="691710" y="16612"/>
                    </a:cubicBezTo>
                    <a:lnTo>
                      <a:pt x="566984" y="126"/>
                    </a:lnTo>
                    <a:cubicBezTo>
                      <a:pt x="558976" y="-929"/>
                      <a:pt x="551444" y="4745"/>
                      <a:pt x="550375" y="12861"/>
                    </a:cubicBezTo>
                    <a:cubicBezTo>
                      <a:pt x="549297" y="20964"/>
                      <a:pt x="555000" y="28401"/>
                      <a:pt x="563110" y="29471"/>
                    </a:cubicBezTo>
                    <a:lnTo>
                      <a:pt x="652418" y="41277"/>
                    </a:lnTo>
                    <a:lnTo>
                      <a:pt x="416938" y="221777"/>
                    </a:lnTo>
                    <a:lnTo>
                      <a:pt x="231207" y="157907"/>
                    </a:lnTo>
                    <a:cubicBezTo>
                      <a:pt x="226973" y="156460"/>
                      <a:pt x="222311" y="156982"/>
                      <a:pt x="218523" y="159374"/>
                    </a:cubicBezTo>
                    <a:lnTo>
                      <a:pt x="6933" y="292284"/>
                    </a:lnTo>
                    <a:cubicBezTo>
                      <a:pt x="9" y="296628"/>
                      <a:pt x="-2080" y="305770"/>
                      <a:pt x="2271" y="312687"/>
                    </a:cubicBezTo>
                    <a:cubicBezTo>
                      <a:pt x="5083" y="317169"/>
                      <a:pt x="9896" y="319618"/>
                      <a:pt x="14818" y="319618"/>
                    </a:cubicBezTo>
                    <a:close/>
                  </a:path>
                </a:pathLst>
              </a:custGeom>
              <a:solidFill>
                <a:schemeClr val="accent2"/>
              </a:solid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sp>
          <p:nvSpPr>
            <p:cNvPr id="119" name="Arc 118">
              <a:extLst>
                <a:ext uri="{FF2B5EF4-FFF2-40B4-BE49-F238E27FC236}">
                  <a16:creationId xmlns:a16="http://schemas.microsoft.com/office/drawing/2014/main" id="{60BFA9CE-8FEB-4088-A1AA-6753CAE14DD0}"/>
                </a:ext>
              </a:extLst>
            </p:cNvPr>
            <p:cNvSpPr/>
            <p:nvPr/>
          </p:nvSpPr>
          <p:spPr>
            <a:xfrm>
              <a:off x="5394453" y="2222488"/>
              <a:ext cx="1399958" cy="1399958"/>
            </a:xfrm>
            <a:prstGeom prst="arc">
              <a:avLst>
                <a:gd name="adj1" fmla="val 11193475"/>
                <a:gd name="adj2" fmla="val 21177062"/>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0" name="Arc 119">
              <a:extLst>
                <a:ext uri="{FF2B5EF4-FFF2-40B4-BE49-F238E27FC236}">
                  <a16:creationId xmlns:a16="http://schemas.microsoft.com/office/drawing/2014/main" id="{F23E2CF8-C09D-42EC-AD04-C1498F3032E8}"/>
                </a:ext>
              </a:extLst>
            </p:cNvPr>
            <p:cNvSpPr/>
            <p:nvPr/>
          </p:nvSpPr>
          <p:spPr>
            <a:xfrm>
              <a:off x="5394453" y="2222488"/>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1" name="Oval 120">
              <a:extLst>
                <a:ext uri="{FF2B5EF4-FFF2-40B4-BE49-F238E27FC236}">
                  <a16:creationId xmlns:a16="http://schemas.microsoft.com/office/drawing/2014/main" id="{A268A435-8A5E-4D56-8072-EC0366AFA061}"/>
                </a:ext>
              </a:extLst>
            </p:cNvPr>
            <p:cNvSpPr/>
            <p:nvPr/>
          </p:nvSpPr>
          <p:spPr bwMode="auto">
            <a:xfrm>
              <a:off x="6035019" y="2152804"/>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69" name="Group 168">
            <a:extLst>
              <a:ext uri="{FF2B5EF4-FFF2-40B4-BE49-F238E27FC236}">
                <a16:creationId xmlns:a16="http://schemas.microsoft.com/office/drawing/2014/main" id="{771D3AF9-EBD7-472F-AAAB-600FC84E3A29}"/>
              </a:ext>
            </a:extLst>
          </p:cNvPr>
          <p:cNvGrpSpPr/>
          <p:nvPr/>
        </p:nvGrpSpPr>
        <p:grpSpPr>
          <a:xfrm>
            <a:off x="3191308" y="3552908"/>
            <a:ext cx="1043596" cy="118826"/>
            <a:chOff x="5628263" y="3430620"/>
            <a:chExt cx="1043596" cy="118826"/>
          </a:xfrm>
        </p:grpSpPr>
        <p:cxnSp>
          <p:nvCxnSpPr>
            <p:cNvPr id="170" name="Straight Connector 169">
              <a:extLst>
                <a:ext uri="{FF2B5EF4-FFF2-40B4-BE49-F238E27FC236}">
                  <a16:creationId xmlns:a16="http://schemas.microsoft.com/office/drawing/2014/main" id="{388B302C-2C85-4146-AA96-C7ADB1C4605C}"/>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9A5FBFA5-A29C-44AD-B19D-51FC861AF5E8}"/>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2" name="Oval 171">
              <a:extLst>
                <a:ext uri="{FF2B5EF4-FFF2-40B4-BE49-F238E27FC236}">
                  <a16:creationId xmlns:a16="http://schemas.microsoft.com/office/drawing/2014/main" id="{9ABE8712-FAD9-4CB2-A6D9-B01865B907F5}"/>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73" name="Group 172">
            <a:extLst>
              <a:ext uri="{FF2B5EF4-FFF2-40B4-BE49-F238E27FC236}">
                <a16:creationId xmlns:a16="http://schemas.microsoft.com/office/drawing/2014/main" id="{C4E69BD4-A74B-4F86-933C-E90C69A09FB7}"/>
              </a:ext>
            </a:extLst>
          </p:cNvPr>
          <p:cNvGrpSpPr/>
          <p:nvPr/>
        </p:nvGrpSpPr>
        <p:grpSpPr>
          <a:xfrm>
            <a:off x="5567630" y="3360923"/>
            <a:ext cx="1043596" cy="118826"/>
            <a:chOff x="5628263" y="3430620"/>
            <a:chExt cx="1043596" cy="118826"/>
          </a:xfrm>
        </p:grpSpPr>
        <p:cxnSp>
          <p:nvCxnSpPr>
            <p:cNvPr id="174" name="Straight Connector 173">
              <a:extLst>
                <a:ext uri="{FF2B5EF4-FFF2-40B4-BE49-F238E27FC236}">
                  <a16:creationId xmlns:a16="http://schemas.microsoft.com/office/drawing/2014/main" id="{BF738346-763C-4123-843D-03EDF528096B}"/>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0A029EC3-5EA5-47A2-A288-D307CD64337C}"/>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3D78B03A-330B-4D29-82C0-AF7D4BF89ECD}"/>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77" name="Group 176">
            <a:extLst>
              <a:ext uri="{FF2B5EF4-FFF2-40B4-BE49-F238E27FC236}">
                <a16:creationId xmlns:a16="http://schemas.microsoft.com/office/drawing/2014/main" id="{9B37FB2D-A9CD-4436-BBC9-01FD7D76448E}"/>
              </a:ext>
            </a:extLst>
          </p:cNvPr>
          <p:cNvGrpSpPr/>
          <p:nvPr/>
        </p:nvGrpSpPr>
        <p:grpSpPr>
          <a:xfrm>
            <a:off x="7959096" y="3639090"/>
            <a:ext cx="1043596" cy="118826"/>
            <a:chOff x="5628263" y="3430620"/>
            <a:chExt cx="1043596" cy="118826"/>
          </a:xfrm>
        </p:grpSpPr>
        <p:cxnSp>
          <p:nvCxnSpPr>
            <p:cNvPr id="178" name="Straight Connector 177">
              <a:extLst>
                <a:ext uri="{FF2B5EF4-FFF2-40B4-BE49-F238E27FC236}">
                  <a16:creationId xmlns:a16="http://schemas.microsoft.com/office/drawing/2014/main" id="{D05D1AC0-5FC9-4AC6-AAC2-C87152E7D6BB}"/>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01D26E6F-6F68-4EFC-A8C7-691A053F87CD}"/>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0" name="Oval 179">
              <a:extLst>
                <a:ext uri="{FF2B5EF4-FFF2-40B4-BE49-F238E27FC236}">
                  <a16:creationId xmlns:a16="http://schemas.microsoft.com/office/drawing/2014/main" id="{B1AD0B39-224E-4F64-85AA-E5DDA9AB9F74}"/>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Tree>
    <p:extLst>
      <p:ext uri="{BB962C8B-B14F-4D97-AF65-F5344CB8AC3E}">
        <p14:creationId xmlns:p14="http://schemas.microsoft.com/office/powerpoint/2010/main" val="3141493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4AA290B-6283-4615-B831-C59902D12A49}"/>
              </a:ext>
            </a:extLst>
          </p:cNvPr>
          <p:cNvGrpSpPr/>
          <p:nvPr/>
        </p:nvGrpSpPr>
        <p:grpSpPr>
          <a:xfrm>
            <a:off x="474774" y="0"/>
            <a:ext cx="11242453" cy="2744464"/>
            <a:chOff x="474774" y="-3"/>
            <a:chExt cx="11242453" cy="2380344"/>
          </a:xfrm>
        </p:grpSpPr>
        <p:sp>
          <p:nvSpPr>
            <p:cNvPr id="7" name="Arrow: Bent 6">
              <a:extLst>
                <a:ext uri="{FF2B5EF4-FFF2-40B4-BE49-F238E27FC236}">
                  <a16:creationId xmlns:a16="http://schemas.microsoft.com/office/drawing/2014/main" id="{34DE76A0-7404-4F35-BB48-740D0EE2D094}"/>
                </a:ext>
              </a:extLst>
            </p:cNvPr>
            <p:cNvSpPr/>
            <p:nvPr/>
          </p:nvSpPr>
          <p:spPr bwMode="auto">
            <a:xfrm rot="10800000" flipH="1">
              <a:off x="474774" y="-3"/>
              <a:ext cx="6192726" cy="2380343"/>
            </a:xfrm>
            <a:prstGeom prst="bentArrow">
              <a:avLst>
                <a:gd name="adj1" fmla="val 25000"/>
                <a:gd name="adj2" fmla="val 0"/>
                <a:gd name="adj3" fmla="val 25000"/>
                <a:gd name="adj4" fmla="val 86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Arrow: Bent 7">
              <a:extLst>
                <a:ext uri="{FF2B5EF4-FFF2-40B4-BE49-F238E27FC236}">
                  <a16:creationId xmlns:a16="http://schemas.microsoft.com/office/drawing/2014/main" id="{49C43596-DBE8-4B2B-B210-DABBF4AD6D31}"/>
                </a:ext>
              </a:extLst>
            </p:cNvPr>
            <p:cNvSpPr/>
            <p:nvPr/>
          </p:nvSpPr>
          <p:spPr bwMode="auto">
            <a:xfrm rot="10800000">
              <a:off x="6477000" y="-2"/>
              <a:ext cx="5240227" cy="2380343"/>
            </a:xfrm>
            <a:prstGeom prst="bentArrow">
              <a:avLst>
                <a:gd name="adj1" fmla="val 25000"/>
                <a:gd name="adj2" fmla="val 0"/>
                <a:gd name="adj3" fmla="val 25000"/>
                <a:gd name="adj4" fmla="val 110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2">
            <a:extLst>
              <a:ext uri="{FF2B5EF4-FFF2-40B4-BE49-F238E27FC236}">
                <a16:creationId xmlns:a16="http://schemas.microsoft.com/office/drawing/2014/main" id="{3926383F-09A9-4B54-81D7-87A5A097ED9C}"/>
              </a:ext>
            </a:extLst>
          </p:cNvPr>
          <p:cNvSpPr txBox="1">
            <a:spLocks/>
          </p:cNvSpPr>
          <p:nvPr/>
        </p:nvSpPr>
        <p:spPr>
          <a:xfrm>
            <a:off x="425862" y="456169"/>
            <a:ext cx="11165599" cy="914400"/>
          </a:xfrm>
          <a:prstGeom prst="rect">
            <a:avLst/>
          </a:prstGeom>
        </p:spPr>
        <p:txBody>
          <a:bodyPr vert="horz" wrap="square" lIns="146304" tIns="91440" rIns="146304" bIns="91440" rtlCol="0" anchor="ctr">
            <a:noAutofit/>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pPr marL="0" marR="0" lvl="0" indent="0" defTabSz="91419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How does Dynamics 365 Fraud Protection </a:t>
            </a:r>
            <a:r>
              <a:rPr kumimoji="0" lang="en-IN"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with </a:t>
            </a:r>
            <a:r>
              <a:rPr kumimoji="0" lang="en-US"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purchase protection </a:t>
            </a:r>
            <a:r>
              <a:rPr kumimoji="0" lang="en-IN"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capability</a:t>
            </a:r>
            <a:r>
              <a:rPr kumimoji="0" lang="en-US"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 work</a:t>
            </a:r>
          </a:p>
        </p:txBody>
      </p:sp>
      <p:cxnSp>
        <p:nvCxnSpPr>
          <p:cNvPr id="9" name="Straight Connector 8">
            <a:extLst>
              <a:ext uri="{FF2B5EF4-FFF2-40B4-BE49-F238E27FC236}">
                <a16:creationId xmlns:a16="http://schemas.microsoft.com/office/drawing/2014/main" id="{49E68762-F571-4EE6-862F-BBD6E8FCDCCF}"/>
              </a:ext>
            </a:extLst>
          </p:cNvPr>
          <p:cNvCxnSpPr>
            <a:cxnSpLocks/>
          </p:cNvCxnSpPr>
          <p:nvPr/>
        </p:nvCxnSpPr>
        <p:spPr>
          <a:xfrm>
            <a:off x="0" y="4020222"/>
            <a:ext cx="12192000" cy="0"/>
          </a:xfrm>
          <a:prstGeom prst="line">
            <a:avLst/>
          </a:prstGeom>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 name="Arc 9">
            <a:extLst>
              <a:ext uri="{FF2B5EF4-FFF2-40B4-BE49-F238E27FC236}">
                <a16:creationId xmlns:a16="http://schemas.microsoft.com/office/drawing/2014/main" id="{F40F85C0-877F-4047-A1DB-32633D426B10}"/>
              </a:ext>
            </a:extLst>
          </p:cNvPr>
          <p:cNvSpPr/>
          <p:nvPr/>
        </p:nvSpPr>
        <p:spPr bwMode="auto">
          <a:xfrm>
            <a:off x="9611415" y="1894179"/>
            <a:ext cx="1670050" cy="1744533"/>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 name="Rectangle 10">
            <a:extLst>
              <a:ext uri="{FF2B5EF4-FFF2-40B4-BE49-F238E27FC236}">
                <a16:creationId xmlns:a16="http://schemas.microsoft.com/office/drawing/2014/main" id="{D0EED95E-01C0-4E86-BBD2-54C035F15268}"/>
              </a:ext>
            </a:extLst>
          </p:cNvPr>
          <p:cNvSpPr/>
          <p:nvPr/>
        </p:nvSpPr>
        <p:spPr>
          <a:xfrm>
            <a:off x="3365888" y="3555612"/>
            <a:ext cx="2587752"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Fraud protection</a:t>
            </a:r>
            <a:b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network</a:t>
            </a:r>
          </a:p>
        </p:txBody>
      </p:sp>
      <p:sp>
        <p:nvSpPr>
          <p:cNvPr id="12" name="Rectangle 11">
            <a:extLst>
              <a:ext uri="{FF2B5EF4-FFF2-40B4-BE49-F238E27FC236}">
                <a16:creationId xmlns:a16="http://schemas.microsoft.com/office/drawing/2014/main" id="{05B1505A-F002-4360-9210-04AA2F83ECBD}"/>
              </a:ext>
            </a:extLst>
          </p:cNvPr>
          <p:cNvSpPr/>
          <p:nvPr/>
        </p:nvSpPr>
        <p:spPr>
          <a:xfrm>
            <a:off x="6259227" y="3555612"/>
            <a:ext cx="2587752"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Transaction acceptance booster</a:t>
            </a:r>
          </a:p>
        </p:txBody>
      </p:sp>
      <p:sp>
        <p:nvSpPr>
          <p:cNvPr id="13" name="Rectangle 12">
            <a:extLst>
              <a:ext uri="{FF2B5EF4-FFF2-40B4-BE49-F238E27FC236}">
                <a16:creationId xmlns:a16="http://schemas.microsoft.com/office/drawing/2014/main" id="{9F8BD626-68C1-4D59-BD6C-6352F3B46EF9}"/>
              </a:ext>
            </a:extLst>
          </p:cNvPr>
          <p:cNvSpPr/>
          <p:nvPr/>
        </p:nvSpPr>
        <p:spPr>
          <a:xfrm>
            <a:off x="9152564" y="3555612"/>
            <a:ext cx="2587752"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Customer escalation</a:t>
            </a:r>
            <a:b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support tool</a:t>
            </a:r>
          </a:p>
        </p:txBody>
      </p:sp>
      <p:sp>
        <p:nvSpPr>
          <p:cNvPr id="14" name="Rectangle 13">
            <a:extLst>
              <a:ext uri="{FF2B5EF4-FFF2-40B4-BE49-F238E27FC236}">
                <a16:creationId xmlns:a16="http://schemas.microsoft.com/office/drawing/2014/main" id="{88541928-90D5-4634-92C7-83D35F180B09}"/>
              </a:ext>
            </a:extLst>
          </p:cNvPr>
          <p:cNvSpPr/>
          <p:nvPr/>
        </p:nvSpPr>
        <p:spPr>
          <a:xfrm>
            <a:off x="474774" y="3555612"/>
            <a:ext cx="2587752"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Adaptive AI</a:t>
            </a:r>
            <a:b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8272"/>
                </a:solidFill>
                <a:effectLst/>
                <a:uLnTx/>
                <a:uFillTx/>
                <a:latin typeface="Segoe UI Semibold"/>
                <a:ea typeface="+mn-ea"/>
                <a:cs typeface="Segoe UI Semibold" panose="020B0702040204020203" pitchFamily="34" charset="0"/>
              </a:rPr>
              <a:t>technology</a:t>
            </a:r>
          </a:p>
        </p:txBody>
      </p:sp>
      <p:sp>
        <p:nvSpPr>
          <p:cNvPr id="15" name="Arc 14">
            <a:extLst>
              <a:ext uri="{FF2B5EF4-FFF2-40B4-BE49-F238E27FC236}">
                <a16:creationId xmlns:a16="http://schemas.microsoft.com/office/drawing/2014/main" id="{8987D627-FB52-431E-9745-BF97B78C3024}"/>
              </a:ext>
            </a:extLst>
          </p:cNvPr>
          <p:cNvSpPr/>
          <p:nvPr/>
        </p:nvSpPr>
        <p:spPr bwMode="auto">
          <a:xfrm>
            <a:off x="3824739" y="1894179"/>
            <a:ext cx="1670050" cy="1744533"/>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6" name="Arc 15">
            <a:extLst>
              <a:ext uri="{FF2B5EF4-FFF2-40B4-BE49-F238E27FC236}">
                <a16:creationId xmlns:a16="http://schemas.microsoft.com/office/drawing/2014/main" id="{BEBC20D9-18EF-4E51-B833-93DE5D97066B}"/>
              </a:ext>
            </a:extLst>
          </p:cNvPr>
          <p:cNvSpPr/>
          <p:nvPr/>
        </p:nvSpPr>
        <p:spPr bwMode="auto">
          <a:xfrm>
            <a:off x="933625" y="1894179"/>
            <a:ext cx="1670050" cy="1744533"/>
          </a:xfrm>
          <a:prstGeom prst="arc">
            <a:avLst>
              <a:gd name="adj1" fmla="val 10920239"/>
              <a:gd name="adj2" fmla="val 21521483"/>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7" name="Arc 16">
            <a:extLst>
              <a:ext uri="{FF2B5EF4-FFF2-40B4-BE49-F238E27FC236}">
                <a16:creationId xmlns:a16="http://schemas.microsoft.com/office/drawing/2014/main" id="{D064832E-2A61-4D7D-92CC-F9BC9D564352}"/>
              </a:ext>
            </a:extLst>
          </p:cNvPr>
          <p:cNvSpPr/>
          <p:nvPr/>
        </p:nvSpPr>
        <p:spPr bwMode="auto">
          <a:xfrm>
            <a:off x="6718078" y="1894179"/>
            <a:ext cx="1670050" cy="1744533"/>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pic>
        <p:nvPicPr>
          <p:cNvPr id="18" name="Picture 17" descr="A screenshot of a social media post&#10;&#10;Description automatically generated">
            <a:extLst>
              <a:ext uri="{FF2B5EF4-FFF2-40B4-BE49-F238E27FC236}">
                <a16:creationId xmlns:a16="http://schemas.microsoft.com/office/drawing/2014/main" id="{262A1486-1C2B-44E4-B10D-FA93837D0673}"/>
              </a:ext>
            </a:extLst>
          </p:cNvPr>
          <p:cNvPicPr/>
          <p:nvPr/>
        </p:nvPicPr>
        <p:blipFill rotWithShape="1">
          <a:blip r:embed="rId2"/>
          <a:srcRect l="2420" t="-21515" r="12877" b="-14826"/>
          <a:stretch/>
        </p:blipFill>
        <p:spPr>
          <a:xfrm>
            <a:off x="1063803" y="2039598"/>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pic>
        <p:nvPicPr>
          <p:cNvPr id="19" name="Picture 18" descr="A screenshot of a cell phone&#10;&#10;Description automatically generated">
            <a:extLst>
              <a:ext uri="{FF2B5EF4-FFF2-40B4-BE49-F238E27FC236}">
                <a16:creationId xmlns:a16="http://schemas.microsoft.com/office/drawing/2014/main" id="{66728950-FBBB-4FEA-88B7-3F7DC678BE68}"/>
              </a:ext>
            </a:extLst>
          </p:cNvPr>
          <p:cNvPicPr/>
          <p:nvPr/>
        </p:nvPicPr>
        <p:blipFill rotWithShape="1">
          <a:blip r:embed="rId3"/>
          <a:srcRect l="382" t="-12343" r="15825" b="-21426"/>
          <a:stretch/>
        </p:blipFill>
        <p:spPr>
          <a:xfrm>
            <a:off x="3954917" y="2039598"/>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grpSp>
        <p:nvGrpSpPr>
          <p:cNvPr id="20" name="Group 19">
            <a:extLst>
              <a:ext uri="{FF2B5EF4-FFF2-40B4-BE49-F238E27FC236}">
                <a16:creationId xmlns:a16="http://schemas.microsoft.com/office/drawing/2014/main" id="{B4AE58C4-8C29-4E81-90CC-5B6715587C13}"/>
              </a:ext>
            </a:extLst>
          </p:cNvPr>
          <p:cNvGrpSpPr/>
          <p:nvPr/>
        </p:nvGrpSpPr>
        <p:grpSpPr>
          <a:xfrm>
            <a:off x="6848256" y="2039598"/>
            <a:ext cx="1409694" cy="1409694"/>
            <a:chOff x="6207306" y="1706351"/>
            <a:chExt cx="1409694" cy="1409694"/>
          </a:xfrm>
        </p:grpSpPr>
        <p:pic>
          <p:nvPicPr>
            <p:cNvPr id="21" name="Picture 20" descr="A screenshot of a social media post&#10;&#10;Description automatically generated">
              <a:extLst>
                <a:ext uri="{FF2B5EF4-FFF2-40B4-BE49-F238E27FC236}">
                  <a16:creationId xmlns:a16="http://schemas.microsoft.com/office/drawing/2014/main" id="{973E8865-FB22-40CF-A53C-4874F9D0BC48}"/>
                </a:ext>
              </a:extLst>
            </p:cNvPr>
            <p:cNvPicPr/>
            <p:nvPr/>
          </p:nvPicPr>
          <p:blipFill rotWithShape="1">
            <a:blip r:embed="rId4"/>
            <a:srcRect l="1012" t="-9046" r="25852" b="-22868"/>
            <a:stretch/>
          </p:blipFill>
          <p:spPr>
            <a:xfrm>
              <a:off x="6207306" y="170635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pic>
          <p:nvPicPr>
            <p:cNvPr id="22" name="Picture 21">
              <a:extLst>
                <a:ext uri="{FF2B5EF4-FFF2-40B4-BE49-F238E27FC236}">
                  <a16:creationId xmlns:a16="http://schemas.microsoft.com/office/drawing/2014/main" id="{70CDE2C5-22DF-4ED5-876A-20C2A9E192A7}"/>
                </a:ext>
              </a:extLst>
            </p:cNvPr>
            <p:cNvPicPr>
              <a:picLocks noChangeAspect="1"/>
            </p:cNvPicPr>
            <p:nvPr/>
          </p:nvPicPr>
          <p:blipFill>
            <a:blip r:embed="rId5"/>
            <a:stretch>
              <a:fillRect/>
            </a:stretch>
          </p:blipFill>
          <p:spPr>
            <a:xfrm>
              <a:off x="6535239" y="2232583"/>
              <a:ext cx="1029640" cy="466167"/>
            </a:xfrm>
            <a:prstGeom prst="rect">
              <a:avLst/>
            </a:prstGeom>
          </p:spPr>
        </p:pic>
      </p:grpSp>
      <p:pic>
        <p:nvPicPr>
          <p:cNvPr id="23" name="Picture 22" descr="A screenshot of a cell phone&#10;&#10;Description automatically generated">
            <a:extLst>
              <a:ext uri="{FF2B5EF4-FFF2-40B4-BE49-F238E27FC236}">
                <a16:creationId xmlns:a16="http://schemas.microsoft.com/office/drawing/2014/main" id="{A4BF23F0-6474-4604-A10D-09CDACF960C3}"/>
              </a:ext>
            </a:extLst>
          </p:cNvPr>
          <p:cNvPicPr/>
          <p:nvPr/>
        </p:nvPicPr>
        <p:blipFill rotWithShape="1">
          <a:blip r:embed="rId6"/>
          <a:srcRect l="4707" t="-2748" r="30780" b="-12405"/>
          <a:stretch/>
        </p:blipFill>
        <p:spPr>
          <a:xfrm>
            <a:off x="9741593" y="2039598"/>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sp>
        <p:nvSpPr>
          <p:cNvPr id="24" name="Rectangle 23">
            <a:extLst>
              <a:ext uri="{FF2B5EF4-FFF2-40B4-BE49-F238E27FC236}">
                <a16:creationId xmlns:a16="http://schemas.microsoft.com/office/drawing/2014/main" id="{1070717B-E1FE-4CB5-954B-D2F38A245E15}"/>
              </a:ext>
            </a:extLst>
          </p:cNvPr>
          <p:cNvSpPr/>
          <p:nvPr/>
        </p:nvSpPr>
        <p:spPr>
          <a:xfrm>
            <a:off x="474774" y="4333646"/>
            <a:ext cx="2585527" cy="954107"/>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ontinuously learns and adapts from patterns and equips store managers with tools to optimize fraud controls.</a:t>
            </a:r>
          </a:p>
        </p:txBody>
      </p:sp>
      <p:sp>
        <p:nvSpPr>
          <p:cNvPr id="25" name="Rectangle 24">
            <a:extLst>
              <a:ext uri="{FF2B5EF4-FFF2-40B4-BE49-F238E27FC236}">
                <a16:creationId xmlns:a16="http://schemas.microsoft.com/office/drawing/2014/main" id="{7EEC1B01-B1C1-4576-AD7D-24BD05FBC87E}"/>
              </a:ext>
            </a:extLst>
          </p:cNvPr>
          <p:cNvSpPr/>
          <p:nvPr/>
        </p:nvSpPr>
        <p:spPr>
          <a:xfrm>
            <a:off x="3368113" y="4333646"/>
            <a:ext cx="2585527" cy="1384995"/>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onnected knowledge gives broad awareness of fraud activity across the globe, while keeping the security of your confidential information and shoppers' privacy top of mind. </a:t>
            </a:r>
          </a:p>
        </p:txBody>
      </p:sp>
      <p:sp>
        <p:nvSpPr>
          <p:cNvPr id="26" name="Rectangle 25">
            <a:extLst>
              <a:ext uri="{FF2B5EF4-FFF2-40B4-BE49-F238E27FC236}">
                <a16:creationId xmlns:a16="http://schemas.microsoft.com/office/drawing/2014/main" id="{4B316A54-141E-4A50-9C75-207C22465C30}"/>
              </a:ext>
            </a:extLst>
          </p:cNvPr>
          <p:cNvSpPr/>
          <p:nvPr/>
        </p:nvSpPr>
        <p:spPr>
          <a:xfrm>
            <a:off x="6261452" y="4333646"/>
            <a:ext cx="2585527" cy="954107"/>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Share transactional trust knowledge with issuing banks to help boosts your authorization rates.</a:t>
            </a:r>
          </a:p>
        </p:txBody>
      </p:sp>
      <p:sp>
        <p:nvSpPr>
          <p:cNvPr id="27" name="Rectangle 26">
            <a:extLst>
              <a:ext uri="{FF2B5EF4-FFF2-40B4-BE49-F238E27FC236}">
                <a16:creationId xmlns:a16="http://schemas.microsoft.com/office/drawing/2014/main" id="{5585EA5F-176D-42DD-9F07-CE0C383CC0C1}"/>
              </a:ext>
            </a:extLst>
          </p:cNvPr>
          <p:cNvSpPr/>
          <p:nvPr/>
        </p:nvSpPr>
        <p:spPr>
          <a:xfrm>
            <a:off x="9154789" y="4333646"/>
            <a:ext cx="2585527" cy="1384995"/>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Improve customer service with the built-in escalation support tool displaying detailed context of the customer transaction including fraud insights provided by the service.</a:t>
            </a:r>
          </a:p>
        </p:txBody>
      </p:sp>
      <p:cxnSp>
        <p:nvCxnSpPr>
          <p:cNvPr id="28" name="Straight Connector 27">
            <a:extLst>
              <a:ext uri="{FF2B5EF4-FFF2-40B4-BE49-F238E27FC236}">
                <a16:creationId xmlns:a16="http://schemas.microsoft.com/office/drawing/2014/main" id="{B6201EFE-6E49-47D4-892F-8B18C0E9715A}"/>
              </a:ext>
            </a:extLst>
          </p:cNvPr>
          <p:cNvCxnSpPr>
            <a:cxnSpLocks/>
          </p:cNvCxnSpPr>
          <p:nvPr/>
        </p:nvCxnSpPr>
        <p:spPr>
          <a:xfrm>
            <a:off x="3214207" y="4244350"/>
            <a:ext cx="0"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96DFD0F-1B3E-432C-B3C6-0D1BBCDF3A0F}"/>
              </a:ext>
            </a:extLst>
          </p:cNvPr>
          <p:cNvCxnSpPr>
            <a:cxnSpLocks/>
          </p:cNvCxnSpPr>
          <p:nvPr/>
        </p:nvCxnSpPr>
        <p:spPr>
          <a:xfrm flipH="1">
            <a:off x="6096000" y="4244350"/>
            <a:ext cx="11546"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7D9E849-5268-4908-9A6C-34DAA9162755}"/>
              </a:ext>
            </a:extLst>
          </p:cNvPr>
          <p:cNvCxnSpPr>
            <a:cxnSpLocks/>
          </p:cNvCxnSpPr>
          <p:nvPr/>
        </p:nvCxnSpPr>
        <p:spPr>
          <a:xfrm>
            <a:off x="9000885" y="4244350"/>
            <a:ext cx="0" cy="16611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0825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6">
            <a:extLst>
              <a:ext uri="{FF2B5EF4-FFF2-40B4-BE49-F238E27FC236}">
                <a16:creationId xmlns:a16="http://schemas.microsoft.com/office/drawing/2014/main" id="{8321E0B3-3D90-4CE2-BF08-F6D8F757EA94}"/>
              </a:ext>
            </a:extLst>
          </p:cNvPr>
          <p:cNvSpPr txBox="1">
            <a:spLocks/>
          </p:cNvSpPr>
          <p:nvPr/>
        </p:nvSpPr>
        <p:spPr>
          <a:xfrm>
            <a:off x="416936" y="450789"/>
            <a:ext cx="11282592" cy="812530"/>
          </a:xfrm>
          <a:prstGeom prst="rect">
            <a:avLst/>
          </a:prstGeom>
        </p:spPr>
        <p:txBody>
          <a:bodyPr vert="horz" wrap="square" lIns="146304" tIns="91440" rIns="146304" bIns="91440" rtlCol="0" anchor="t">
            <a:noAutofit/>
          </a:bodyPr>
          <a:lstStyle>
            <a:defPPr>
              <a:defRPr lang="en-US"/>
            </a:defPPr>
            <a:lvl1pPr defTabSz="914192">
              <a:lnSpc>
                <a:spcPct val="90000"/>
              </a:lnSpc>
              <a:spcBef>
                <a:spcPct val="0"/>
              </a:spcBef>
              <a:buNone/>
              <a:defRPr lang="en-US" sz="2600" b="0" cap="none" spc="-100" baseline="0" dirty="0">
                <a:ln w="3175">
                  <a:noFill/>
                </a:ln>
                <a:solidFill>
                  <a:schemeClr val="tx1">
                    <a:lumMod val="75000"/>
                  </a:schemeClr>
                </a:solidFill>
                <a:effectLst/>
                <a:latin typeface="+mj-lt"/>
                <a:cs typeface="Segoe UI"/>
              </a:defRPr>
            </a:lvl1pPr>
          </a:lstStyle>
          <a:p>
            <a:r>
              <a:rPr lang="en-US"/>
              <a:t>How Dynamics 365 Fraud Protection with purchase protection capability works?</a:t>
            </a:r>
          </a:p>
        </p:txBody>
      </p:sp>
      <p:sp>
        <p:nvSpPr>
          <p:cNvPr id="66" name="TextBox 65">
            <a:extLst>
              <a:ext uri="{FF2B5EF4-FFF2-40B4-BE49-F238E27FC236}">
                <a16:creationId xmlns:a16="http://schemas.microsoft.com/office/drawing/2014/main" id="{0E59B5B8-0465-4864-BEC8-8CC46E06E594}"/>
              </a:ext>
            </a:extLst>
          </p:cNvPr>
          <p:cNvSpPr txBox="1"/>
          <p:nvPr/>
        </p:nvSpPr>
        <p:spPr>
          <a:xfrm>
            <a:off x="1533515" y="1725652"/>
            <a:ext cx="1773530" cy="42241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spcAft>
                <a:spcPts val="588"/>
              </a:spcAft>
              <a:defRPr/>
            </a:pPr>
            <a:r>
              <a:rPr lang="en-US" sz="1372">
                <a:solidFill>
                  <a:srgbClr val="505050"/>
                </a:solidFill>
                <a:cs typeface="Segoe UI Semibold" panose="020B0702040204020203" pitchFamily="34" charset="0"/>
              </a:rPr>
              <a:t>DFP Customer:            Merchant</a:t>
            </a:r>
          </a:p>
        </p:txBody>
      </p:sp>
      <p:sp>
        <p:nvSpPr>
          <p:cNvPr id="67" name="Rectangle 66">
            <a:extLst>
              <a:ext uri="{FF2B5EF4-FFF2-40B4-BE49-F238E27FC236}">
                <a16:creationId xmlns:a16="http://schemas.microsoft.com/office/drawing/2014/main" id="{E3A5041E-E463-4CD0-BF35-E7D85F464B90}"/>
              </a:ext>
            </a:extLst>
          </p:cNvPr>
          <p:cNvSpPr/>
          <p:nvPr/>
        </p:nvSpPr>
        <p:spPr bwMode="auto">
          <a:xfrm>
            <a:off x="1452985" y="1652244"/>
            <a:ext cx="1914118" cy="2100543"/>
          </a:xfrm>
          <a:prstGeom prst="rect">
            <a:avLst/>
          </a:prstGeom>
          <a:noFill/>
          <a:ln w="22225" cap="flat" cmpd="sng" algn="ctr">
            <a:solidFill>
              <a:srgbClr val="3C3C41">
                <a:lumMod val="60000"/>
                <a:lumOff val="40000"/>
              </a:srgbClr>
            </a:solidFill>
            <a:prstDash val="sysDot"/>
            <a:miter lim="800000"/>
            <a:headEnd type="none" w="med" len="med"/>
            <a:tailEnd type="none" w="med" len="med"/>
          </a:ln>
          <a:effectLst/>
        </p:spPr>
        <p:txBody>
          <a:bodyPr rot="0" spcFirstLastPara="0" vertOverflow="overflow" horzOverflow="overflow" vert="horz" wrap="square" lIns="627408"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fontAlgn="base">
              <a:lnSpc>
                <a:spcPct val="90000"/>
              </a:lnSpc>
              <a:spcBef>
                <a:spcPct val="0"/>
              </a:spcBef>
              <a:spcAft>
                <a:spcPts val="588"/>
              </a:spcAft>
              <a:defRPr/>
            </a:pPr>
            <a:endParaRPr lang="en-US" sz="1029" b="1" kern="0">
              <a:gradFill>
                <a:gsLst>
                  <a:gs pos="2917">
                    <a:srgbClr val="505050"/>
                  </a:gs>
                  <a:gs pos="30000">
                    <a:srgbClr val="505050"/>
                  </a:gs>
                </a:gsLst>
                <a:lin ang="5400000" scaled="0"/>
              </a:gradFill>
              <a:latin typeface="Segoe UI"/>
            </a:endParaRPr>
          </a:p>
        </p:txBody>
      </p:sp>
      <p:sp>
        <p:nvSpPr>
          <p:cNvPr id="68" name="TextBox 67">
            <a:extLst>
              <a:ext uri="{FF2B5EF4-FFF2-40B4-BE49-F238E27FC236}">
                <a16:creationId xmlns:a16="http://schemas.microsoft.com/office/drawing/2014/main" id="{B0EB1430-1A71-42B9-8A31-0FB8B96436C8}"/>
              </a:ext>
            </a:extLst>
          </p:cNvPr>
          <p:cNvSpPr txBox="1"/>
          <p:nvPr/>
        </p:nvSpPr>
        <p:spPr>
          <a:xfrm>
            <a:off x="5114370" y="1725652"/>
            <a:ext cx="2036221" cy="42241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spcAft>
                <a:spcPts val="588"/>
              </a:spcAft>
              <a:defRPr/>
            </a:pPr>
            <a:r>
              <a:rPr lang="en-US" sz="1372" b="1">
                <a:solidFill>
                  <a:srgbClr val="008272">
                    <a:lumMod val="75000"/>
                  </a:srgbClr>
                </a:solidFill>
                <a:latin typeface="Segoe UI Semibold"/>
                <a:cs typeface="Segoe UI Semibold" panose="020B0702040204020203" pitchFamily="34" charset="0"/>
              </a:rPr>
              <a:t>Dynamics 365           Fraud Protection</a:t>
            </a:r>
          </a:p>
        </p:txBody>
      </p:sp>
      <p:sp>
        <p:nvSpPr>
          <p:cNvPr id="69" name="Rectangle 68">
            <a:extLst>
              <a:ext uri="{FF2B5EF4-FFF2-40B4-BE49-F238E27FC236}">
                <a16:creationId xmlns:a16="http://schemas.microsoft.com/office/drawing/2014/main" id="{8EA92DED-3397-4BD7-A8B6-08B079EE7956}"/>
              </a:ext>
            </a:extLst>
          </p:cNvPr>
          <p:cNvSpPr/>
          <p:nvPr/>
        </p:nvSpPr>
        <p:spPr bwMode="auto">
          <a:xfrm>
            <a:off x="5051091" y="1652245"/>
            <a:ext cx="2151420" cy="2111486"/>
          </a:xfrm>
          <a:prstGeom prst="rect">
            <a:avLst/>
          </a:prstGeom>
          <a:noFill/>
          <a:ln w="22225" cap="flat" cmpd="sng" algn="ctr">
            <a:solidFill>
              <a:srgbClr val="008272"/>
            </a:solidFill>
            <a:prstDash val="solid"/>
            <a:miter lim="800000"/>
            <a:headEnd type="none" w="med" len="med"/>
            <a:tailEnd type="none" w="med" len="med"/>
          </a:ln>
          <a:effectLst/>
        </p:spPr>
        <p:txBody>
          <a:bodyPr rot="0" spcFirstLastPara="0" vertOverflow="overflow" horzOverflow="overflow" vert="horz" wrap="square" lIns="627408"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fontAlgn="base">
              <a:lnSpc>
                <a:spcPct val="90000"/>
              </a:lnSpc>
              <a:spcBef>
                <a:spcPct val="0"/>
              </a:spcBef>
              <a:spcAft>
                <a:spcPts val="588"/>
              </a:spcAft>
              <a:defRPr/>
            </a:pPr>
            <a:endParaRPr lang="en-US" sz="1029" b="1" kern="0">
              <a:gradFill>
                <a:gsLst>
                  <a:gs pos="2917">
                    <a:srgbClr val="505050"/>
                  </a:gs>
                  <a:gs pos="30000">
                    <a:srgbClr val="505050"/>
                  </a:gs>
                </a:gsLst>
                <a:lin ang="5400000" scaled="0"/>
              </a:gradFill>
              <a:latin typeface="Segoe UI"/>
            </a:endParaRPr>
          </a:p>
        </p:txBody>
      </p:sp>
      <p:pic>
        <p:nvPicPr>
          <p:cNvPr id="70" name="Picture 2" descr="http://www.848.co/wp-content/uploads/2015/02/Azure-Icon.fw_.png">
            <a:extLst>
              <a:ext uri="{FF2B5EF4-FFF2-40B4-BE49-F238E27FC236}">
                <a16:creationId xmlns:a16="http://schemas.microsoft.com/office/drawing/2014/main" id="{A6D6CA72-D118-4A0E-9F36-AA0B46636B17}"/>
              </a:ext>
            </a:extLst>
          </p:cNvPr>
          <p:cNvPicPr>
            <a:picLocks noChangeAspect="1" noChangeArrowheads="1"/>
          </p:cNvPicPr>
          <p:nvPr/>
        </p:nvPicPr>
        <p:blipFill>
          <a:blip r:embed="rId3" cstate="print">
            <a:duotone>
              <a:prstClr val="black"/>
              <a:srgbClr val="30E5D0">
                <a:tint val="45000"/>
                <a:satMod val="400000"/>
              </a:srgbClr>
            </a:duotone>
            <a:extLst>
              <a:ext uri="{28A0092B-C50C-407E-A947-70E740481C1C}">
                <a14:useLocalDpi xmlns:a14="http://schemas.microsoft.com/office/drawing/2010/main" val="0"/>
              </a:ext>
            </a:extLst>
          </a:blip>
          <a:srcRect/>
          <a:stretch>
            <a:fillRect/>
          </a:stretch>
        </p:blipFill>
        <p:spPr bwMode="auto">
          <a:xfrm>
            <a:off x="5756136" y="2155061"/>
            <a:ext cx="672224" cy="67222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997B960E-3E30-4AAF-94E5-E47253DBC64B}"/>
              </a:ext>
            </a:extLst>
          </p:cNvPr>
          <p:cNvPicPr>
            <a:picLocks noChangeAspect="1"/>
          </p:cNvPicPr>
          <p:nvPr/>
        </p:nvPicPr>
        <p:blipFill>
          <a:blip r:embed="rId4">
            <a:duotone>
              <a:prstClr val="black"/>
              <a:srgbClr val="30E5D0">
                <a:tint val="45000"/>
                <a:satMod val="400000"/>
              </a:srgbClr>
            </a:duotone>
          </a:blip>
          <a:stretch>
            <a:fillRect/>
          </a:stretch>
        </p:blipFill>
        <p:spPr>
          <a:xfrm>
            <a:off x="5349083" y="2829209"/>
            <a:ext cx="504541" cy="503570"/>
          </a:xfrm>
          <a:prstGeom prst="rect">
            <a:avLst/>
          </a:prstGeom>
        </p:spPr>
      </p:pic>
      <p:pic>
        <p:nvPicPr>
          <p:cNvPr id="72" name="Picture 71">
            <a:extLst>
              <a:ext uri="{FF2B5EF4-FFF2-40B4-BE49-F238E27FC236}">
                <a16:creationId xmlns:a16="http://schemas.microsoft.com/office/drawing/2014/main" id="{3F32D4E4-A636-4205-BEA3-168E9AACF2F0}"/>
              </a:ext>
            </a:extLst>
          </p:cNvPr>
          <p:cNvPicPr>
            <a:picLocks noChangeAspect="1"/>
          </p:cNvPicPr>
          <p:nvPr/>
        </p:nvPicPr>
        <p:blipFill>
          <a:blip r:embed="rId4">
            <a:duotone>
              <a:prstClr val="black"/>
              <a:srgbClr val="30E5D0">
                <a:tint val="45000"/>
                <a:satMod val="400000"/>
              </a:srgbClr>
            </a:duotone>
          </a:blip>
          <a:stretch>
            <a:fillRect/>
          </a:stretch>
        </p:blipFill>
        <p:spPr>
          <a:xfrm>
            <a:off x="6146472" y="2675031"/>
            <a:ext cx="813493" cy="811928"/>
          </a:xfrm>
          <a:prstGeom prst="rect">
            <a:avLst/>
          </a:prstGeom>
        </p:spPr>
      </p:pic>
      <p:cxnSp>
        <p:nvCxnSpPr>
          <p:cNvPr id="73" name="Straight Connector 72">
            <a:extLst>
              <a:ext uri="{FF2B5EF4-FFF2-40B4-BE49-F238E27FC236}">
                <a16:creationId xmlns:a16="http://schemas.microsoft.com/office/drawing/2014/main" id="{53E2A2F4-D8CC-48E3-86CB-AF5992A0BB91}"/>
              </a:ext>
            </a:extLst>
          </p:cNvPr>
          <p:cNvCxnSpPr>
            <a:stCxn id="71" idx="3"/>
            <a:endCxn id="72" idx="1"/>
          </p:cNvCxnSpPr>
          <p:nvPr/>
        </p:nvCxnSpPr>
        <p:spPr>
          <a:xfrm>
            <a:off x="5853623" y="3080995"/>
            <a:ext cx="292848" cy="1"/>
          </a:xfrm>
          <a:prstGeom prst="line">
            <a:avLst/>
          </a:prstGeom>
          <a:noFill/>
          <a:ln w="19050" cap="flat" cmpd="sng" algn="ctr">
            <a:solidFill>
              <a:srgbClr val="000000"/>
            </a:solidFill>
            <a:prstDash val="sysDot"/>
            <a:headEnd type="none" w="lg" len="med"/>
            <a:tailEnd type="none" w="lg" len="med"/>
          </a:ln>
          <a:effectLst/>
        </p:spPr>
      </p:cxnSp>
      <p:cxnSp>
        <p:nvCxnSpPr>
          <p:cNvPr id="74" name="Straight Connector 73">
            <a:extLst>
              <a:ext uri="{FF2B5EF4-FFF2-40B4-BE49-F238E27FC236}">
                <a16:creationId xmlns:a16="http://schemas.microsoft.com/office/drawing/2014/main" id="{AEEBBE55-AF55-4808-8B38-8B7AB9D5E556}"/>
              </a:ext>
            </a:extLst>
          </p:cNvPr>
          <p:cNvCxnSpPr>
            <a:cxnSpLocks/>
            <a:stCxn id="71" idx="0"/>
            <a:endCxn id="70" idx="1"/>
          </p:cNvCxnSpPr>
          <p:nvPr/>
        </p:nvCxnSpPr>
        <p:spPr>
          <a:xfrm flipV="1">
            <a:off x="5601353" y="2491173"/>
            <a:ext cx="154782" cy="338036"/>
          </a:xfrm>
          <a:prstGeom prst="line">
            <a:avLst/>
          </a:prstGeom>
          <a:noFill/>
          <a:ln w="19050" cap="flat" cmpd="sng" algn="ctr">
            <a:solidFill>
              <a:srgbClr val="000000"/>
            </a:solidFill>
            <a:prstDash val="sysDot"/>
            <a:headEnd type="none" w="lg" len="med"/>
            <a:tailEnd type="none" w="lg" len="med"/>
          </a:ln>
          <a:effectLst/>
        </p:spPr>
      </p:cxnSp>
      <p:cxnSp>
        <p:nvCxnSpPr>
          <p:cNvPr id="75" name="Straight Connector 74">
            <a:extLst>
              <a:ext uri="{FF2B5EF4-FFF2-40B4-BE49-F238E27FC236}">
                <a16:creationId xmlns:a16="http://schemas.microsoft.com/office/drawing/2014/main" id="{40AD8FDC-34DD-4FEB-8AE1-D320C2FB073E}"/>
              </a:ext>
            </a:extLst>
          </p:cNvPr>
          <p:cNvCxnSpPr>
            <a:cxnSpLocks/>
            <a:stCxn id="72" idx="0"/>
            <a:endCxn id="70" idx="3"/>
          </p:cNvCxnSpPr>
          <p:nvPr/>
        </p:nvCxnSpPr>
        <p:spPr>
          <a:xfrm flipH="1" flipV="1">
            <a:off x="6428360" y="2491174"/>
            <a:ext cx="124859" cy="183857"/>
          </a:xfrm>
          <a:prstGeom prst="line">
            <a:avLst/>
          </a:prstGeom>
          <a:noFill/>
          <a:ln w="19050" cap="flat" cmpd="sng" algn="ctr">
            <a:solidFill>
              <a:srgbClr val="000000"/>
            </a:solidFill>
            <a:prstDash val="sysDot"/>
            <a:headEnd type="none" w="lg" len="med"/>
            <a:tailEnd type="none" w="lg" len="med"/>
          </a:ln>
          <a:effectLst/>
        </p:spPr>
      </p:cxnSp>
      <p:sp>
        <p:nvSpPr>
          <p:cNvPr id="76" name="Rectangle 75">
            <a:extLst>
              <a:ext uri="{FF2B5EF4-FFF2-40B4-BE49-F238E27FC236}">
                <a16:creationId xmlns:a16="http://schemas.microsoft.com/office/drawing/2014/main" id="{7F05778E-4C03-43DC-8F1F-D8DD370E8EE5}"/>
              </a:ext>
            </a:extLst>
          </p:cNvPr>
          <p:cNvSpPr/>
          <p:nvPr/>
        </p:nvSpPr>
        <p:spPr bwMode="auto">
          <a:xfrm>
            <a:off x="9420727" y="1652245"/>
            <a:ext cx="2098974" cy="2276066"/>
          </a:xfrm>
          <a:prstGeom prst="rect">
            <a:avLst/>
          </a:prstGeom>
          <a:noFill/>
          <a:ln w="22225" cap="flat" cmpd="sng" algn="ctr">
            <a:solidFill>
              <a:srgbClr val="008272"/>
            </a:solidFill>
            <a:prstDash val="sysDot"/>
            <a:miter lim="800000"/>
            <a:headEnd type="none" w="med" len="med"/>
            <a:tailEnd type="none" w="med" len="med"/>
          </a:ln>
          <a:effectLst/>
        </p:spPr>
        <p:txBody>
          <a:bodyPr rot="0" spcFirstLastPara="0" vertOverflow="overflow" horzOverflow="overflow" vert="horz" wrap="square" lIns="627408"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fontAlgn="base">
              <a:lnSpc>
                <a:spcPct val="90000"/>
              </a:lnSpc>
              <a:spcBef>
                <a:spcPct val="0"/>
              </a:spcBef>
              <a:spcAft>
                <a:spcPts val="588"/>
              </a:spcAft>
              <a:defRPr/>
            </a:pPr>
            <a:endParaRPr lang="en-US" sz="1029" b="1" kern="0">
              <a:gradFill>
                <a:gsLst>
                  <a:gs pos="2917">
                    <a:srgbClr val="505050"/>
                  </a:gs>
                  <a:gs pos="30000">
                    <a:srgbClr val="505050"/>
                  </a:gs>
                </a:gsLst>
                <a:lin ang="5400000" scaled="0"/>
              </a:gradFill>
              <a:latin typeface="Segoe UI"/>
            </a:endParaRPr>
          </a:p>
        </p:txBody>
      </p:sp>
      <p:sp>
        <p:nvSpPr>
          <p:cNvPr id="77" name="TextBox 76">
            <a:extLst>
              <a:ext uri="{FF2B5EF4-FFF2-40B4-BE49-F238E27FC236}">
                <a16:creationId xmlns:a16="http://schemas.microsoft.com/office/drawing/2014/main" id="{7B455775-61E9-4B87-A657-7CE7D30F6056}"/>
              </a:ext>
            </a:extLst>
          </p:cNvPr>
          <p:cNvSpPr txBox="1"/>
          <p:nvPr/>
        </p:nvSpPr>
        <p:spPr>
          <a:xfrm>
            <a:off x="9420726" y="1725652"/>
            <a:ext cx="2098975" cy="42241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10493" algn="ctr" defTabSz="896215">
              <a:spcAft>
                <a:spcPts val="588"/>
              </a:spcAft>
              <a:defRPr/>
            </a:pPr>
            <a:r>
              <a:rPr lang="en-US" sz="1372">
                <a:solidFill>
                  <a:srgbClr val="505050"/>
                </a:solidFill>
                <a:cs typeface="Segoe UI Semibold" panose="020B0702040204020203" pitchFamily="34" charset="0"/>
              </a:rPr>
              <a:t>DFP Partner:                 Issuing banks</a:t>
            </a:r>
          </a:p>
        </p:txBody>
      </p:sp>
      <p:sp>
        <p:nvSpPr>
          <p:cNvPr id="78" name="Rectangle 77">
            <a:extLst>
              <a:ext uri="{FF2B5EF4-FFF2-40B4-BE49-F238E27FC236}">
                <a16:creationId xmlns:a16="http://schemas.microsoft.com/office/drawing/2014/main" id="{896B26C0-9C2D-4587-BD6D-6F7AA4D17BB5}"/>
              </a:ext>
            </a:extLst>
          </p:cNvPr>
          <p:cNvSpPr/>
          <p:nvPr/>
        </p:nvSpPr>
        <p:spPr bwMode="auto">
          <a:xfrm>
            <a:off x="4266438" y="4084647"/>
            <a:ext cx="3587936" cy="1376729"/>
          </a:xfrm>
          <a:prstGeom prst="rect">
            <a:avLst/>
          </a:prstGeom>
          <a:noFill/>
          <a:ln w="38100" cap="flat" cmpd="sng" algn="ctr">
            <a:solidFill>
              <a:srgbClr val="3C3C41">
                <a:lumMod val="60000"/>
                <a:lumOff val="40000"/>
              </a:srgbClr>
            </a:solidFill>
            <a:prstDash val="dashDot"/>
            <a:headEnd type="none" w="med" len="med"/>
            <a:tailEnd type="none" w="med" len="med"/>
          </a:ln>
          <a:effectLst/>
        </p:spPr>
        <p:txBody>
          <a:bodyPr rot="0" spcFirstLastPara="0" vertOverflow="overflow" horzOverflow="overflow" vert="horz" wrap="square" lIns="615074"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78559" fontAlgn="base">
              <a:lnSpc>
                <a:spcPct val="90000"/>
              </a:lnSpc>
              <a:spcBef>
                <a:spcPct val="0"/>
              </a:spcBef>
              <a:spcAft>
                <a:spcPts val="576"/>
              </a:spcAft>
              <a:defRPr/>
            </a:pPr>
            <a:endParaRPr lang="en-US" sz="1008" b="1" kern="0">
              <a:gradFill>
                <a:gsLst>
                  <a:gs pos="2917">
                    <a:srgbClr val="353535"/>
                  </a:gs>
                  <a:gs pos="30000">
                    <a:srgbClr val="353535"/>
                  </a:gs>
                </a:gsLst>
                <a:lin ang="5400000" scaled="0"/>
              </a:gradFill>
              <a:latin typeface="Segoe UI"/>
            </a:endParaRPr>
          </a:p>
        </p:txBody>
      </p:sp>
      <p:sp>
        <p:nvSpPr>
          <p:cNvPr id="79" name="Oval 78">
            <a:extLst>
              <a:ext uri="{FF2B5EF4-FFF2-40B4-BE49-F238E27FC236}">
                <a16:creationId xmlns:a16="http://schemas.microsoft.com/office/drawing/2014/main" id="{18AA9DC8-F944-4B1B-A1E2-F21661DA54B1}"/>
              </a:ext>
            </a:extLst>
          </p:cNvPr>
          <p:cNvSpPr/>
          <p:nvPr/>
        </p:nvSpPr>
        <p:spPr bwMode="auto">
          <a:xfrm>
            <a:off x="6807262" y="4585465"/>
            <a:ext cx="784497" cy="784497"/>
          </a:xfrm>
          <a:prstGeom prst="ellipse">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5923"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a:extLst>
              <a:ext uri="{FF2B5EF4-FFF2-40B4-BE49-F238E27FC236}">
                <a16:creationId xmlns:a16="http://schemas.microsoft.com/office/drawing/2014/main" id="{DCAF690A-A1A9-429D-8313-A633F7BC59E4}"/>
              </a:ext>
            </a:extLst>
          </p:cNvPr>
          <p:cNvSpPr/>
          <p:nvPr/>
        </p:nvSpPr>
        <p:spPr bwMode="auto">
          <a:xfrm>
            <a:off x="5678744" y="4580889"/>
            <a:ext cx="784497" cy="784497"/>
          </a:xfrm>
          <a:prstGeom prst="ellipse">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5923"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81" name="Oval 80">
            <a:extLst>
              <a:ext uri="{FF2B5EF4-FFF2-40B4-BE49-F238E27FC236}">
                <a16:creationId xmlns:a16="http://schemas.microsoft.com/office/drawing/2014/main" id="{94F6D2A0-66B8-44E0-964A-BD8D192E6503}"/>
              </a:ext>
            </a:extLst>
          </p:cNvPr>
          <p:cNvSpPr/>
          <p:nvPr/>
        </p:nvSpPr>
        <p:spPr bwMode="auto">
          <a:xfrm>
            <a:off x="4581637" y="4585465"/>
            <a:ext cx="784497" cy="784497"/>
          </a:xfrm>
          <a:prstGeom prst="ellipse">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5923"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82" name="TextBox 81">
            <a:extLst>
              <a:ext uri="{FF2B5EF4-FFF2-40B4-BE49-F238E27FC236}">
                <a16:creationId xmlns:a16="http://schemas.microsoft.com/office/drawing/2014/main" id="{B1BD8B53-769F-4ED0-8558-02B1CF53D842}"/>
              </a:ext>
            </a:extLst>
          </p:cNvPr>
          <p:cNvSpPr txBox="1"/>
          <p:nvPr/>
        </p:nvSpPr>
        <p:spPr>
          <a:xfrm>
            <a:off x="5559896" y="4063073"/>
            <a:ext cx="1177698" cy="600734"/>
          </a:xfrm>
          <a:prstGeom prst="rect">
            <a:avLst/>
          </a:prstGeom>
          <a:noFill/>
        </p:spPr>
        <p:txBody>
          <a:bodyPr wrap="square" lIns="175735" tIns="140588" rIns="175735" bIns="140588"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78559">
              <a:defRPr/>
            </a:pPr>
            <a:r>
              <a:rPr lang="en-US" sz="1029" kern="0">
                <a:gradFill>
                  <a:gsLst>
                    <a:gs pos="2917">
                      <a:srgbClr val="353535"/>
                    </a:gs>
                    <a:gs pos="30000">
                      <a:srgbClr val="353535"/>
                    </a:gs>
                  </a:gsLst>
                  <a:lin ang="5400000" scaled="0"/>
                </a:gradFill>
                <a:latin typeface="Segoe UI"/>
              </a:rPr>
              <a:t>Acquirers &amp; processors</a:t>
            </a:r>
          </a:p>
        </p:txBody>
      </p:sp>
      <p:sp>
        <p:nvSpPr>
          <p:cNvPr id="83" name="TextBox 82">
            <a:extLst>
              <a:ext uri="{FF2B5EF4-FFF2-40B4-BE49-F238E27FC236}">
                <a16:creationId xmlns:a16="http://schemas.microsoft.com/office/drawing/2014/main" id="{69BC6472-C9B8-4077-BBF7-EFC5A9A18EA6}"/>
              </a:ext>
            </a:extLst>
          </p:cNvPr>
          <p:cNvSpPr txBox="1"/>
          <p:nvPr/>
        </p:nvSpPr>
        <p:spPr>
          <a:xfrm>
            <a:off x="6665879" y="4055181"/>
            <a:ext cx="1043296" cy="600734"/>
          </a:xfrm>
          <a:prstGeom prst="rect">
            <a:avLst/>
          </a:prstGeom>
          <a:noFill/>
        </p:spPr>
        <p:txBody>
          <a:bodyPr wrap="square" lIns="175735" tIns="140588" rIns="175735" bIns="140588"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78559">
              <a:defRPr/>
            </a:pPr>
            <a:r>
              <a:rPr lang="en-US" sz="1029" kern="0">
                <a:gradFill>
                  <a:gsLst>
                    <a:gs pos="2917">
                      <a:srgbClr val="353535"/>
                    </a:gs>
                    <a:gs pos="30000">
                      <a:srgbClr val="353535"/>
                    </a:gs>
                  </a:gsLst>
                  <a:lin ang="5400000" scaled="0"/>
                </a:gradFill>
                <a:latin typeface="Segoe UI"/>
              </a:rPr>
              <a:t>Card networks</a:t>
            </a:r>
          </a:p>
        </p:txBody>
      </p:sp>
      <p:sp>
        <p:nvSpPr>
          <p:cNvPr id="84" name="TextBox 83">
            <a:extLst>
              <a:ext uri="{FF2B5EF4-FFF2-40B4-BE49-F238E27FC236}">
                <a16:creationId xmlns:a16="http://schemas.microsoft.com/office/drawing/2014/main" id="{A77BA675-3A13-4C68-90BB-78BB9C8CE2BF}"/>
              </a:ext>
            </a:extLst>
          </p:cNvPr>
          <p:cNvSpPr txBox="1"/>
          <p:nvPr/>
        </p:nvSpPr>
        <p:spPr>
          <a:xfrm>
            <a:off x="4177816" y="4070190"/>
            <a:ext cx="1684134" cy="600734"/>
          </a:xfrm>
          <a:prstGeom prst="rect">
            <a:avLst/>
          </a:prstGeom>
          <a:noFill/>
        </p:spPr>
        <p:txBody>
          <a:bodyPr wrap="square" lIns="175735" tIns="140588" rIns="175735" bIns="140588"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78559">
              <a:defRPr/>
            </a:pPr>
            <a:r>
              <a:rPr lang="en-US" sz="1029" kern="0">
                <a:gradFill>
                  <a:gsLst>
                    <a:gs pos="2917">
                      <a:srgbClr val="353535"/>
                    </a:gs>
                    <a:gs pos="30000">
                      <a:srgbClr val="353535"/>
                    </a:gs>
                  </a:gsLst>
                  <a:lin ang="5400000" scaled="0"/>
                </a:gradFill>
                <a:latin typeface="Segoe UI"/>
              </a:rPr>
              <a:t>Gateway &amp;</a:t>
            </a:r>
          </a:p>
          <a:p>
            <a:pPr algn="ctr" defTabSz="878559">
              <a:defRPr/>
            </a:pPr>
            <a:r>
              <a:rPr lang="en-US" sz="1029" kern="0">
                <a:gradFill>
                  <a:gsLst>
                    <a:gs pos="2917">
                      <a:srgbClr val="353535"/>
                    </a:gs>
                    <a:gs pos="30000">
                      <a:srgbClr val="353535"/>
                    </a:gs>
                  </a:gsLst>
                  <a:lin ang="5400000" scaled="0"/>
                </a:gradFill>
                <a:latin typeface="Segoe UI"/>
              </a:rPr>
              <a:t>payment facilitators</a:t>
            </a:r>
          </a:p>
        </p:txBody>
      </p:sp>
      <p:pic>
        <p:nvPicPr>
          <p:cNvPr id="85" name="Picture 84">
            <a:extLst>
              <a:ext uri="{FF2B5EF4-FFF2-40B4-BE49-F238E27FC236}">
                <a16:creationId xmlns:a16="http://schemas.microsoft.com/office/drawing/2014/main" id="{14565DED-BED1-4EAD-9B9C-2B5D839F6BC3}"/>
              </a:ext>
            </a:extLst>
          </p:cNvPr>
          <p:cNvPicPr>
            <a:picLocks noChangeAspect="1"/>
          </p:cNvPicPr>
          <p:nvPr/>
        </p:nvPicPr>
        <p:blipFill>
          <a:blip r:embed="rId5" cstate="print">
            <a:duotone>
              <a:srgbClr val="EBEBEB">
                <a:shade val="45000"/>
                <a:satMod val="135000"/>
              </a:srgbClr>
              <a:prstClr val="white"/>
            </a:duotone>
            <a:extLst>
              <a:ext uri="{28A0092B-C50C-407E-A947-70E740481C1C}">
                <a14:useLocalDpi xmlns:a14="http://schemas.microsoft.com/office/drawing/2010/main" val="0"/>
              </a:ext>
            </a:extLst>
          </a:blip>
          <a:stretch>
            <a:fillRect/>
          </a:stretch>
        </p:blipFill>
        <p:spPr>
          <a:xfrm>
            <a:off x="5798782" y="4691812"/>
            <a:ext cx="601110" cy="601110"/>
          </a:xfrm>
          <a:prstGeom prst="rect">
            <a:avLst/>
          </a:prstGeom>
        </p:spPr>
      </p:pic>
      <p:pic>
        <p:nvPicPr>
          <p:cNvPr id="86" name="Picture 85">
            <a:extLst>
              <a:ext uri="{FF2B5EF4-FFF2-40B4-BE49-F238E27FC236}">
                <a16:creationId xmlns:a16="http://schemas.microsoft.com/office/drawing/2014/main" id="{C5A6BC84-4DE9-47F7-87DC-2489CAF3C00D}"/>
              </a:ext>
            </a:extLst>
          </p:cNvPr>
          <p:cNvPicPr>
            <a:picLocks noChangeAspect="1"/>
          </p:cNvPicPr>
          <p:nvPr/>
        </p:nvPicPr>
        <p:blipFill>
          <a:blip r:embed="rId6" cstate="print">
            <a:duotone>
              <a:srgbClr val="EBEBEB">
                <a:shade val="45000"/>
                <a:satMod val="135000"/>
              </a:srgbClr>
              <a:prstClr val="white"/>
            </a:duotone>
            <a:extLst>
              <a:ext uri="{28A0092B-C50C-407E-A947-70E740481C1C}">
                <a14:useLocalDpi xmlns:a14="http://schemas.microsoft.com/office/drawing/2010/main" val="0"/>
              </a:ext>
            </a:extLst>
          </a:blip>
          <a:stretch>
            <a:fillRect/>
          </a:stretch>
        </p:blipFill>
        <p:spPr>
          <a:xfrm>
            <a:off x="6906858" y="4651715"/>
            <a:ext cx="619001" cy="619001"/>
          </a:xfrm>
          <a:prstGeom prst="rect">
            <a:avLst/>
          </a:prstGeom>
        </p:spPr>
      </p:pic>
      <p:pic>
        <p:nvPicPr>
          <p:cNvPr id="87" name="Picture 6" descr="https://d30y9cdsu7xlg0.cloudfront.net/png/5477-200.png">
            <a:extLst>
              <a:ext uri="{FF2B5EF4-FFF2-40B4-BE49-F238E27FC236}">
                <a16:creationId xmlns:a16="http://schemas.microsoft.com/office/drawing/2014/main" id="{99BE817C-950D-4F46-8FFE-AF231464FF6D}"/>
              </a:ext>
            </a:extLst>
          </p:cNvPr>
          <p:cNvPicPr>
            <a:picLocks noChangeAspect="1" noChangeArrowheads="1"/>
          </p:cNvPicPr>
          <p:nvPr/>
        </p:nvPicPr>
        <p:blipFill>
          <a:blip r:embed="rId7" cstate="print">
            <a:clrChange>
              <a:clrFrom>
                <a:srgbClr val="000000">
                  <a:alpha val="0"/>
                </a:srgbClr>
              </a:clrFrom>
              <a:clrTo>
                <a:srgbClr val="000000">
                  <a:alpha val="0"/>
                </a:srgbClr>
              </a:clrTo>
            </a:clrChange>
            <a:duotone>
              <a:srgbClr val="EBEBEB">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61619" y="4655976"/>
            <a:ext cx="646394" cy="64639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3171191B-2A7D-4738-AE13-2DEACD5C36B4}"/>
              </a:ext>
            </a:extLst>
          </p:cNvPr>
          <p:cNvSpPr txBox="1"/>
          <p:nvPr/>
        </p:nvSpPr>
        <p:spPr>
          <a:xfrm>
            <a:off x="4650319" y="5446330"/>
            <a:ext cx="2844771" cy="253415"/>
          </a:xfrm>
          <a:prstGeom prst="rect">
            <a:avLst/>
          </a:prstGeom>
          <a:solidFill>
            <a:srgbClr val="3C3C41">
              <a:lumMod val="60000"/>
              <a:lumOff val="40000"/>
            </a:srgbClr>
          </a:solidFill>
        </p:spPr>
        <p:txBody>
          <a:bodyPr wrap="square" lIns="89630" tIns="44814" rIns="89630" bIns="44814"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lnSpc>
                <a:spcPct val="90000"/>
              </a:lnSpc>
              <a:spcAft>
                <a:spcPts val="588"/>
              </a:spcAft>
              <a:defRPr/>
            </a:pPr>
            <a:r>
              <a:rPr lang="en-US" sz="1176">
                <a:solidFill>
                  <a:srgbClr val="FFFFFF"/>
                </a:solidFill>
                <a:latin typeface="Segoe UI"/>
              </a:rPr>
              <a:t>Auth &amp; settle flow</a:t>
            </a:r>
          </a:p>
        </p:txBody>
      </p:sp>
      <p:cxnSp>
        <p:nvCxnSpPr>
          <p:cNvPr id="89" name="Connector: Elbow 88">
            <a:extLst>
              <a:ext uri="{FF2B5EF4-FFF2-40B4-BE49-F238E27FC236}">
                <a16:creationId xmlns:a16="http://schemas.microsoft.com/office/drawing/2014/main" id="{BC71A4BE-F2D1-49C6-AD27-579C14E866B8}"/>
              </a:ext>
            </a:extLst>
          </p:cNvPr>
          <p:cNvCxnSpPr>
            <a:cxnSpLocks/>
            <a:stCxn id="67" idx="2"/>
            <a:endCxn id="78" idx="1"/>
          </p:cNvCxnSpPr>
          <p:nvPr/>
        </p:nvCxnSpPr>
        <p:spPr>
          <a:xfrm rot="16200000" flipH="1">
            <a:off x="2828129" y="3334702"/>
            <a:ext cx="1020225" cy="1856394"/>
          </a:xfrm>
          <a:prstGeom prst="bentConnector2">
            <a:avLst/>
          </a:prstGeom>
          <a:noFill/>
          <a:ln w="28575" cap="flat" cmpd="sng" algn="ctr">
            <a:solidFill>
              <a:srgbClr val="3C3C41">
                <a:lumMod val="60000"/>
                <a:lumOff val="40000"/>
              </a:srgbClr>
            </a:solidFill>
            <a:prstDash val="dashDot"/>
            <a:headEnd type="none"/>
            <a:tailEnd type="triangle"/>
          </a:ln>
          <a:effectLst/>
        </p:spPr>
      </p:cxnSp>
      <p:cxnSp>
        <p:nvCxnSpPr>
          <p:cNvPr id="90" name="Connector: Elbow 89">
            <a:extLst>
              <a:ext uri="{FF2B5EF4-FFF2-40B4-BE49-F238E27FC236}">
                <a16:creationId xmlns:a16="http://schemas.microsoft.com/office/drawing/2014/main" id="{6C738F3D-D507-423F-B549-7890339C8BEB}"/>
              </a:ext>
            </a:extLst>
          </p:cNvPr>
          <p:cNvCxnSpPr>
            <a:cxnSpLocks/>
            <a:stCxn id="78" idx="3"/>
            <a:endCxn id="76" idx="2"/>
          </p:cNvCxnSpPr>
          <p:nvPr/>
        </p:nvCxnSpPr>
        <p:spPr>
          <a:xfrm flipV="1">
            <a:off x="7854374" y="3928311"/>
            <a:ext cx="2615840" cy="844701"/>
          </a:xfrm>
          <a:prstGeom prst="bentConnector2">
            <a:avLst/>
          </a:prstGeom>
          <a:noFill/>
          <a:ln w="28575" cap="flat" cmpd="sng" algn="ctr">
            <a:solidFill>
              <a:srgbClr val="3C3C41">
                <a:lumMod val="60000"/>
                <a:lumOff val="40000"/>
              </a:srgbClr>
            </a:solidFill>
            <a:prstDash val="dashDot"/>
            <a:headEnd type="none"/>
            <a:tailEnd type="triangle"/>
          </a:ln>
          <a:effectLst/>
        </p:spPr>
      </p:cxnSp>
      <p:sp>
        <p:nvSpPr>
          <p:cNvPr id="91" name="TextBox 90">
            <a:extLst>
              <a:ext uri="{FF2B5EF4-FFF2-40B4-BE49-F238E27FC236}">
                <a16:creationId xmlns:a16="http://schemas.microsoft.com/office/drawing/2014/main" id="{C1580704-47BC-44D0-A5EB-FF944C3C1C17}"/>
              </a:ext>
            </a:extLst>
          </p:cNvPr>
          <p:cNvSpPr txBox="1"/>
          <p:nvPr/>
        </p:nvSpPr>
        <p:spPr>
          <a:xfrm>
            <a:off x="503384" y="2898188"/>
            <a:ext cx="947405" cy="42241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spcAft>
                <a:spcPts val="588"/>
              </a:spcAft>
              <a:defRPr/>
            </a:pPr>
            <a:r>
              <a:rPr lang="en-US" sz="1372">
                <a:solidFill>
                  <a:srgbClr val="505050"/>
                </a:solidFill>
                <a:cs typeface="Segoe UI Semibold" panose="020B0702040204020203" pitchFamily="34" charset="0"/>
              </a:rPr>
              <a:t>Purchases</a:t>
            </a:r>
            <a:br>
              <a:rPr lang="en-US" sz="1372">
                <a:solidFill>
                  <a:srgbClr val="505050"/>
                </a:solidFill>
                <a:cs typeface="Segoe UI Semibold" panose="020B0702040204020203" pitchFamily="34" charset="0"/>
              </a:rPr>
            </a:br>
            <a:r>
              <a:rPr lang="en-US" sz="1372">
                <a:solidFill>
                  <a:srgbClr val="505050"/>
                </a:solidFill>
                <a:cs typeface="Segoe UI Semibold" panose="020B0702040204020203" pitchFamily="34" charset="0"/>
              </a:rPr>
              <a:t>&amp; refunds</a:t>
            </a:r>
          </a:p>
        </p:txBody>
      </p:sp>
      <p:sp>
        <p:nvSpPr>
          <p:cNvPr id="92" name="TextBox 91">
            <a:extLst>
              <a:ext uri="{FF2B5EF4-FFF2-40B4-BE49-F238E27FC236}">
                <a16:creationId xmlns:a16="http://schemas.microsoft.com/office/drawing/2014/main" id="{5ED78EBF-DDDD-44D7-9838-1EFCFB7E75FC}"/>
              </a:ext>
            </a:extLst>
          </p:cNvPr>
          <p:cNvSpPr txBox="1"/>
          <p:nvPr/>
        </p:nvSpPr>
        <p:spPr>
          <a:xfrm>
            <a:off x="510042" y="1202247"/>
            <a:ext cx="1736769" cy="21114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spcAft>
                <a:spcPts val="588"/>
              </a:spcAft>
              <a:defRPr/>
            </a:pPr>
            <a:r>
              <a:rPr lang="en-US" sz="1372">
                <a:solidFill>
                  <a:srgbClr val="505050"/>
                </a:solidFill>
                <a:cs typeface="Segoe UI Semibold" panose="020B0702040204020203" pitchFamily="34" charset="0"/>
              </a:rPr>
              <a:t>Merchant’s customer</a:t>
            </a:r>
          </a:p>
        </p:txBody>
      </p:sp>
      <p:grpSp>
        <p:nvGrpSpPr>
          <p:cNvPr id="93" name="Group 92">
            <a:extLst>
              <a:ext uri="{FF2B5EF4-FFF2-40B4-BE49-F238E27FC236}">
                <a16:creationId xmlns:a16="http://schemas.microsoft.com/office/drawing/2014/main" id="{D584B007-5128-42A5-BB1F-849FAC2EB5FB}"/>
              </a:ext>
            </a:extLst>
          </p:cNvPr>
          <p:cNvGrpSpPr>
            <a:grpSpLocks noChangeAspect="1"/>
          </p:cNvGrpSpPr>
          <p:nvPr/>
        </p:nvGrpSpPr>
        <p:grpSpPr>
          <a:xfrm>
            <a:off x="584200" y="1669379"/>
            <a:ext cx="597073" cy="597073"/>
            <a:chOff x="-611105" y="3071485"/>
            <a:chExt cx="832288" cy="832288"/>
          </a:xfrm>
        </p:grpSpPr>
        <p:sp>
          <p:nvSpPr>
            <p:cNvPr id="94" name="Oval 93">
              <a:extLst>
                <a:ext uri="{FF2B5EF4-FFF2-40B4-BE49-F238E27FC236}">
                  <a16:creationId xmlns:a16="http://schemas.microsoft.com/office/drawing/2014/main" id="{17495A5D-9E74-46E5-B164-CFC0A7258026}"/>
                </a:ext>
              </a:extLst>
            </p:cNvPr>
            <p:cNvSpPr/>
            <p:nvPr/>
          </p:nvSpPr>
          <p:spPr bwMode="auto">
            <a:xfrm>
              <a:off x="-611105" y="3071485"/>
              <a:ext cx="832288" cy="832288"/>
            </a:xfrm>
            <a:prstGeom prst="ellipse">
              <a:avLst/>
            </a:prstGeom>
            <a:noFill/>
            <a:ln w="28575" cap="flat" cmpd="sng" algn="ctr">
              <a:solidFill>
                <a:srgbClr val="EBEBEB">
                  <a:lumMod val="50000"/>
                </a:srgbClr>
              </a:solidFill>
              <a:prstDash val="solid"/>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175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732B88F7-7244-41A9-9085-4FC7FD551F04}"/>
                </a:ext>
              </a:extLst>
            </p:cNvPr>
            <p:cNvGrpSpPr/>
            <p:nvPr/>
          </p:nvGrpSpPr>
          <p:grpSpPr>
            <a:xfrm>
              <a:off x="-438446" y="3226715"/>
              <a:ext cx="496835" cy="528820"/>
              <a:chOff x="988993" y="2218276"/>
              <a:chExt cx="496906" cy="528896"/>
            </a:xfrm>
          </p:grpSpPr>
          <p:sp>
            <p:nvSpPr>
              <p:cNvPr id="96" name="Freeform: Shape 95">
                <a:extLst>
                  <a:ext uri="{FF2B5EF4-FFF2-40B4-BE49-F238E27FC236}">
                    <a16:creationId xmlns:a16="http://schemas.microsoft.com/office/drawing/2014/main" id="{586F44F0-AA35-45A5-A50B-6D0CC005C6DB}"/>
                  </a:ext>
                </a:extLst>
              </p:cNvPr>
              <p:cNvSpPr/>
              <p:nvPr/>
            </p:nvSpPr>
            <p:spPr>
              <a:xfrm>
                <a:off x="991863" y="2510615"/>
                <a:ext cx="394312" cy="218388"/>
              </a:xfrm>
              <a:custGeom>
                <a:avLst/>
                <a:gdLst/>
                <a:ahLst/>
                <a:cxnLst/>
                <a:rect l="0" t="0" r="0" b="0"/>
                <a:pathLst>
                  <a:path w="619125" h="342900">
                    <a:moveTo>
                      <a:pt x="86477" y="338061"/>
                    </a:moveTo>
                    <a:lnTo>
                      <a:pt x="539791" y="338061"/>
                    </a:lnTo>
                    <a:cubicBezTo>
                      <a:pt x="558527" y="338061"/>
                      <a:pt x="573777" y="322783"/>
                      <a:pt x="573777" y="304048"/>
                    </a:cubicBezTo>
                    <a:lnTo>
                      <a:pt x="619144" y="40748"/>
                    </a:lnTo>
                    <a:cubicBezTo>
                      <a:pt x="619106" y="22393"/>
                      <a:pt x="603837" y="7144"/>
                      <a:pt x="585111" y="7144"/>
                    </a:cubicBezTo>
                    <a:lnTo>
                      <a:pt x="41148" y="7144"/>
                    </a:lnTo>
                    <a:cubicBezTo>
                      <a:pt x="22393" y="7144"/>
                      <a:pt x="7144" y="22403"/>
                      <a:pt x="7144" y="41138"/>
                    </a:cubicBezTo>
                    <a:lnTo>
                      <a:pt x="52435" y="303667"/>
                    </a:lnTo>
                    <a:cubicBezTo>
                      <a:pt x="52473" y="322774"/>
                      <a:pt x="67723" y="338061"/>
                      <a:pt x="86477" y="338061"/>
                    </a:cubicBezTo>
                    <a:close/>
                    <a:moveTo>
                      <a:pt x="313115" y="151762"/>
                    </a:moveTo>
                    <a:cubicBezTo>
                      <a:pt x="322116" y="151762"/>
                      <a:pt x="329413" y="159077"/>
                      <a:pt x="329413" y="168050"/>
                    </a:cubicBezTo>
                    <a:cubicBezTo>
                      <a:pt x="329413" y="177079"/>
                      <a:pt x="322107" y="184356"/>
                      <a:pt x="313115" y="184356"/>
                    </a:cubicBezTo>
                    <a:cubicBezTo>
                      <a:pt x="304124" y="184356"/>
                      <a:pt x="296818" y="177079"/>
                      <a:pt x="296818" y="168050"/>
                    </a:cubicBezTo>
                    <a:cubicBezTo>
                      <a:pt x="296818" y="159077"/>
                      <a:pt x="304124" y="151762"/>
                      <a:pt x="313115" y="151762"/>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97" name="Freeform: Shape 96">
                <a:extLst>
                  <a:ext uri="{FF2B5EF4-FFF2-40B4-BE49-F238E27FC236}">
                    <a16:creationId xmlns:a16="http://schemas.microsoft.com/office/drawing/2014/main" id="{38601C6D-2114-4837-A90D-A0CA89556922}"/>
                  </a:ext>
                </a:extLst>
              </p:cNvPr>
              <p:cNvSpPr/>
              <p:nvPr/>
            </p:nvSpPr>
            <p:spPr>
              <a:xfrm>
                <a:off x="1037791" y="2223468"/>
                <a:ext cx="306993" cy="288815"/>
              </a:xfrm>
              <a:custGeom>
                <a:avLst/>
                <a:gdLst>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31901 w 482022"/>
                  <a:gd name="connsiteY14" fmla="*/ 203616 h 491728"/>
                  <a:gd name="connsiteX15" fmla="*/ 411870 w 482022"/>
                  <a:gd name="connsiteY15" fmla="*/ 139903 h 491728"/>
                  <a:gd name="connsiteX16" fmla="*/ 242897 w 482022"/>
                  <a:gd name="connsiteY16" fmla="*/ 0 h 491728"/>
                  <a:gd name="connsiteX17" fmla="*/ 73895 w 482022"/>
                  <a:gd name="connsiteY17" fmla="*/ 139903 h 491728"/>
                  <a:gd name="connsiteX18" fmla="*/ 53854 w 482022"/>
                  <a:gd name="connsiteY18" fmla="*/ 203625 h 491728"/>
                  <a:gd name="connsiteX19" fmla="*/ 80191 w 482022"/>
                  <a:gd name="connsiteY19" fmla="*/ 269300 h 491728"/>
                  <a:gd name="connsiteX20" fmla="*/ 91697 w 482022"/>
                  <a:gd name="connsiteY20" fmla="*/ 262633 h 491728"/>
                  <a:gd name="connsiteX21" fmla="*/ 108432 w 482022"/>
                  <a:gd name="connsiteY21" fmla="*/ 277749 h 491728"/>
                  <a:gd name="connsiteX22" fmla="*/ 57588 w 482022"/>
                  <a:gd name="connsiteY22" fmla="*/ 377542 h 491728"/>
                  <a:gd name="connsiteX23" fmla="*/ 92316 w 482022"/>
                  <a:gd name="connsiteY23" fmla="*/ 376152 h 491728"/>
                  <a:gd name="connsiteX24" fmla="*/ 0 w 482022"/>
                  <a:gd name="connsiteY24" fmla="*/ 491728 h 491728"/>
                  <a:gd name="connsiteX25" fmla="*/ 482022 w 482022"/>
                  <a:gd name="connsiteY25" fmla="*/ 491728 h 491728"/>
                  <a:gd name="connsiteX26" fmla="*/ 372542 w 482022"/>
                  <a:gd name="connsiteY26" fmla="*/ 369646 h 491728"/>
                  <a:gd name="connsiteX27" fmla="*/ 278320 w 482022"/>
                  <a:gd name="connsiteY27" fmla="*/ 411946 h 491728"/>
                  <a:gd name="connsiteX28" fmla="*/ 241011 w 482022"/>
                  <a:gd name="connsiteY28" fmla="*/ 472545 h 491728"/>
                  <a:gd name="connsiteX29" fmla="*/ 203720 w 482022"/>
                  <a:gd name="connsiteY29" fmla="*/ 411946 h 491728"/>
                  <a:gd name="connsiteX30" fmla="*/ 147237 w 482022"/>
                  <a:gd name="connsiteY30" fmla="*/ 377542 h 491728"/>
                  <a:gd name="connsiteX31" fmla="*/ 192424 w 482022"/>
                  <a:gd name="connsiteY31" fmla="*/ 391315 h 491728"/>
                  <a:gd name="connsiteX32" fmla="*/ 171878 w 482022"/>
                  <a:gd name="connsiteY32" fmla="*/ 345500 h 491728"/>
                  <a:gd name="connsiteX33" fmla="*/ 241001 w 482022"/>
                  <a:gd name="connsiteY33" fmla="*/ 376656 h 491728"/>
                  <a:gd name="connsiteX34" fmla="*/ 308781 w 482022"/>
                  <a:gd name="connsiteY34" fmla="*/ 346853 h 491728"/>
                  <a:gd name="connsiteX35" fmla="*/ 294465 w 482022"/>
                  <a:gd name="connsiteY35" fmla="*/ 376656 h 491728"/>
                  <a:gd name="connsiteX36" fmla="*/ 338471 w 482022"/>
                  <a:gd name="connsiteY36" fmla="*/ 367150 h 491728"/>
                  <a:gd name="connsiteX37" fmla="*/ 278320 w 482022"/>
                  <a:gd name="connsiteY37" fmla="*/ 411946 h 491728"/>
                  <a:gd name="connsiteX38" fmla="*/ 348091 w 482022"/>
                  <a:gd name="connsiteY38" fmla="*/ 217798 h 491728"/>
                  <a:gd name="connsiteX39" fmla="*/ 328126 w 482022"/>
                  <a:gd name="connsiteY39" fmla="*/ 293008 h 491728"/>
                  <a:gd name="connsiteX40" fmla="*/ 241011 w 482022"/>
                  <a:gd name="connsiteY40" fmla="*/ 357797 h 491728"/>
                  <a:gd name="connsiteX41" fmla="*/ 156610 w 482022"/>
                  <a:gd name="connsiteY41" fmla="*/ 298189 h 491728"/>
                  <a:gd name="connsiteX42" fmla="*/ 187414 w 482022"/>
                  <a:gd name="connsiteY42" fmla="*/ 301399 h 491728"/>
                  <a:gd name="connsiteX43" fmla="*/ 197824 w 482022"/>
                  <a:gd name="connsiteY43" fmla="*/ 300942 h 491728"/>
                  <a:gd name="connsiteX44" fmla="*/ 217713 w 482022"/>
                  <a:gd name="connsiteY44" fmla="*/ 309000 h 491728"/>
                  <a:gd name="connsiteX45" fmla="*/ 234400 w 482022"/>
                  <a:gd name="connsiteY45" fmla="*/ 285340 h 491728"/>
                  <a:gd name="connsiteX46" fmla="*/ 210731 w 482022"/>
                  <a:gd name="connsiteY46" fmla="*/ 268671 h 491728"/>
                  <a:gd name="connsiteX47" fmla="*/ 195491 w 482022"/>
                  <a:gd name="connsiteY47" fmla="*/ 280606 h 491728"/>
                  <a:gd name="connsiteX48" fmla="*/ 145847 w 482022"/>
                  <a:gd name="connsiteY48" fmla="*/ 274120 h 491728"/>
                  <a:gd name="connsiteX49" fmla="*/ 134264 w 482022"/>
                  <a:gd name="connsiteY49" fmla="*/ 221627 h 491728"/>
                  <a:gd name="connsiteX50" fmla="*/ 203073 w 482022"/>
                  <a:gd name="connsiteY50" fmla="*/ 204321 h 491728"/>
                  <a:gd name="connsiteX51" fmla="*/ 306648 w 482022"/>
                  <a:gd name="connsiteY51" fmla="*/ 147733 h 491728"/>
                  <a:gd name="connsiteX52" fmla="*/ 307495 w 482022"/>
                  <a:gd name="connsiteY52" fmla="*/ 147142 h 491728"/>
                  <a:gd name="connsiteX53" fmla="*/ 309981 w 482022"/>
                  <a:gd name="connsiteY53" fmla="*/ 151104 h 491728"/>
                  <a:gd name="connsiteX54" fmla="*/ 305495 w 482022"/>
                  <a:gd name="connsiteY54" fmla="*/ 196358 h 491728"/>
                  <a:gd name="connsiteX55" fmla="*/ 341947 w 482022"/>
                  <a:gd name="connsiteY55" fmla="*/ 200996 h 491728"/>
                  <a:gd name="connsiteX56" fmla="*/ 342614 w 482022"/>
                  <a:gd name="connsiteY56" fmla="*/ 200996 h 491728"/>
                  <a:gd name="connsiteX57" fmla="*/ 349282 w 482022"/>
                  <a:gd name="connsiteY57" fmla="*/ 202225 h 491728"/>
                  <a:gd name="connsiteX58" fmla="*/ 348091 w 482022"/>
                  <a:gd name="connsiteY58" fmla="*/ 217798 h 491728"/>
                  <a:gd name="connsiteX0" fmla="*/ 372542 w 482022"/>
                  <a:gd name="connsiteY0" fmla="*/ 369646 h 491728"/>
                  <a:gd name="connsiteX1" fmla="*/ 424453 w 482022"/>
                  <a:gd name="connsiteY1" fmla="*/ 377533 h 491728"/>
                  <a:gd name="connsiteX2" fmla="*/ 370684 w 482022"/>
                  <a:gd name="connsiteY2" fmla="*/ 238268 h 491728"/>
                  <a:gd name="connsiteX3" fmla="*/ 241135 w 482022"/>
                  <a:gd name="connsiteY3" fmla="*/ 38347 h 491728"/>
                  <a:gd name="connsiteX4" fmla="*/ 241011 w 482022"/>
                  <a:gd name="connsiteY4" fmla="*/ 38681 h 491728"/>
                  <a:gd name="connsiteX5" fmla="*/ 240906 w 482022"/>
                  <a:gd name="connsiteY5" fmla="*/ 38347 h 491728"/>
                  <a:gd name="connsiteX6" fmla="*/ 111337 w 482022"/>
                  <a:gd name="connsiteY6" fmla="*/ 238268 h 491728"/>
                  <a:gd name="connsiteX7" fmla="*/ 110852 w 482022"/>
                  <a:gd name="connsiteY7" fmla="*/ 253289 h 491728"/>
                  <a:gd name="connsiteX8" fmla="*/ 101546 w 482022"/>
                  <a:gd name="connsiteY8" fmla="*/ 241878 h 491728"/>
                  <a:gd name="connsiteX9" fmla="*/ 106508 w 482022"/>
                  <a:gd name="connsiteY9" fmla="*/ 203616 h 491728"/>
                  <a:gd name="connsiteX10" fmla="*/ 100231 w 482022"/>
                  <a:gd name="connsiteY10" fmla="*/ 161096 h 491728"/>
                  <a:gd name="connsiteX11" fmla="*/ 242887 w 482022"/>
                  <a:gd name="connsiteY11" fmla="*/ 30708 h 491728"/>
                  <a:gd name="connsiteX12" fmla="*/ 385515 w 482022"/>
                  <a:gd name="connsiteY12" fmla="*/ 161087 h 491728"/>
                  <a:gd name="connsiteX13" fmla="*/ 379228 w 482022"/>
                  <a:gd name="connsiteY13" fmla="*/ 203616 h 491728"/>
                  <a:gd name="connsiteX14" fmla="*/ 411870 w 482022"/>
                  <a:gd name="connsiteY14" fmla="*/ 139903 h 491728"/>
                  <a:gd name="connsiteX15" fmla="*/ 242897 w 482022"/>
                  <a:gd name="connsiteY15" fmla="*/ 0 h 491728"/>
                  <a:gd name="connsiteX16" fmla="*/ 73895 w 482022"/>
                  <a:gd name="connsiteY16" fmla="*/ 139903 h 491728"/>
                  <a:gd name="connsiteX17" fmla="*/ 53854 w 482022"/>
                  <a:gd name="connsiteY17" fmla="*/ 203625 h 491728"/>
                  <a:gd name="connsiteX18" fmla="*/ 80191 w 482022"/>
                  <a:gd name="connsiteY18" fmla="*/ 269300 h 491728"/>
                  <a:gd name="connsiteX19" fmla="*/ 91697 w 482022"/>
                  <a:gd name="connsiteY19" fmla="*/ 262633 h 491728"/>
                  <a:gd name="connsiteX20" fmla="*/ 108432 w 482022"/>
                  <a:gd name="connsiteY20" fmla="*/ 277749 h 491728"/>
                  <a:gd name="connsiteX21" fmla="*/ 57588 w 482022"/>
                  <a:gd name="connsiteY21" fmla="*/ 377542 h 491728"/>
                  <a:gd name="connsiteX22" fmla="*/ 92316 w 482022"/>
                  <a:gd name="connsiteY22" fmla="*/ 376152 h 491728"/>
                  <a:gd name="connsiteX23" fmla="*/ 0 w 482022"/>
                  <a:gd name="connsiteY23" fmla="*/ 491728 h 491728"/>
                  <a:gd name="connsiteX24" fmla="*/ 482022 w 482022"/>
                  <a:gd name="connsiteY24" fmla="*/ 491728 h 491728"/>
                  <a:gd name="connsiteX25" fmla="*/ 372542 w 482022"/>
                  <a:gd name="connsiteY25" fmla="*/ 369646 h 491728"/>
                  <a:gd name="connsiteX26" fmla="*/ 278320 w 482022"/>
                  <a:gd name="connsiteY26" fmla="*/ 411946 h 491728"/>
                  <a:gd name="connsiteX27" fmla="*/ 241011 w 482022"/>
                  <a:gd name="connsiteY27" fmla="*/ 472545 h 491728"/>
                  <a:gd name="connsiteX28" fmla="*/ 203720 w 482022"/>
                  <a:gd name="connsiteY28" fmla="*/ 411946 h 491728"/>
                  <a:gd name="connsiteX29" fmla="*/ 147237 w 482022"/>
                  <a:gd name="connsiteY29" fmla="*/ 377542 h 491728"/>
                  <a:gd name="connsiteX30" fmla="*/ 192424 w 482022"/>
                  <a:gd name="connsiteY30" fmla="*/ 391315 h 491728"/>
                  <a:gd name="connsiteX31" fmla="*/ 171878 w 482022"/>
                  <a:gd name="connsiteY31" fmla="*/ 345500 h 491728"/>
                  <a:gd name="connsiteX32" fmla="*/ 241001 w 482022"/>
                  <a:gd name="connsiteY32" fmla="*/ 376656 h 491728"/>
                  <a:gd name="connsiteX33" fmla="*/ 308781 w 482022"/>
                  <a:gd name="connsiteY33" fmla="*/ 346853 h 491728"/>
                  <a:gd name="connsiteX34" fmla="*/ 294465 w 482022"/>
                  <a:gd name="connsiteY34" fmla="*/ 376656 h 491728"/>
                  <a:gd name="connsiteX35" fmla="*/ 338471 w 482022"/>
                  <a:gd name="connsiteY35" fmla="*/ 367150 h 491728"/>
                  <a:gd name="connsiteX36" fmla="*/ 278320 w 482022"/>
                  <a:gd name="connsiteY36" fmla="*/ 411946 h 491728"/>
                  <a:gd name="connsiteX37" fmla="*/ 348091 w 482022"/>
                  <a:gd name="connsiteY37" fmla="*/ 217798 h 491728"/>
                  <a:gd name="connsiteX38" fmla="*/ 328126 w 482022"/>
                  <a:gd name="connsiteY38" fmla="*/ 293008 h 491728"/>
                  <a:gd name="connsiteX39" fmla="*/ 241011 w 482022"/>
                  <a:gd name="connsiteY39" fmla="*/ 357797 h 491728"/>
                  <a:gd name="connsiteX40" fmla="*/ 156610 w 482022"/>
                  <a:gd name="connsiteY40" fmla="*/ 298189 h 491728"/>
                  <a:gd name="connsiteX41" fmla="*/ 187414 w 482022"/>
                  <a:gd name="connsiteY41" fmla="*/ 301399 h 491728"/>
                  <a:gd name="connsiteX42" fmla="*/ 197824 w 482022"/>
                  <a:gd name="connsiteY42" fmla="*/ 300942 h 491728"/>
                  <a:gd name="connsiteX43" fmla="*/ 217713 w 482022"/>
                  <a:gd name="connsiteY43" fmla="*/ 309000 h 491728"/>
                  <a:gd name="connsiteX44" fmla="*/ 234400 w 482022"/>
                  <a:gd name="connsiteY44" fmla="*/ 285340 h 491728"/>
                  <a:gd name="connsiteX45" fmla="*/ 210731 w 482022"/>
                  <a:gd name="connsiteY45" fmla="*/ 268671 h 491728"/>
                  <a:gd name="connsiteX46" fmla="*/ 195491 w 482022"/>
                  <a:gd name="connsiteY46" fmla="*/ 280606 h 491728"/>
                  <a:gd name="connsiteX47" fmla="*/ 145847 w 482022"/>
                  <a:gd name="connsiteY47" fmla="*/ 274120 h 491728"/>
                  <a:gd name="connsiteX48" fmla="*/ 134264 w 482022"/>
                  <a:gd name="connsiteY48" fmla="*/ 221627 h 491728"/>
                  <a:gd name="connsiteX49" fmla="*/ 203073 w 482022"/>
                  <a:gd name="connsiteY49" fmla="*/ 204321 h 491728"/>
                  <a:gd name="connsiteX50" fmla="*/ 306648 w 482022"/>
                  <a:gd name="connsiteY50" fmla="*/ 147733 h 491728"/>
                  <a:gd name="connsiteX51" fmla="*/ 307495 w 482022"/>
                  <a:gd name="connsiteY51" fmla="*/ 147142 h 491728"/>
                  <a:gd name="connsiteX52" fmla="*/ 309981 w 482022"/>
                  <a:gd name="connsiteY52" fmla="*/ 151104 h 491728"/>
                  <a:gd name="connsiteX53" fmla="*/ 305495 w 482022"/>
                  <a:gd name="connsiteY53" fmla="*/ 196358 h 491728"/>
                  <a:gd name="connsiteX54" fmla="*/ 341947 w 482022"/>
                  <a:gd name="connsiteY54" fmla="*/ 200996 h 491728"/>
                  <a:gd name="connsiteX55" fmla="*/ 342614 w 482022"/>
                  <a:gd name="connsiteY55" fmla="*/ 200996 h 491728"/>
                  <a:gd name="connsiteX56" fmla="*/ 349282 w 482022"/>
                  <a:gd name="connsiteY56" fmla="*/ 202225 h 491728"/>
                  <a:gd name="connsiteX57" fmla="*/ 348091 w 482022"/>
                  <a:gd name="connsiteY57" fmla="*/ 217798 h 491728"/>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85515 w 482022"/>
                  <a:gd name="connsiteY12" fmla="*/ 162164 h 492805"/>
                  <a:gd name="connsiteX13" fmla="*/ 379228 w 482022"/>
                  <a:gd name="connsiteY13" fmla="*/ 204693 h 492805"/>
                  <a:gd name="connsiteX14" fmla="*/ 242897 w 482022"/>
                  <a:gd name="connsiteY14" fmla="*/ 1077 h 492805"/>
                  <a:gd name="connsiteX15" fmla="*/ 73895 w 482022"/>
                  <a:gd name="connsiteY15" fmla="*/ 140980 h 492805"/>
                  <a:gd name="connsiteX16" fmla="*/ 53854 w 482022"/>
                  <a:gd name="connsiteY16" fmla="*/ 204702 h 492805"/>
                  <a:gd name="connsiteX17" fmla="*/ 80191 w 482022"/>
                  <a:gd name="connsiteY17" fmla="*/ 270377 h 492805"/>
                  <a:gd name="connsiteX18" fmla="*/ 91697 w 482022"/>
                  <a:gd name="connsiteY18" fmla="*/ 263710 h 492805"/>
                  <a:gd name="connsiteX19" fmla="*/ 108432 w 482022"/>
                  <a:gd name="connsiteY19" fmla="*/ 278826 h 492805"/>
                  <a:gd name="connsiteX20" fmla="*/ 57588 w 482022"/>
                  <a:gd name="connsiteY20" fmla="*/ 378619 h 492805"/>
                  <a:gd name="connsiteX21" fmla="*/ 92316 w 482022"/>
                  <a:gd name="connsiteY21" fmla="*/ 377229 h 492805"/>
                  <a:gd name="connsiteX22" fmla="*/ 0 w 482022"/>
                  <a:gd name="connsiteY22" fmla="*/ 492805 h 492805"/>
                  <a:gd name="connsiteX23" fmla="*/ 482022 w 482022"/>
                  <a:gd name="connsiteY23" fmla="*/ 492805 h 492805"/>
                  <a:gd name="connsiteX24" fmla="*/ 372542 w 482022"/>
                  <a:gd name="connsiteY24" fmla="*/ 370723 h 492805"/>
                  <a:gd name="connsiteX25" fmla="*/ 278320 w 482022"/>
                  <a:gd name="connsiteY25" fmla="*/ 413023 h 492805"/>
                  <a:gd name="connsiteX26" fmla="*/ 241011 w 482022"/>
                  <a:gd name="connsiteY26" fmla="*/ 473622 h 492805"/>
                  <a:gd name="connsiteX27" fmla="*/ 203720 w 482022"/>
                  <a:gd name="connsiteY27" fmla="*/ 413023 h 492805"/>
                  <a:gd name="connsiteX28" fmla="*/ 147237 w 482022"/>
                  <a:gd name="connsiteY28" fmla="*/ 378619 h 492805"/>
                  <a:gd name="connsiteX29" fmla="*/ 192424 w 482022"/>
                  <a:gd name="connsiteY29" fmla="*/ 392392 h 492805"/>
                  <a:gd name="connsiteX30" fmla="*/ 171878 w 482022"/>
                  <a:gd name="connsiteY30" fmla="*/ 346577 h 492805"/>
                  <a:gd name="connsiteX31" fmla="*/ 241001 w 482022"/>
                  <a:gd name="connsiteY31" fmla="*/ 377733 h 492805"/>
                  <a:gd name="connsiteX32" fmla="*/ 308781 w 482022"/>
                  <a:gd name="connsiteY32" fmla="*/ 347930 h 492805"/>
                  <a:gd name="connsiteX33" fmla="*/ 294465 w 482022"/>
                  <a:gd name="connsiteY33" fmla="*/ 377733 h 492805"/>
                  <a:gd name="connsiteX34" fmla="*/ 338471 w 482022"/>
                  <a:gd name="connsiteY34" fmla="*/ 368227 h 492805"/>
                  <a:gd name="connsiteX35" fmla="*/ 278320 w 482022"/>
                  <a:gd name="connsiteY35" fmla="*/ 413023 h 492805"/>
                  <a:gd name="connsiteX36" fmla="*/ 348091 w 482022"/>
                  <a:gd name="connsiteY36" fmla="*/ 218875 h 492805"/>
                  <a:gd name="connsiteX37" fmla="*/ 328126 w 482022"/>
                  <a:gd name="connsiteY37" fmla="*/ 294085 h 492805"/>
                  <a:gd name="connsiteX38" fmla="*/ 241011 w 482022"/>
                  <a:gd name="connsiteY38" fmla="*/ 358874 h 492805"/>
                  <a:gd name="connsiteX39" fmla="*/ 156610 w 482022"/>
                  <a:gd name="connsiteY39" fmla="*/ 299266 h 492805"/>
                  <a:gd name="connsiteX40" fmla="*/ 187414 w 482022"/>
                  <a:gd name="connsiteY40" fmla="*/ 302476 h 492805"/>
                  <a:gd name="connsiteX41" fmla="*/ 197824 w 482022"/>
                  <a:gd name="connsiteY41" fmla="*/ 302019 h 492805"/>
                  <a:gd name="connsiteX42" fmla="*/ 217713 w 482022"/>
                  <a:gd name="connsiteY42" fmla="*/ 310077 h 492805"/>
                  <a:gd name="connsiteX43" fmla="*/ 234400 w 482022"/>
                  <a:gd name="connsiteY43" fmla="*/ 286417 h 492805"/>
                  <a:gd name="connsiteX44" fmla="*/ 210731 w 482022"/>
                  <a:gd name="connsiteY44" fmla="*/ 269748 h 492805"/>
                  <a:gd name="connsiteX45" fmla="*/ 195491 w 482022"/>
                  <a:gd name="connsiteY45" fmla="*/ 281683 h 492805"/>
                  <a:gd name="connsiteX46" fmla="*/ 145847 w 482022"/>
                  <a:gd name="connsiteY46" fmla="*/ 275197 h 492805"/>
                  <a:gd name="connsiteX47" fmla="*/ 134264 w 482022"/>
                  <a:gd name="connsiteY47" fmla="*/ 222704 h 492805"/>
                  <a:gd name="connsiteX48" fmla="*/ 203073 w 482022"/>
                  <a:gd name="connsiteY48" fmla="*/ 205398 h 492805"/>
                  <a:gd name="connsiteX49" fmla="*/ 306648 w 482022"/>
                  <a:gd name="connsiteY49" fmla="*/ 148810 h 492805"/>
                  <a:gd name="connsiteX50" fmla="*/ 307495 w 482022"/>
                  <a:gd name="connsiteY50" fmla="*/ 148219 h 492805"/>
                  <a:gd name="connsiteX51" fmla="*/ 309981 w 482022"/>
                  <a:gd name="connsiteY51" fmla="*/ 152181 h 492805"/>
                  <a:gd name="connsiteX52" fmla="*/ 305495 w 482022"/>
                  <a:gd name="connsiteY52" fmla="*/ 197435 h 492805"/>
                  <a:gd name="connsiteX53" fmla="*/ 341947 w 482022"/>
                  <a:gd name="connsiteY53" fmla="*/ 202073 h 492805"/>
                  <a:gd name="connsiteX54" fmla="*/ 342614 w 482022"/>
                  <a:gd name="connsiteY54" fmla="*/ 202073 h 492805"/>
                  <a:gd name="connsiteX55" fmla="*/ 349282 w 482022"/>
                  <a:gd name="connsiteY55" fmla="*/ 203302 h 492805"/>
                  <a:gd name="connsiteX56" fmla="*/ 348091 w 482022"/>
                  <a:gd name="connsiteY56" fmla="*/ 218875 h 492805"/>
                  <a:gd name="connsiteX0" fmla="*/ 372542 w 482022"/>
                  <a:gd name="connsiteY0" fmla="*/ 370723 h 492805"/>
                  <a:gd name="connsiteX1" fmla="*/ 424453 w 482022"/>
                  <a:gd name="connsiteY1" fmla="*/ 378610 h 492805"/>
                  <a:gd name="connsiteX2" fmla="*/ 370684 w 482022"/>
                  <a:gd name="connsiteY2" fmla="*/ 239345 h 492805"/>
                  <a:gd name="connsiteX3" fmla="*/ 241135 w 482022"/>
                  <a:gd name="connsiteY3" fmla="*/ 39424 h 492805"/>
                  <a:gd name="connsiteX4" fmla="*/ 241011 w 482022"/>
                  <a:gd name="connsiteY4" fmla="*/ 39758 h 492805"/>
                  <a:gd name="connsiteX5" fmla="*/ 240906 w 482022"/>
                  <a:gd name="connsiteY5" fmla="*/ 39424 h 492805"/>
                  <a:gd name="connsiteX6" fmla="*/ 111337 w 482022"/>
                  <a:gd name="connsiteY6" fmla="*/ 239345 h 492805"/>
                  <a:gd name="connsiteX7" fmla="*/ 110852 w 482022"/>
                  <a:gd name="connsiteY7" fmla="*/ 254366 h 492805"/>
                  <a:gd name="connsiteX8" fmla="*/ 101546 w 482022"/>
                  <a:gd name="connsiteY8" fmla="*/ 242955 h 492805"/>
                  <a:gd name="connsiteX9" fmla="*/ 106508 w 482022"/>
                  <a:gd name="connsiteY9" fmla="*/ 204693 h 492805"/>
                  <a:gd name="connsiteX10" fmla="*/ 100231 w 482022"/>
                  <a:gd name="connsiteY10" fmla="*/ 162173 h 492805"/>
                  <a:gd name="connsiteX11" fmla="*/ 242887 w 482022"/>
                  <a:gd name="connsiteY11" fmla="*/ 31785 h 492805"/>
                  <a:gd name="connsiteX12" fmla="*/ 379228 w 482022"/>
                  <a:gd name="connsiteY12" fmla="*/ 204693 h 492805"/>
                  <a:gd name="connsiteX13" fmla="*/ 242897 w 482022"/>
                  <a:gd name="connsiteY13" fmla="*/ 1077 h 492805"/>
                  <a:gd name="connsiteX14" fmla="*/ 73895 w 482022"/>
                  <a:gd name="connsiteY14" fmla="*/ 140980 h 492805"/>
                  <a:gd name="connsiteX15" fmla="*/ 53854 w 482022"/>
                  <a:gd name="connsiteY15" fmla="*/ 204702 h 492805"/>
                  <a:gd name="connsiteX16" fmla="*/ 80191 w 482022"/>
                  <a:gd name="connsiteY16" fmla="*/ 270377 h 492805"/>
                  <a:gd name="connsiteX17" fmla="*/ 91697 w 482022"/>
                  <a:gd name="connsiteY17" fmla="*/ 263710 h 492805"/>
                  <a:gd name="connsiteX18" fmla="*/ 108432 w 482022"/>
                  <a:gd name="connsiteY18" fmla="*/ 278826 h 492805"/>
                  <a:gd name="connsiteX19" fmla="*/ 57588 w 482022"/>
                  <a:gd name="connsiteY19" fmla="*/ 378619 h 492805"/>
                  <a:gd name="connsiteX20" fmla="*/ 92316 w 482022"/>
                  <a:gd name="connsiteY20" fmla="*/ 377229 h 492805"/>
                  <a:gd name="connsiteX21" fmla="*/ 0 w 482022"/>
                  <a:gd name="connsiteY21" fmla="*/ 492805 h 492805"/>
                  <a:gd name="connsiteX22" fmla="*/ 482022 w 482022"/>
                  <a:gd name="connsiteY22" fmla="*/ 492805 h 492805"/>
                  <a:gd name="connsiteX23" fmla="*/ 372542 w 482022"/>
                  <a:gd name="connsiteY23" fmla="*/ 370723 h 492805"/>
                  <a:gd name="connsiteX24" fmla="*/ 278320 w 482022"/>
                  <a:gd name="connsiteY24" fmla="*/ 413023 h 492805"/>
                  <a:gd name="connsiteX25" fmla="*/ 241011 w 482022"/>
                  <a:gd name="connsiteY25" fmla="*/ 473622 h 492805"/>
                  <a:gd name="connsiteX26" fmla="*/ 203720 w 482022"/>
                  <a:gd name="connsiteY26" fmla="*/ 413023 h 492805"/>
                  <a:gd name="connsiteX27" fmla="*/ 147237 w 482022"/>
                  <a:gd name="connsiteY27" fmla="*/ 378619 h 492805"/>
                  <a:gd name="connsiteX28" fmla="*/ 192424 w 482022"/>
                  <a:gd name="connsiteY28" fmla="*/ 392392 h 492805"/>
                  <a:gd name="connsiteX29" fmla="*/ 171878 w 482022"/>
                  <a:gd name="connsiteY29" fmla="*/ 346577 h 492805"/>
                  <a:gd name="connsiteX30" fmla="*/ 241001 w 482022"/>
                  <a:gd name="connsiteY30" fmla="*/ 377733 h 492805"/>
                  <a:gd name="connsiteX31" fmla="*/ 308781 w 482022"/>
                  <a:gd name="connsiteY31" fmla="*/ 347930 h 492805"/>
                  <a:gd name="connsiteX32" fmla="*/ 294465 w 482022"/>
                  <a:gd name="connsiteY32" fmla="*/ 377733 h 492805"/>
                  <a:gd name="connsiteX33" fmla="*/ 338471 w 482022"/>
                  <a:gd name="connsiteY33" fmla="*/ 368227 h 492805"/>
                  <a:gd name="connsiteX34" fmla="*/ 278320 w 482022"/>
                  <a:gd name="connsiteY34" fmla="*/ 413023 h 492805"/>
                  <a:gd name="connsiteX35" fmla="*/ 348091 w 482022"/>
                  <a:gd name="connsiteY35" fmla="*/ 218875 h 492805"/>
                  <a:gd name="connsiteX36" fmla="*/ 328126 w 482022"/>
                  <a:gd name="connsiteY36" fmla="*/ 294085 h 492805"/>
                  <a:gd name="connsiteX37" fmla="*/ 241011 w 482022"/>
                  <a:gd name="connsiteY37" fmla="*/ 358874 h 492805"/>
                  <a:gd name="connsiteX38" fmla="*/ 156610 w 482022"/>
                  <a:gd name="connsiteY38" fmla="*/ 299266 h 492805"/>
                  <a:gd name="connsiteX39" fmla="*/ 187414 w 482022"/>
                  <a:gd name="connsiteY39" fmla="*/ 302476 h 492805"/>
                  <a:gd name="connsiteX40" fmla="*/ 197824 w 482022"/>
                  <a:gd name="connsiteY40" fmla="*/ 302019 h 492805"/>
                  <a:gd name="connsiteX41" fmla="*/ 217713 w 482022"/>
                  <a:gd name="connsiteY41" fmla="*/ 310077 h 492805"/>
                  <a:gd name="connsiteX42" fmla="*/ 234400 w 482022"/>
                  <a:gd name="connsiteY42" fmla="*/ 286417 h 492805"/>
                  <a:gd name="connsiteX43" fmla="*/ 210731 w 482022"/>
                  <a:gd name="connsiteY43" fmla="*/ 269748 h 492805"/>
                  <a:gd name="connsiteX44" fmla="*/ 195491 w 482022"/>
                  <a:gd name="connsiteY44" fmla="*/ 281683 h 492805"/>
                  <a:gd name="connsiteX45" fmla="*/ 145847 w 482022"/>
                  <a:gd name="connsiteY45" fmla="*/ 275197 h 492805"/>
                  <a:gd name="connsiteX46" fmla="*/ 134264 w 482022"/>
                  <a:gd name="connsiteY46" fmla="*/ 222704 h 492805"/>
                  <a:gd name="connsiteX47" fmla="*/ 203073 w 482022"/>
                  <a:gd name="connsiteY47" fmla="*/ 205398 h 492805"/>
                  <a:gd name="connsiteX48" fmla="*/ 306648 w 482022"/>
                  <a:gd name="connsiteY48" fmla="*/ 148810 h 492805"/>
                  <a:gd name="connsiteX49" fmla="*/ 307495 w 482022"/>
                  <a:gd name="connsiteY49" fmla="*/ 148219 h 492805"/>
                  <a:gd name="connsiteX50" fmla="*/ 309981 w 482022"/>
                  <a:gd name="connsiteY50" fmla="*/ 152181 h 492805"/>
                  <a:gd name="connsiteX51" fmla="*/ 305495 w 482022"/>
                  <a:gd name="connsiteY51" fmla="*/ 197435 h 492805"/>
                  <a:gd name="connsiteX52" fmla="*/ 341947 w 482022"/>
                  <a:gd name="connsiteY52" fmla="*/ 202073 h 492805"/>
                  <a:gd name="connsiteX53" fmla="*/ 342614 w 482022"/>
                  <a:gd name="connsiteY53" fmla="*/ 202073 h 492805"/>
                  <a:gd name="connsiteX54" fmla="*/ 349282 w 482022"/>
                  <a:gd name="connsiteY54" fmla="*/ 203302 h 492805"/>
                  <a:gd name="connsiteX55" fmla="*/ 348091 w 482022"/>
                  <a:gd name="connsiteY55" fmla="*/ 218875 h 492805"/>
                  <a:gd name="connsiteX0" fmla="*/ 372542 w 482022"/>
                  <a:gd name="connsiteY0" fmla="*/ 339486 h 461568"/>
                  <a:gd name="connsiteX1" fmla="*/ 424453 w 482022"/>
                  <a:gd name="connsiteY1" fmla="*/ 347373 h 461568"/>
                  <a:gd name="connsiteX2" fmla="*/ 370684 w 482022"/>
                  <a:gd name="connsiteY2" fmla="*/ 208108 h 461568"/>
                  <a:gd name="connsiteX3" fmla="*/ 241135 w 482022"/>
                  <a:gd name="connsiteY3" fmla="*/ 8187 h 461568"/>
                  <a:gd name="connsiteX4" fmla="*/ 241011 w 482022"/>
                  <a:gd name="connsiteY4" fmla="*/ 8521 h 461568"/>
                  <a:gd name="connsiteX5" fmla="*/ 240906 w 482022"/>
                  <a:gd name="connsiteY5" fmla="*/ 8187 h 461568"/>
                  <a:gd name="connsiteX6" fmla="*/ 111337 w 482022"/>
                  <a:gd name="connsiteY6" fmla="*/ 208108 h 461568"/>
                  <a:gd name="connsiteX7" fmla="*/ 110852 w 482022"/>
                  <a:gd name="connsiteY7" fmla="*/ 223129 h 461568"/>
                  <a:gd name="connsiteX8" fmla="*/ 101546 w 482022"/>
                  <a:gd name="connsiteY8" fmla="*/ 211718 h 461568"/>
                  <a:gd name="connsiteX9" fmla="*/ 106508 w 482022"/>
                  <a:gd name="connsiteY9" fmla="*/ 173456 h 461568"/>
                  <a:gd name="connsiteX10" fmla="*/ 100231 w 482022"/>
                  <a:gd name="connsiteY10" fmla="*/ 130936 h 461568"/>
                  <a:gd name="connsiteX11" fmla="*/ 242887 w 482022"/>
                  <a:gd name="connsiteY11" fmla="*/ 548 h 461568"/>
                  <a:gd name="connsiteX12" fmla="*/ 379228 w 482022"/>
                  <a:gd name="connsiteY12" fmla="*/ 173456 h 461568"/>
                  <a:gd name="connsiteX13" fmla="*/ 73895 w 482022"/>
                  <a:gd name="connsiteY13" fmla="*/ 109743 h 461568"/>
                  <a:gd name="connsiteX14" fmla="*/ 53854 w 482022"/>
                  <a:gd name="connsiteY14" fmla="*/ 173465 h 461568"/>
                  <a:gd name="connsiteX15" fmla="*/ 80191 w 482022"/>
                  <a:gd name="connsiteY15" fmla="*/ 239140 h 461568"/>
                  <a:gd name="connsiteX16" fmla="*/ 91697 w 482022"/>
                  <a:gd name="connsiteY16" fmla="*/ 232473 h 461568"/>
                  <a:gd name="connsiteX17" fmla="*/ 108432 w 482022"/>
                  <a:gd name="connsiteY17" fmla="*/ 247589 h 461568"/>
                  <a:gd name="connsiteX18" fmla="*/ 57588 w 482022"/>
                  <a:gd name="connsiteY18" fmla="*/ 347382 h 461568"/>
                  <a:gd name="connsiteX19" fmla="*/ 92316 w 482022"/>
                  <a:gd name="connsiteY19" fmla="*/ 345992 h 461568"/>
                  <a:gd name="connsiteX20" fmla="*/ 0 w 482022"/>
                  <a:gd name="connsiteY20" fmla="*/ 461568 h 461568"/>
                  <a:gd name="connsiteX21" fmla="*/ 482022 w 482022"/>
                  <a:gd name="connsiteY21" fmla="*/ 461568 h 461568"/>
                  <a:gd name="connsiteX22" fmla="*/ 372542 w 482022"/>
                  <a:gd name="connsiteY22" fmla="*/ 339486 h 461568"/>
                  <a:gd name="connsiteX23" fmla="*/ 278320 w 482022"/>
                  <a:gd name="connsiteY23" fmla="*/ 381786 h 461568"/>
                  <a:gd name="connsiteX24" fmla="*/ 241011 w 482022"/>
                  <a:gd name="connsiteY24" fmla="*/ 442385 h 461568"/>
                  <a:gd name="connsiteX25" fmla="*/ 203720 w 482022"/>
                  <a:gd name="connsiteY25" fmla="*/ 381786 h 461568"/>
                  <a:gd name="connsiteX26" fmla="*/ 147237 w 482022"/>
                  <a:gd name="connsiteY26" fmla="*/ 347382 h 461568"/>
                  <a:gd name="connsiteX27" fmla="*/ 192424 w 482022"/>
                  <a:gd name="connsiteY27" fmla="*/ 361155 h 461568"/>
                  <a:gd name="connsiteX28" fmla="*/ 171878 w 482022"/>
                  <a:gd name="connsiteY28" fmla="*/ 315340 h 461568"/>
                  <a:gd name="connsiteX29" fmla="*/ 241001 w 482022"/>
                  <a:gd name="connsiteY29" fmla="*/ 346496 h 461568"/>
                  <a:gd name="connsiteX30" fmla="*/ 308781 w 482022"/>
                  <a:gd name="connsiteY30" fmla="*/ 316693 h 461568"/>
                  <a:gd name="connsiteX31" fmla="*/ 294465 w 482022"/>
                  <a:gd name="connsiteY31" fmla="*/ 346496 h 461568"/>
                  <a:gd name="connsiteX32" fmla="*/ 338471 w 482022"/>
                  <a:gd name="connsiteY32" fmla="*/ 336990 h 461568"/>
                  <a:gd name="connsiteX33" fmla="*/ 278320 w 482022"/>
                  <a:gd name="connsiteY33" fmla="*/ 381786 h 461568"/>
                  <a:gd name="connsiteX34" fmla="*/ 348091 w 482022"/>
                  <a:gd name="connsiteY34" fmla="*/ 187638 h 461568"/>
                  <a:gd name="connsiteX35" fmla="*/ 328126 w 482022"/>
                  <a:gd name="connsiteY35" fmla="*/ 262848 h 461568"/>
                  <a:gd name="connsiteX36" fmla="*/ 241011 w 482022"/>
                  <a:gd name="connsiteY36" fmla="*/ 327637 h 461568"/>
                  <a:gd name="connsiteX37" fmla="*/ 156610 w 482022"/>
                  <a:gd name="connsiteY37" fmla="*/ 268029 h 461568"/>
                  <a:gd name="connsiteX38" fmla="*/ 187414 w 482022"/>
                  <a:gd name="connsiteY38" fmla="*/ 271239 h 461568"/>
                  <a:gd name="connsiteX39" fmla="*/ 197824 w 482022"/>
                  <a:gd name="connsiteY39" fmla="*/ 270782 h 461568"/>
                  <a:gd name="connsiteX40" fmla="*/ 217713 w 482022"/>
                  <a:gd name="connsiteY40" fmla="*/ 278840 h 461568"/>
                  <a:gd name="connsiteX41" fmla="*/ 234400 w 482022"/>
                  <a:gd name="connsiteY41" fmla="*/ 255180 h 461568"/>
                  <a:gd name="connsiteX42" fmla="*/ 210731 w 482022"/>
                  <a:gd name="connsiteY42" fmla="*/ 238511 h 461568"/>
                  <a:gd name="connsiteX43" fmla="*/ 195491 w 482022"/>
                  <a:gd name="connsiteY43" fmla="*/ 250446 h 461568"/>
                  <a:gd name="connsiteX44" fmla="*/ 145847 w 482022"/>
                  <a:gd name="connsiteY44" fmla="*/ 243960 h 461568"/>
                  <a:gd name="connsiteX45" fmla="*/ 134264 w 482022"/>
                  <a:gd name="connsiteY45" fmla="*/ 191467 h 461568"/>
                  <a:gd name="connsiteX46" fmla="*/ 203073 w 482022"/>
                  <a:gd name="connsiteY46" fmla="*/ 174161 h 461568"/>
                  <a:gd name="connsiteX47" fmla="*/ 306648 w 482022"/>
                  <a:gd name="connsiteY47" fmla="*/ 117573 h 461568"/>
                  <a:gd name="connsiteX48" fmla="*/ 307495 w 482022"/>
                  <a:gd name="connsiteY48" fmla="*/ 116982 h 461568"/>
                  <a:gd name="connsiteX49" fmla="*/ 309981 w 482022"/>
                  <a:gd name="connsiteY49" fmla="*/ 120944 h 461568"/>
                  <a:gd name="connsiteX50" fmla="*/ 305495 w 482022"/>
                  <a:gd name="connsiteY50" fmla="*/ 166198 h 461568"/>
                  <a:gd name="connsiteX51" fmla="*/ 341947 w 482022"/>
                  <a:gd name="connsiteY51" fmla="*/ 170836 h 461568"/>
                  <a:gd name="connsiteX52" fmla="*/ 342614 w 482022"/>
                  <a:gd name="connsiteY52" fmla="*/ 170836 h 461568"/>
                  <a:gd name="connsiteX53" fmla="*/ 349282 w 482022"/>
                  <a:gd name="connsiteY53" fmla="*/ 172065 h 461568"/>
                  <a:gd name="connsiteX54" fmla="*/ 348091 w 482022"/>
                  <a:gd name="connsiteY54" fmla="*/ 187638 h 461568"/>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73895 w 482022"/>
                  <a:gd name="connsiteY12" fmla="*/ 101655 h 453480"/>
                  <a:gd name="connsiteX13" fmla="*/ 53854 w 482022"/>
                  <a:gd name="connsiteY13" fmla="*/ 165377 h 453480"/>
                  <a:gd name="connsiteX14" fmla="*/ 80191 w 482022"/>
                  <a:gd name="connsiteY14" fmla="*/ 231052 h 453480"/>
                  <a:gd name="connsiteX15" fmla="*/ 91697 w 482022"/>
                  <a:gd name="connsiteY15" fmla="*/ 224385 h 453480"/>
                  <a:gd name="connsiteX16" fmla="*/ 108432 w 482022"/>
                  <a:gd name="connsiteY16" fmla="*/ 239501 h 453480"/>
                  <a:gd name="connsiteX17" fmla="*/ 57588 w 482022"/>
                  <a:gd name="connsiteY17" fmla="*/ 339294 h 453480"/>
                  <a:gd name="connsiteX18" fmla="*/ 92316 w 482022"/>
                  <a:gd name="connsiteY18" fmla="*/ 337904 h 453480"/>
                  <a:gd name="connsiteX19" fmla="*/ 0 w 482022"/>
                  <a:gd name="connsiteY19" fmla="*/ 453480 h 453480"/>
                  <a:gd name="connsiteX20" fmla="*/ 482022 w 482022"/>
                  <a:gd name="connsiteY20" fmla="*/ 453480 h 453480"/>
                  <a:gd name="connsiteX21" fmla="*/ 372542 w 482022"/>
                  <a:gd name="connsiteY21" fmla="*/ 331398 h 453480"/>
                  <a:gd name="connsiteX22" fmla="*/ 278320 w 482022"/>
                  <a:gd name="connsiteY22" fmla="*/ 373698 h 453480"/>
                  <a:gd name="connsiteX23" fmla="*/ 241011 w 482022"/>
                  <a:gd name="connsiteY23" fmla="*/ 434297 h 453480"/>
                  <a:gd name="connsiteX24" fmla="*/ 203720 w 482022"/>
                  <a:gd name="connsiteY24" fmla="*/ 373698 h 453480"/>
                  <a:gd name="connsiteX25" fmla="*/ 147237 w 482022"/>
                  <a:gd name="connsiteY25" fmla="*/ 339294 h 453480"/>
                  <a:gd name="connsiteX26" fmla="*/ 192424 w 482022"/>
                  <a:gd name="connsiteY26" fmla="*/ 353067 h 453480"/>
                  <a:gd name="connsiteX27" fmla="*/ 171878 w 482022"/>
                  <a:gd name="connsiteY27" fmla="*/ 307252 h 453480"/>
                  <a:gd name="connsiteX28" fmla="*/ 241001 w 482022"/>
                  <a:gd name="connsiteY28" fmla="*/ 338408 h 453480"/>
                  <a:gd name="connsiteX29" fmla="*/ 308781 w 482022"/>
                  <a:gd name="connsiteY29" fmla="*/ 308605 h 453480"/>
                  <a:gd name="connsiteX30" fmla="*/ 294465 w 482022"/>
                  <a:gd name="connsiteY30" fmla="*/ 338408 h 453480"/>
                  <a:gd name="connsiteX31" fmla="*/ 338471 w 482022"/>
                  <a:gd name="connsiteY31" fmla="*/ 328902 h 453480"/>
                  <a:gd name="connsiteX32" fmla="*/ 278320 w 482022"/>
                  <a:gd name="connsiteY32" fmla="*/ 373698 h 453480"/>
                  <a:gd name="connsiteX33" fmla="*/ 348091 w 482022"/>
                  <a:gd name="connsiteY33" fmla="*/ 179550 h 453480"/>
                  <a:gd name="connsiteX34" fmla="*/ 328126 w 482022"/>
                  <a:gd name="connsiteY34" fmla="*/ 254760 h 453480"/>
                  <a:gd name="connsiteX35" fmla="*/ 241011 w 482022"/>
                  <a:gd name="connsiteY35" fmla="*/ 319549 h 453480"/>
                  <a:gd name="connsiteX36" fmla="*/ 156610 w 482022"/>
                  <a:gd name="connsiteY36" fmla="*/ 259941 h 453480"/>
                  <a:gd name="connsiteX37" fmla="*/ 187414 w 482022"/>
                  <a:gd name="connsiteY37" fmla="*/ 263151 h 453480"/>
                  <a:gd name="connsiteX38" fmla="*/ 197824 w 482022"/>
                  <a:gd name="connsiteY38" fmla="*/ 262694 h 453480"/>
                  <a:gd name="connsiteX39" fmla="*/ 217713 w 482022"/>
                  <a:gd name="connsiteY39" fmla="*/ 270752 h 453480"/>
                  <a:gd name="connsiteX40" fmla="*/ 234400 w 482022"/>
                  <a:gd name="connsiteY40" fmla="*/ 247092 h 453480"/>
                  <a:gd name="connsiteX41" fmla="*/ 210731 w 482022"/>
                  <a:gd name="connsiteY41" fmla="*/ 230423 h 453480"/>
                  <a:gd name="connsiteX42" fmla="*/ 195491 w 482022"/>
                  <a:gd name="connsiteY42" fmla="*/ 242358 h 453480"/>
                  <a:gd name="connsiteX43" fmla="*/ 145847 w 482022"/>
                  <a:gd name="connsiteY43" fmla="*/ 235872 h 453480"/>
                  <a:gd name="connsiteX44" fmla="*/ 134264 w 482022"/>
                  <a:gd name="connsiteY44" fmla="*/ 183379 h 453480"/>
                  <a:gd name="connsiteX45" fmla="*/ 203073 w 482022"/>
                  <a:gd name="connsiteY45" fmla="*/ 166073 h 453480"/>
                  <a:gd name="connsiteX46" fmla="*/ 306648 w 482022"/>
                  <a:gd name="connsiteY46" fmla="*/ 109485 h 453480"/>
                  <a:gd name="connsiteX47" fmla="*/ 307495 w 482022"/>
                  <a:gd name="connsiteY47" fmla="*/ 108894 h 453480"/>
                  <a:gd name="connsiteX48" fmla="*/ 309981 w 482022"/>
                  <a:gd name="connsiteY48" fmla="*/ 112856 h 453480"/>
                  <a:gd name="connsiteX49" fmla="*/ 305495 w 482022"/>
                  <a:gd name="connsiteY49" fmla="*/ 158110 h 453480"/>
                  <a:gd name="connsiteX50" fmla="*/ 341947 w 482022"/>
                  <a:gd name="connsiteY50" fmla="*/ 162748 h 453480"/>
                  <a:gd name="connsiteX51" fmla="*/ 342614 w 482022"/>
                  <a:gd name="connsiteY51" fmla="*/ 162748 h 453480"/>
                  <a:gd name="connsiteX52" fmla="*/ 349282 w 482022"/>
                  <a:gd name="connsiteY52" fmla="*/ 163977 h 453480"/>
                  <a:gd name="connsiteX53" fmla="*/ 348091 w 482022"/>
                  <a:gd name="connsiteY5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100231 w 482022"/>
                  <a:gd name="connsiteY10" fmla="*/ 122848 h 453480"/>
                  <a:gd name="connsiteX11" fmla="*/ 379228 w 482022"/>
                  <a:gd name="connsiteY11" fmla="*/ 165368 h 453480"/>
                  <a:gd name="connsiteX12" fmla="*/ 53854 w 482022"/>
                  <a:gd name="connsiteY12" fmla="*/ 165377 h 453480"/>
                  <a:gd name="connsiteX13" fmla="*/ 80191 w 482022"/>
                  <a:gd name="connsiteY13" fmla="*/ 231052 h 453480"/>
                  <a:gd name="connsiteX14" fmla="*/ 91697 w 482022"/>
                  <a:gd name="connsiteY14" fmla="*/ 224385 h 453480"/>
                  <a:gd name="connsiteX15" fmla="*/ 108432 w 482022"/>
                  <a:gd name="connsiteY15" fmla="*/ 239501 h 453480"/>
                  <a:gd name="connsiteX16" fmla="*/ 57588 w 482022"/>
                  <a:gd name="connsiteY16" fmla="*/ 339294 h 453480"/>
                  <a:gd name="connsiteX17" fmla="*/ 92316 w 482022"/>
                  <a:gd name="connsiteY17" fmla="*/ 337904 h 453480"/>
                  <a:gd name="connsiteX18" fmla="*/ 0 w 482022"/>
                  <a:gd name="connsiteY18" fmla="*/ 453480 h 453480"/>
                  <a:gd name="connsiteX19" fmla="*/ 482022 w 482022"/>
                  <a:gd name="connsiteY19" fmla="*/ 453480 h 453480"/>
                  <a:gd name="connsiteX20" fmla="*/ 372542 w 482022"/>
                  <a:gd name="connsiteY20" fmla="*/ 331398 h 453480"/>
                  <a:gd name="connsiteX21" fmla="*/ 278320 w 482022"/>
                  <a:gd name="connsiteY21" fmla="*/ 373698 h 453480"/>
                  <a:gd name="connsiteX22" fmla="*/ 241011 w 482022"/>
                  <a:gd name="connsiteY22" fmla="*/ 434297 h 453480"/>
                  <a:gd name="connsiteX23" fmla="*/ 203720 w 482022"/>
                  <a:gd name="connsiteY23" fmla="*/ 373698 h 453480"/>
                  <a:gd name="connsiteX24" fmla="*/ 147237 w 482022"/>
                  <a:gd name="connsiteY24" fmla="*/ 339294 h 453480"/>
                  <a:gd name="connsiteX25" fmla="*/ 192424 w 482022"/>
                  <a:gd name="connsiteY25" fmla="*/ 353067 h 453480"/>
                  <a:gd name="connsiteX26" fmla="*/ 171878 w 482022"/>
                  <a:gd name="connsiteY26" fmla="*/ 307252 h 453480"/>
                  <a:gd name="connsiteX27" fmla="*/ 241001 w 482022"/>
                  <a:gd name="connsiteY27" fmla="*/ 338408 h 453480"/>
                  <a:gd name="connsiteX28" fmla="*/ 308781 w 482022"/>
                  <a:gd name="connsiteY28" fmla="*/ 308605 h 453480"/>
                  <a:gd name="connsiteX29" fmla="*/ 294465 w 482022"/>
                  <a:gd name="connsiteY29" fmla="*/ 338408 h 453480"/>
                  <a:gd name="connsiteX30" fmla="*/ 338471 w 482022"/>
                  <a:gd name="connsiteY30" fmla="*/ 328902 h 453480"/>
                  <a:gd name="connsiteX31" fmla="*/ 278320 w 482022"/>
                  <a:gd name="connsiteY31" fmla="*/ 373698 h 453480"/>
                  <a:gd name="connsiteX32" fmla="*/ 348091 w 482022"/>
                  <a:gd name="connsiteY32" fmla="*/ 179550 h 453480"/>
                  <a:gd name="connsiteX33" fmla="*/ 328126 w 482022"/>
                  <a:gd name="connsiteY33" fmla="*/ 254760 h 453480"/>
                  <a:gd name="connsiteX34" fmla="*/ 241011 w 482022"/>
                  <a:gd name="connsiteY34" fmla="*/ 319549 h 453480"/>
                  <a:gd name="connsiteX35" fmla="*/ 156610 w 482022"/>
                  <a:gd name="connsiteY35" fmla="*/ 259941 h 453480"/>
                  <a:gd name="connsiteX36" fmla="*/ 187414 w 482022"/>
                  <a:gd name="connsiteY36" fmla="*/ 263151 h 453480"/>
                  <a:gd name="connsiteX37" fmla="*/ 197824 w 482022"/>
                  <a:gd name="connsiteY37" fmla="*/ 262694 h 453480"/>
                  <a:gd name="connsiteX38" fmla="*/ 217713 w 482022"/>
                  <a:gd name="connsiteY38" fmla="*/ 270752 h 453480"/>
                  <a:gd name="connsiteX39" fmla="*/ 234400 w 482022"/>
                  <a:gd name="connsiteY39" fmla="*/ 247092 h 453480"/>
                  <a:gd name="connsiteX40" fmla="*/ 210731 w 482022"/>
                  <a:gd name="connsiteY40" fmla="*/ 230423 h 453480"/>
                  <a:gd name="connsiteX41" fmla="*/ 195491 w 482022"/>
                  <a:gd name="connsiteY41" fmla="*/ 242358 h 453480"/>
                  <a:gd name="connsiteX42" fmla="*/ 145847 w 482022"/>
                  <a:gd name="connsiteY42" fmla="*/ 235872 h 453480"/>
                  <a:gd name="connsiteX43" fmla="*/ 134264 w 482022"/>
                  <a:gd name="connsiteY43" fmla="*/ 183379 h 453480"/>
                  <a:gd name="connsiteX44" fmla="*/ 203073 w 482022"/>
                  <a:gd name="connsiteY44" fmla="*/ 166073 h 453480"/>
                  <a:gd name="connsiteX45" fmla="*/ 306648 w 482022"/>
                  <a:gd name="connsiteY45" fmla="*/ 109485 h 453480"/>
                  <a:gd name="connsiteX46" fmla="*/ 307495 w 482022"/>
                  <a:gd name="connsiteY46" fmla="*/ 108894 h 453480"/>
                  <a:gd name="connsiteX47" fmla="*/ 309981 w 482022"/>
                  <a:gd name="connsiteY47" fmla="*/ 112856 h 453480"/>
                  <a:gd name="connsiteX48" fmla="*/ 305495 w 482022"/>
                  <a:gd name="connsiteY48" fmla="*/ 158110 h 453480"/>
                  <a:gd name="connsiteX49" fmla="*/ 341947 w 482022"/>
                  <a:gd name="connsiteY49" fmla="*/ 162748 h 453480"/>
                  <a:gd name="connsiteX50" fmla="*/ 342614 w 482022"/>
                  <a:gd name="connsiteY50" fmla="*/ 162748 h 453480"/>
                  <a:gd name="connsiteX51" fmla="*/ 349282 w 482022"/>
                  <a:gd name="connsiteY51" fmla="*/ 163977 h 453480"/>
                  <a:gd name="connsiteX52" fmla="*/ 348091 w 482022"/>
                  <a:gd name="connsiteY5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53854 w 482022"/>
                  <a:gd name="connsiteY11" fmla="*/ 165377 h 453480"/>
                  <a:gd name="connsiteX12" fmla="*/ 80191 w 482022"/>
                  <a:gd name="connsiteY12" fmla="*/ 231052 h 453480"/>
                  <a:gd name="connsiteX13" fmla="*/ 91697 w 482022"/>
                  <a:gd name="connsiteY13" fmla="*/ 224385 h 453480"/>
                  <a:gd name="connsiteX14" fmla="*/ 108432 w 482022"/>
                  <a:gd name="connsiteY14" fmla="*/ 239501 h 453480"/>
                  <a:gd name="connsiteX15" fmla="*/ 57588 w 482022"/>
                  <a:gd name="connsiteY15" fmla="*/ 339294 h 453480"/>
                  <a:gd name="connsiteX16" fmla="*/ 92316 w 482022"/>
                  <a:gd name="connsiteY16" fmla="*/ 337904 h 453480"/>
                  <a:gd name="connsiteX17" fmla="*/ 0 w 482022"/>
                  <a:gd name="connsiteY17" fmla="*/ 453480 h 453480"/>
                  <a:gd name="connsiteX18" fmla="*/ 482022 w 482022"/>
                  <a:gd name="connsiteY18" fmla="*/ 453480 h 453480"/>
                  <a:gd name="connsiteX19" fmla="*/ 372542 w 482022"/>
                  <a:gd name="connsiteY19" fmla="*/ 331398 h 453480"/>
                  <a:gd name="connsiteX20" fmla="*/ 278320 w 482022"/>
                  <a:gd name="connsiteY20" fmla="*/ 373698 h 453480"/>
                  <a:gd name="connsiteX21" fmla="*/ 241011 w 482022"/>
                  <a:gd name="connsiteY21" fmla="*/ 434297 h 453480"/>
                  <a:gd name="connsiteX22" fmla="*/ 203720 w 482022"/>
                  <a:gd name="connsiteY22" fmla="*/ 373698 h 453480"/>
                  <a:gd name="connsiteX23" fmla="*/ 147237 w 482022"/>
                  <a:gd name="connsiteY23" fmla="*/ 339294 h 453480"/>
                  <a:gd name="connsiteX24" fmla="*/ 192424 w 482022"/>
                  <a:gd name="connsiteY24" fmla="*/ 353067 h 453480"/>
                  <a:gd name="connsiteX25" fmla="*/ 171878 w 482022"/>
                  <a:gd name="connsiteY25" fmla="*/ 307252 h 453480"/>
                  <a:gd name="connsiteX26" fmla="*/ 241001 w 482022"/>
                  <a:gd name="connsiteY26" fmla="*/ 338408 h 453480"/>
                  <a:gd name="connsiteX27" fmla="*/ 308781 w 482022"/>
                  <a:gd name="connsiteY27" fmla="*/ 308605 h 453480"/>
                  <a:gd name="connsiteX28" fmla="*/ 294465 w 482022"/>
                  <a:gd name="connsiteY28" fmla="*/ 338408 h 453480"/>
                  <a:gd name="connsiteX29" fmla="*/ 338471 w 482022"/>
                  <a:gd name="connsiteY29" fmla="*/ 328902 h 453480"/>
                  <a:gd name="connsiteX30" fmla="*/ 278320 w 482022"/>
                  <a:gd name="connsiteY30" fmla="*/ 373698 h 453480"/>
                  <a:gd name="connsiteX31" fmla="*/ 348091 w 482022"/>
                  <a:gd name="connsiteY31" fmla="*/ 179550 h 453480"/>
                  <a:gd name="connsiteX32" fmla="*/ 328126 w 482022"/>
                  <a:gd name="connsiteY32" fmla="*/ 254760 h 453480"/>
                  <a:gd name="connsiteX33" fmla="*/ 241011 w 482022"/>
                  <a:gd name="connsiteY33" fmla="*/ 319549 h 453480"/>
                  <a:gd name="connsiteX34" fmla="*/ 156610 w 482022"/>
                  <a:gd name="connsiteY34" fmla="*/ 259941 h 453480"/>
                  <a:gd name="connsiteX35" fmla="*/ 187414 w 482022"/>
                  <a:gd name="connsiteY35" fmla="*/ 263151 h 453480"/>
                  <a:gd name="connsiteX36" fmla="*/ 197824 w 482022"/>
                  <a:gd name="connsiteY36" fmla="*/ 262694 h 453480"/>
                  <a:gd name="connsiteX37" fmla="*/ 217713 w 482022"/>
                  <a:gd name="connsiteY37" fmla="*/ 270752 h 453480"/>
                  <a:gd name="connsiteX38" fmla="*/ 234400 w 482022"/>
                  <a:gd name="connsiteY38" fmla="*/ 247092 h 453480"/>
                  <a:gd name="connsiteX39" fmla="*/ 210731 w 482022"/>
                  <a:gd name="connsiteY39" fmla="*/ 230423 h 453480"/>
                  <a:gd name="connsiteX40" fmla="*/ 195491 w 482022"/>
                  <a:gd name="connsiteY40" fmla="*/ 242358 h 453480"/>
                  <a:gd name="connsiteX41" fmla="*/ 145847 w 482022"/>
                  <a:gd name="connsiteY41" fmla="*/ 235872 h 453480"/>
                  <a:gd name="connsiteX42" fmla="*/ 134264 w 482022"/>
                  <a:gd name="connsiteY42" fmla="*/ 183379 h 453480"/>
                  <a:gd name="connsiteX43" fmla="*/ 203073 w 482022"/>
                  <a:gd name="connsiteY43" fmla="*/ 166073 h 453480"/>
                  <a:gd name="connsiteX44" fmla="*/ 306648 w 482022"/>
                  <a:gd name="connsiteY44" fmla="*/ 109485 h 453480"/>
                  <a:gd name="connsiteX45" fmla="*/ 307495 w 482022"/>
                  <a:gd name="connsiteY45" fmla="*/ 108894 h 453480"/>
                  <a:gd name="connsiteX46" fmla="*/ 309981 w 482022"/>
                  <a:gd name="connsiteY46" fmla="*/ 112856 h 453480"/>
                  <a:gd name="connsiteX47" fmla="*/ 305495 w 482022"/>
                  <a:gd name="connsiteY47" fmla="*/ 158110 h 453480"/>
                  <a:gd name="connsiteX48" fmla="*/ 341947 w 482022"/>
                  <a:gd name="connsiteY48" fmla="*/ 162748 h 453480"/>
                  <a:gd name="connsiteX49" fmla="*/ 342614 w 482022"/>
                  <a:gd name="connsiteY49" fmla="*/ 162748 h 453480"/>
                  <a:gd name="connsiteX50" fmla="*/ 349282 w 482022"/>
                  <a:gd name="connsiteY50" fmla="*/ 163977 h 453480"/>
                  <a:gd name="connsiteX51" fmla="*/ 348091 w 482022"/>
                  <a:gd name="connsiteY5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6508 w 482022"/>
                  <a:gd name="connsiteY9" fmla="*/ 165368 h 453480"/>
                  <a:gd name="connsiteX10" fmla="*/ 379228 w 482022"/>
                  <a:gd name="connsiteY10" fmla="*/ 165368 h 453480"/>
                  <a:gd name="connsiteX11" fmla="*/ 80191 w 482022"/>
                  <a:gd name="connsiteY11" fmla="*/ 231052 h 453480"/>
                  <a:gd name="connsiteX12" fmla="*/ 91697 w 482022"/>
                  <a:gd name="connsiteY12" fmla="*/ 224385 h 453480"/>
                  <a:gd name="connsiteX13" fmla="*/ 108432 w 482022"/>
                  <a:gd name="connsiteY13" fmla="*/ 239501 h 453480"/>
                  <a:gd name="connsiteX14" fmla="*/ 57588 w 482022"/>
                  <a:gd name="connsiteY14" fmla="*/ 339294 h 453480"/>
                  <a:gd name="connsiteX15" fmla="*/ 92316 w 482022"/>
                  <a:gd name="connsiteY15" fmla="*/ 337904 h 453480"/>
                  <a:gd name="connsiteX16" fmla="*/ 0 w 482022"/>
                  <a:gd name="connsiteY16" fmla="*/ 453480 h 453480"/>
                  <a:gd name="connsiteX17" fmla="*/ 482022 w 482022"/>
                  <a:gd name="connsiteY17" fmla="*/ 453480 h 453480"/>
                  <a:gd name="connsiteX18" fmla="*/ 372542 w 482022"/>
                  <a:gd name="connsiteY18" fmla="*/ 331398 h 453480"/>
                  <a:gd name="connsiteX19" fmla="*/ 278320 w 482022"/>
                  <a:gd name="connsiteY19" fmla="*/ 373698 h 453480"/>
                  <a:gd name="connsiteX20" fmla="*/ 241011 w 482022"/>
                  <a:gd name="connsiteY20" fmla="*/ 434297 h 453480"/>
                  <a:gd name="connsiteX21" fmla="*/ 203720 w 482022"/>
                  <a:gd name="connsiteY21" fmla="*/ 373698 h 453480"/>
                  <a:gd name="connsiteX22" fmla="*/ 147237 w 482022"/>
                  <a:gd name="connsiteY22" fmla="*/ 339294 h 453480"/>
                  <a:gd name="connsiteX23" fmla="*/ 192424 w 482022"/>
                  <a:gd name="connsiteY23" fmla="*/ 353067 h 453480"/>
                  <a:gd name="connsiteX24" fmla="*/ 171878 w 482022"/>
                  <a:gd name="connsiteY24" fmla="*/ 307252 h 453480"/>
                  <a:gd name="connsiteX25" fmla="*/ 241001 w 482022"/>
                  <a:gd name="connsiteY25" fmla="*/ 338408 h 453480"/>
                  <a:gd name="connsiteX26" fmla="*/ 308781 w 482022"/>
                  <a:gd name="connsiteY26" fmla="*/ 308605 h 453480"/>
                  <a:gd name="connsiteX27" fmla="*/ 294465 w 482022"/>
                  <a:gd name="connsiteY27" fmla="*/ 338408 h 453480"/>
                  <a:gd name="connsiteX28" fmla="*/ 338471 w 482022"/>
                  <a:gd name="connsiteY28" fmla="*/ 328902 h 453480"/>
                  <a:gd name="connsiteX29" fmla="*/ 278320 w 482022"/>
                  <a:gd name="connsiteY29" fmla="*/ 373698 h 453480"/>
                  <a:gd name="connsiteX30" fmla="*/ 348091 w 482022"/>
                  <a:gd name="connsiteY30" fmla="*/ 179550 h 453480"/>
                  <a:gd name="connsiteX31" fmla="*/ 328126 w 482022"/>
                  <a:gd name="connsiteY31" fmla="*/ 254760 h 453480"/>
                  <a:gd name="connsiteX32" fmla="*/ 241011 w 482022"/>
                  <a:gd name="connsiteY32" fmla="*/ 319549 h 453480"/>
                  <a:gd name="connsiteX33" fmla="*/ 156610 w 482022"/>
                  <a:gd name="connsiteY33" fmla="*/ 259941 h 453480"/>
                  <a:gd name="connsiteX34" fmla="*/ 187414 w 482022"/>
                  <a:gd name="connsiteY34" fmla="*/ 263151 h 453480"/>
                  <a:gd name="connsiteX35" fmla="*/ 197824 w 482022"/>
                  <a:gd name="connsiteY35" fmla="*/ 262694 h 453480"/>
                  <a:gd name="connsiteX36" fmla="*/ 217713 w 482022"/>
                  <a:gd name="connsiteY36" fmla="*/ 270752 h 453480"/>
                  <a:gd name="connsiteX37" fmla="*/ 234400 w 482022"/>
                  <a:gd name="connsiteY37" fmla="*/ 247092 h 453480"/>
                  <a:gd name="connsiteX38" fmla="*/ 210731 w 482022"/>
                  <a:gd name="connsiteY38" fmla="*/ 230423 h 453480"/>
                  <a:gd name="connsiteX39" fmla="*/ 195491 w 482022"/>
                  <a:gd name="connsiteY39" fmla="*/ 242358 h 453480"/>
                  <a:gd name="connsiteX40" fmla="*/ 145847 w 482022"/>
                  <a:gd name="connsiteY40" fmla="*/ 235872 h 453480"/>
                  <a:gd name="connsiteX41" fmla="*/ 134264 w 482022"/>
                  <a:gd name="connsiteY41" fmla="*/ 183379 h 453480"/>
                  <a:gd name="connsiteX42" fmla="*/ 203073 w 482022"/>
                  <a:gd name="connsiteY42" fmla="*/ 166073 h 453480"/>
                  <a:gd name="connsiteX43" fmla="*/ 306648 w 482022"/>
                  <a:gd name="connsiteY43" fmla="*/ 109485 h 453480"/>
                  <a:gd name="connsiteX44" fmla="*/ 307495 w 482022"/>
                  <a:gd name="connsiteY44" fmla="*/ 108894 h 453480"/>
                  <a:gd name="connsiteX45" fmla="*/ 309981 w 482022"/>
                  <a:gd name="connsiteY45" fmla="*/ 112856 h 453480"/>
                  <a:gd name="connsiteX46" fmla="*/ 305495 w 482022"/>
                  <a:gd name="connsiteY46" fmla="*/ 158110 h 453480"/>
                  <a:gd name="connsiteX47" fmla="*/ 341947 w 482022"/>
                  <a:gd name="connsiteY47" fmla="*/ 162748 h 453480"/>
                  <a:gd name="connsiteX48" fmla="*/ 342614 w 482022"/>
                  <a:gd name="connsiteY48" fmla="*/ 162748 h 453480"/>
                  <a:gd name="connsiteX49" fmla="*/ 349282 w 482022"/>
                  <a:gd name="connsiteY49" fmla="*/ 163977 h 453480"/>
                  <a:gd name="connsiteX50" fmla="*/ 348091 w 482022"/>
                  <a:gd name="connsiteY5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379228 w 482022"/>
                  <a:gd name="connsiteY9" fmla="*/ 165368 h 453480"/>
                  <a:gd name="connsiteX10" fmla="*/ 80191 w 482022"/>
                  <a:gd name="connsiteY10" fmla="*/ 231052 h 453480"/>
                  <a:gd name="connsiteX11" fmla="*/ 91697 w 482022"/>
                  <a:gd name="connsiteY11" fmla="*/ 224385 h 453480"/>
                  <a:gd name="connsiteX12" fmla="*/ 108432 w 482022"/>
                  <a:gd name="connsiteY12" fmla="*/ 239501 h 453480"/>
                  <a:gd name="connsiteX13" fmla="*/ 57588 w 482022"/>
                  <a:gd name="connsiteY13" fmla="*/ 339294 h 453480"/>
                  <a:gd name="connsiteX14" fmla="*/ 92316 w 482022"/>
                  <a:gd name="connsiteY14" fmla="*/ 337904 h 453480"/>
                  <a:gd name="connsiteX15" fmla="*/ 0 w 482022"/>
                  <a:gd name="connsiteY15" fmla="*/ 453480 h 453480"/>
                  <a:gd name="connsiteX16" fmla="*/ 482022 w 482022"/>
                  <a:gd name="connsiteY16" fmla="*/ 453480 h 453480"/>
                  <a:gd name="connsiteX17" fmla="*/ 372542 w 482022"/>
                  <a:gd name="connsiteY17" fmla="*/ 331398 h 453480"/>
                  <a:gd name="connsiteX18" fmla="*/ 278320 w 482022"/>
                  <a:gd name="connsiteY18" fmla="*/ 373698 h 453480"/>
                  <a:gd name="connsiteX19" fmla="*/ 241011 w 482022"/>
                  <a:gd name="connsiteY19" fmla="*/ 434297 h 453480"/>
                  <a:gd name="connsiteX20" fmla="*/ 203720 w 482022"/>
                  <a:gd name="connsiteY20" fmla="*/ 373698 h 453480"/>
                  <a:gd name="connsiteX21" fmla="*/ 147237 w 482022"/>
                  <a:gd name="connsiteY21" fmla="*/ 339294 h 453480"/>
                  <a:gd name="connsiteX22" fmla="*/ 192424 w 482022"/>
                  <a:gd name="connsiteY22" fmla="*/ 353067 h 453480"/>
                  <a:gd name="connsiteX23" fmla="*/ 171878 w 482022"/>
                  <a:gd name="connsiteY23" fmla="*/ 307252 h 453480"/>
                  <a:gd name="connsiteX24" fmla="*/ 241001 w 482022"/>
                  <a:gd name="connsiteY24" fmla="*/ 338408 h 453480"/>
                  <a:gd name="connsiteX25" fmla="*/ 308781 w 482022"/>
                  <a:gd name="connsiteY25" fmla="*/ 308605 h 453480"/>
                  <a:gd name="connsiteX26" fmla="*/ 294465 w 482022"/>
                  <a:gd name="connsiteY26" fmla="*/ 338408 h 453480"/>
                  <a:gd name="connsiteX27" fmla="*/ 338471 w 482022"/>
                  <a:gd name="connsiteY27" fmla="*/ 328902 h 453480"/>
                  <a:gd name="connsiteX28" fmla="*/ 278320 w 482022"/>
                  <a:gd name="connsiteY28" fmla="*/ 373698 h 453480"/>
                  <a:gd name="connsiteX29" fmla="*/ 348091 w 482022"/>
                  <a:gd name="connsiteY29" fmla="*/ 179550 h 453480"/>
                  <a:gd name="connsiteX30" fmla="*/ 328126 w 482022"/>
                  <a:gd name="connsiteY30" fmla="*/ 254760 h 453480"/>
                  <a:gd name="connsiteX31" fmla="*/ 241011 w 482022"/>
                  <a:gd name="connsiteY31" fmla="*/ 319549 h 453480"/>
                  <a:gd name="connsiteX32" fmla="*/ 156610 w 482022"/>
                  <a:gd name="connsiteY32" fmla="*/ 259941 h 453480"/>
                  <a:gd name="connsiteX33" fmla="*/ 187414 w 482022"/>
                  <a:gd name="connsiteY33" fmla="*/ 263151 h 453480"/>
                  <a:gd name="connsiteX34" fmla="*/ 197824 w 482022"/>
                  <a:gd name="connsiteY34" fmla="*/ 262694 h 453480"/>
                  <a:gd name="connsiteX35" fmla="*/ 217713 w 482022"/>
                  <a:gd name="connsiteY35" fmla="*/ 270752 h 453480"/>
                  <a:gd name="connsiteX36" fmla="*/ 234400 w 482022"/>
                  <a:gd name="connsiteY36" fmla="*/ 247092 h 453480"/>
                  <a:gd name="connsiteX37" fmla="*/ 210731 w 482022"/>
                  <a:gd name="connsiteY37" fmla="*/ 230423 h 453480"/>
                  <a:gd name="connsiteX38" fmla="*/ 195491 w 482022"/>
                  <a:gd name="connsiteY38" fmla="*/ 242358 h 453480"/>
                  <a:gd name="connsiteX39" fmla="*/ 145847 w 482022"/>
                  <a:gd name="connsiteY39" fmla="*/ 235872 h 453480"/>
                  <a:gd name="connsiteX40" fmla="*/ 134264 w 482022"/>
                  <a:gd name="connsiteY40" fmla="*/ 183379 h 453480"/>
                  <a:gd name="connsiteX41" fmla="*/ 203073 w 482022"/>
                  <a:gd name="connsiteY41" fmla="*/ 166073 h 453480"/>
                  <a:gd name="connsiteX42" fmla="*/ 306648 w 482022"/>
                  <a:gd name="connsiteY42" fmla="*/ 109485 h 453480"/>
                  <a:gd name="connsiteX43" fmla="*/ 307495 w 482022"/>
                  <a:gd name="connsiteY43" fmla="*/ 108894 h 453480"/>
                  <a:gd name="connsiteX44" fmla="*/ 309981 w 482022"/>
                  <a:gd name="connsiteY44" fmla="*/ 112856 h 453480"/>
                  <a:gd name="connsiteX45" fmla="*/ 305495 w 482022"/>
                  <a:gd name="connsiteY45" fmla="*/ 158110 h 453480"/>
                  <a:gd name="connsiteX46" fmla="*/ 341947 w 482022"/>
                  <a:gd name="connsiteY46" fmla="*/ 162748 h 453480"/>
                  <a:gd name="connsiteX47" fmla="*/ 342614 w 482022"/>
                  <a:gd name="connsiteY47" fmla="*/ 162748 h 453480"/>
                  <a:gd name="connsiteX48" fmla="*/ 349282 w 482022"/>
                  <a:gd name="connsiteY48" fmla="*/ 163977 h 453480"/>
                  <a:gd name="connsiteX49" fmla="*/ 348091 w 482022"/>
                  <a:gd name="connsiteY49"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34400 w 482022"/>
                  <a:gd name="connsiteY35" fmla="*/ 247092 h 453480"/>
                  <a:gd name="connsiteX36" fmla="*/ 210731 w 482022"/>
                  <a:gd name="connsiteY36" fmla="*/ 230423 h 453480"/>
                  <a:gd name="connsiteX37" fmla="*/ 195491 w 482022"/>
                  <a:gd name="connsiteY37" fmla="*/ 242358 h 453480"/>
                  <a:gd name="connsiteX38" fmla="*/ 145847 w 482022"/>
                  <a:gd name="connsiteY38" fmla="*/ 235872 h 453480"/>
                  <a:gd name="connsiteX39" fmla="*/ 134264 w 482022"/>
                  <a:gd name="connsiteY39" fmla="*/ 183379 h 453480"/>
                  <a:gd name="connsiteX40" fmla="*/ 203073 w 482022"/>
                  <a:gd name="connsiteY40" fmla="*/ 166073 h 453480"/>
                  <a:gd name="connsiteX41" fmla="*/ 306648 w 482022"/>
                  <a:gd name="connsiteY41" fmla="*/ 109485 h 453480"/>
                  <a:gd name="connsiteX42" fmla="*/ 307495 w 482022"/>
                  <a:gd name="connsiteY42" fmla="*/ 108894 h 453480"/>
                  <a:gd name="connsiteX43" fmla="*/ 309981 w 482022"/>
                  <a:gd name="connsiteY43" fmla="*/ 112856 h 453480"/>
                  <a:gd name="connsiteX44" fmla="*/ 305495 w 482022"/>
                  <a:gd name="connsiteY44" fmla="*/ 158110 h 453480"/>
                  <a:gd name="connsiteX45" fmla="*/ 341947 w 482022"/>
                  <a:gd name="connsiteY45" fmla="*/ 162748 h 453480"/>
                  <a:gd name="connsiteX46" fmla="*/ 342614 w 482022"/>
                  <a:gd name="connsiteY46" fmla="*/ 162748 h 453480"/>
                  <a:gd name="connsiteX47" fmla="*/ 349282 w 482022"/>
                  <a:gd name="connsiteY47" fmla="*/ 163977 h 453480"/>
                  <a:gd name="connsiteX48" fmla="*/ 348091 w 482022"/>
                  <a:gd name="connsiteY48"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210731 w 482022"/>
                  <a:gd name="connsiteY35" fmla="*/ 230423 h 453480"/>
                  <a:gd name="connsiteX36" fmla="*/ 195491 w 482022"/>
                  <a:gd name="connsiteY36" fmla="*/ 242358 h 453480"/>
                  <a:gd name="connsiteX37" fmla="*/ 145847 w 482022"/>
                  <a:gd name="connsiteY37" fmla="*/ 235872 h 453480"/>
                  <a:gd name="connsiteX38" fmla="*/ 134264 w 482022"/>
                  <a:gd name="connsiteY38" fmla="*/ 183379 h 453480"/>
                  <a:gd name="connsiteX39" fmla="*/ 203073 w 482022"/>
                  <a:gd name="connsiteY39" fmla="*/ 166073 h 453480"/>
                  <a:gd name="connsiteX40" fmla="*/ 306648 w 482022"/>
                  <a:gd name="connsiteY40" fmla="*/ 109485 h 453480"/>
                  <a:gd name="connsiteX41" fmla="*/ 307495 w 482022"/>
                  <a:gd name="connsiteY41" fmla="*/ 108894 h 453480"/>
                  <a:gd name="connsiteX42" fmla="*/ 309981 w 482022"/>
                  <a:gd name="connsiteY42" fmla="*/ 112856 h 453480"/>
                  <a:gd name="connsiteX43" fmla="*/ 305495 w 482022"/>
                  <a:gd name="connsiteY43" fmla="*/ 158110 h 453480"/>
                  <a:gd name="connsiteX44" fmla="*/ 341947 w 482022"/>
                  <a:gd name="connsiteY44" fmla="*/ 162748 h 453480"/>
                  <a:gd name="connsiteX45" fmla="*/ 342614 w 482022"/>
                  <a:gd name="connsiteY45" fmla="*/ 162748 h 453480"/>
                  <a:gd name="connsiteX46" fmla="*/ 349282 w 482022"/>
                  <a:gd name="connsiteY46" fmla="*/ 163977 h 453480"/>
                  <a:gd name="connsiteX47" fmla="*/ 348091 w 482022"/>
                  <a:gd name="connsiteY47"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217713 w 482022"/>
                  <a:gd name="connsiteY34" fmla="*/ 270752 h 453480"/>
                  <a:gd name="connsiteX35" fmla="*/ 195491 w 482022"/>
                  <a:gd name="connsiteY35" fmla="*/ 242358 h 453480"/>
                  <a:gd name="connsiteX36" fmla="*/ 145847 w 482022"/>
                  <a:gd name="connsiteY36" fmla="*/ 235872 h 453480"/>
                  <a:gd name="connsiteX37" fmla="*/ 134264 w 482022"/>
                  <a:gd name="connsiteY37" fmla="*/ 183379 h 453480"/>
                  <a:gd name="connsiteX38" fmla="*/ 203073 w 482022"/>
                  <a:gd name="connsiteY38" fmla="*/ 166073 h 453480"/>
                  <a:gd name="connsiteX39" fmla="*/ 306648 w 482022"/>
                  <a:gd name="connsiteY39" fmla="*/ 109485 h 453480"/>
                  <a:gd name="connsiteX40" fmla="*/ 307495 w 482022"/>
                  <a:gd name="connsiteY40" fmla="*/ 108894 h 453480"/>
                  <a:gd name="connsiteX41" fmla="*/ 309981 w 482022"/>
                  <a:gd name="connsiteY41" fmla="*/ 112856 h 453480"/>
                  <a:gd name="connsiteX42" fmla="*/ 305495 w 482022"/>
                  <a:gd name="connsiteY42" fmla="*/ 158110 h 453480"/>
                  <a:gd name="connsiteX43" fmla="*/ 341947 w 482022"/>
                  <a:gd name="connsiteY43" fmla="*/ 162748 h 453480"/>
                  <a:gd name="connsiteX44" fmla="*/ 342614 w 482022"/>
                  <a:gd name="connsiteY44" fmla="*/ 162748 h 453480"/>
                  <a:gd name="connsiteX45" fmla="*/ 349282 w 482022"/>
                  <a:gd name="connsiteY45" fmla="*/ 163977 h 453480"/>
                  <a:gd name="connsiteX46" fmla="*/ 348091 w 482022"/>
                  <a:gd name="connsiteY46"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7824 w 482022"/>
                  <a:gd name="connsiteY33" fmla="*/ 262694 h 453480"/>
                  <a:gd name="connsiteX34" fmla="*/ 195491 w 482022"/>
                  <a:gd name="connsiteY34" fmla="*/ 242358 h 453480"/>
                  <a:gd name="connsiteX35" fmla="*/ 145847 w 482022"/>
                  <a:gd name="connsiteY35" fmla="*/ 235872 h 453480"/>
                  <a:gd name="connsiteX36" fmla="*/ 134264 w 482022"/>
                  <a:gd name="connsiteY36" fmla="*/ 183379 h 453480"/>
                  <a:gd name="connsiteX37" fmla="*/ 203073 w 482022"/>
                  <a:gd name="connsiteY37" fmla="*/ 166073 h 453480"/>
                  <a:gd name="connsiteX38" fmla="*/ 306648 w 482022"/>
                  <a:gd name="connsiteY38" fmla="*/ 109485 h 453480"/>
                  <a:gd name="connsiteX39" fmla="*/ 307495 w 482022"/>
                  <a:gd name="connsiteY39" fmla="*/ 108894 h 453480"/>
                  <a:gd name="connsiteX40" fmla="*/ 309981 w 482022"/>
                  <a:gd name="connsiteY40" fmla="*/ 112856 h 453480"/>
                  <a:gd name="connsiteX41" fmla="*/ 305495 w 482022"/>
                  <a:gd name="connsiteY41" fmla="*/ 158110 h 453480"/>
                  <a:gd name="connsiteX42" fmla="*/ 341947 w 482022"/>
                  <a:gd name="connsiteY42" fmla="*/ 162748 h 453480"/>
                  <a:gd name="connsiteX43" fmla="*/ 342614 w 482022"/>
                  <a:gd name="connsiteY43" fmla="*/ 162748 h 453480"/>
                  <a:gd name="connsiteX44" fmla="*/ 349282 w 482022"/>
                  <a:gd name="connsiteY44" fmla="*/ 163977 h 453480"/>
                  <a:gd name="connsiteX45" fmla="*/ 348091 w 482022"/>
                  <a:gd name="connsiteY45"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95491 w 482022"/>
                  <a:gd name="connsiteY33" fmla="*/ 242358 h 453480"/>
                  <a:gd name="connsiteX34" fmla="*/ 145847 w 482022"/>
                  <a:gd name="connsiteY34" fmla="*/ 235872 h 453480"/>
                  <a:gd name="connsiteX35" fmla="*/ 134264 w 482022"/>
                  <a:gd name="connsiteY35" fmla="*/ 183379 h 453480"/>
                  <a:gd name="connsiteX36" fmla="*/ 203073 w 482022"/>
                  <a:gd name="connsiteY36" fmla="*/ 166073 h 453480"/>
                  <a:gd name="connsiteX37" fmla="*/ 306648 w 482022"/>
                  <a:gd name="connsiteY37" fmla="*/ 109485 h 453480"/>
                  <a:gd name="connsiteX38" fmla="*/ 307495 w 482022"/>
                  <a:gd name="connsiteY38" fmla="*/ 108894 h 453480"/>
                  <a:gd name="connsiteX39" fmla="*/ 309981 w 482022"/>
                  <a:gd name="connsiteY39" fmla="*/ 112856 h 453480"/>
                  <a:gd name="connsiteX40" fmla="*/ 305495 w 482022"/>
                  <a:gd name="connsiteY40" fmla="*/ 158110 h 453480"/>
                  <a:gd name="connsiteX41" fmla="*/ 341947 w 482022"/>
                  <a:gd name="connsiteY41" fmla="*/ 162748 h 453480"/>
                  <a:gd name="connsiteX42" fmla="*/ 342614 w 482022"/>
                  <a:gd name="connsiteY42" fmla="*/ 162748 h 453480"/>
                  <a:gd name="connsiteX43" fmla="*/ 349282 w 482022"/>
                  <a:gd name="connsiteY43" fmla="*/ 163977 h 453480"/>
                  <a:gd name="connsiteX44" fmla="*/ 348091 w 482022"/>
                  <a:gd name="connsiteY44"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87414 w 482022"/>
                  <a:gd name="connsiteY32" fmla="*/ 263151 h 453480"/>
                  <a:gd name="connsiteX33" fmla="*/ 145847 w 482022"/>
                  <a:gd name="connsiteY33" fmla="*/ 235872 h 453480"/>
                  <a:gd name="connsiteX34" fmla="*/ 134264 w 482022"/>
                  <a:gd name="connsiteY34" fmla="*/ 183379 h 453480"/>
                  <a:gd name="connsiteX35" fmla="*/ 203073 w 482022"/>
                  <a:gd name="connsiteY35" fmla="*/ 166073 h 453480"/>
                  <a:gd name="connsiteX36" fmla="*/ 306648 w 482022"/>
                  <a:gd name="connsiteY36" fmla="*/ 109485 h 453480"/>
                  <a:gd name="connsiteX37" fmla="*/ 307495 w 482022"/>
                  <a:gd name="connsiteY37" fmla="*/ 108894 h 453480"/>
                  <a:gd name="connsiteX38" fmla="*/ 309981 w 482022"/>
                  <a:gd name="connsiteY38" fmla="*/ 112856 h 453480"/>
                  <a:gd name="connsiteX39" fmla="*/ 305495 w 482022"/>
                  <a:gd name="connsiteY39" fmla="*/ 158110 h 453480"/>
                  <a:gd name="connsiteX40" fmla="*/ 341947 w 482022"/>
                  <a:gd name="connsiteY40" fmla="*/ 162748 h 453480"/>
                  <a:gd name="connsiteX41" fmla="*/ 342614 w 482022"/>
                  <a:gd name="connsiteY41" fmla="*/ 162748 h 453480"/>
                  <a:gd name="connsiteX42" fmla="*/ 349282 w 482022"/>
                  <a:gd name="connsiteY42" fmla="*/ 163977 h 453480"/>
                  <a:gd name="connsiteX43" fmla="*/ 348091 w 482022"/>
                  <a:gd name="connsiteY43"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80191 w 482022"/>
                  <a:gd name="connsiteY9" fmla="*/ 231052 h 453480"/>
                  <a:gd name="connsiteX10" fmla="*/ 91697 w 482022"/>
                  <a:gd name="connsiteY10" fmla="*/ 224385 h 453480"/>
                  <a:gd name="connsiteX11" fmla="*/ 108432 w 482022"/>
                  <a:gd name="connsiteY11" fmla="*/ 239501 h 453480"/>
                  <a:gd name="connsiteX12" fmla="*/ 57588 w 482022"/>
                  <a:gd name="connsiteY12" fmla="*/ 339294 h 453480"/>
                  <a:gd name="connsiteX13" fmla="*/ 92316 w 482022"/>
                  <a:gd name="connsiteY13" fmla="*/ 337904 h 453480"/>
                  <a:gd name="connsiteX14" fmla="*/ 0 w 482022"/>
                  <a:gd name="connsiteY14" fmla="*/ 453480 h 453480"/>
                  <a:gd name="connsiteX15" fmla="*/ 482022 w 482022"/>
                  <a:gd name="connsiteY15" fmla="*/ 453480 h 453480"/>
                  <a:gd name="connsiteX16" fmla="*/ 372542 w 482022"/>
                  <a:gd name="connsiteY16" fmla="*/ 331398 h 453480"/>
                  <a:gd name="connsiteX17" fmla="*/ 278320 w 482022"/>
                  <a:gd name="connsiteY17" fmla="*/ 373698 h 453480"/>
                  <a:gd name="connsiteX18" fmla="*/ 241011 w 482022"/>
                  <a:gd name="connsiteY18" fmla="*/ 434297 h 453480"/>
                  <a:gd name="connsiteX19" fmla="*/ 203720 w 482022"/>
                  <a:gd name="connsiteY19" fmla="*/ 373698 h 453480"/>
                  <a:gd name="connsiteX20" fmla="*/ 147237 w 482022"/>
                  <a:gd name="connsiteY20" fmla="*/ 339294 h 453480"/>
                  <a:gd name="connsiteX21" fmla="*/ 192424 w 482022"/>
                  <a:gd name="connsiteY21" fmla="*/ 353067 h 453480"/>
                  <a:gd name="connsiteX22" fmla="*/ 171878 w 482022"/>
                  <a:gd name="connsiteY22" fmla="*/ 307252 h 453480"/>
                  <a:gd name="connsiteX23" fmla="*/ 241001 w 482022"/>
                  <a:gd name="connsiteY23" fmla="*/ 338408 h 453480"/>
                  <a:gd name="connsiteX24" fmla="*/ 308781 w 482022"/>
                  <a:gd name="connsiteY24" fmla="*/ 308605 h 453480"/>
                  <a:gd name="connsiteX25" fmla="*/ 294465 w 482022"/>
                  <a:gd name="connsiteY25" fmla="*/ 338408 h 453480"/>
                  <a:gd name="connsiteX26" fmla="*/ 338471 w 482022"/>
                  <a:gd name="connsiteY26" fmla="*/ 328902 h 453480"/>
                  <a:gd name="connsiteX27" fmla="*/ 278320 w 482022"/>
                  <a:gd name="connsiteY27" fmla="*/ 373698 h 453480"/>
                  <a:gd name="connsiteX28" fmla="*/ 348091 w 482022"/>
                  <a:gd name="connsiteY28" fmla="*/ 179550 h 453480"/>
                  <a:gd name="connsiteX29" fmla="*/ 328126 w 482022"/>
                  <a:gd name="connsiteY29" fmla="*/ 254760 h 453480"/>
                  <a:gd name="connsiteX30" fmla="*/ 241011 w 482022"/>
                  <a:gd name="connsiteY30" fmla="*/ 319549 h 453480"/>
                  <a:gd name="connsiteX31" fmla="*/ 156610 w 482022"/>
                  <a:gd name="connsiteY31" fmla="*/ 259941 h 453480"/>
                  <a:gd name="connsiteX32" fmla="*/ 145847 w 482022"/>
                  <a:gd name="connsiteY32" fmla="*/ 235872 h 453480"/>
                  <a:gd name="connsiteX33" fmla="*/ 134264 w 482022"/>
                  <a:gd name="connsiteY33" fmla="*/ 183379 h 453480"/>
                  <a:gd name="connsiteX34" fmla="*/ 203073 w 482022"/>
                  <a:gd name="connsiteY34" fmla="*/ 166073 h 453480"/>
                  <a:gd name="connsiteX35" fmla="*/ 306648 w 482022"/>
                  <a:gd name="connsiteY35" fmla="*/ 109485 h 453480"/>
                  <a:gd name="connsiteX36" fmla="*/ 307495 w 482022"/>
                  <a:gd name="connsiteY36" fmla="*/ 108894 h 453480"/>
                  <a:gd name="connsiteX37" fmla="*/ 309981 w 482022"/>
                  <a:gd name="connsiteY37" fmla="*/ 112856 h 453480"/>
                  <a:gd name="connsiteX38" fmla="*/ 305495 w 482022"/>
                  <a:gd name="connsiteY38" fmla="*/ 158110 h 453480"/>
                  <a:gd name="connsiteX39" fmla="*/ 341947 w 482022"/>
                  <a:gd name="connsiteY39" fmla="*/ 162748 h 453480"/>
                  <a:gd name="connsiteX40" fmla="*/ 342614 w 482022"/>
                  <a:gd name="connsiteY40" fmla="*/ 162748 h 453480"/>
                  <a:gd name="connsiteX41" fmla="*/ 349282 w 482022"/>
                  <a:gd name="connsiteY41" fmla="*/ 163977 h 453480"/>
                  <a:gd name="connsiteX42" fmla="*/ 348091 w 482022"/>
                  <a:gd name="connsiteY42"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91697 w 482022"/>
                  <a:gd name="connsiteY9" fmla="*/ 224385 h 453480"/>
                  <a:gd name="connsiteX10" fmla="*/ 108432 w 482022"/>
                  <a:gd name="connsiteY10" fmla="*/ 239501 h 453480"/>
                  <a:gd name="connsiteX11" fmla="*/ 57588 w 482022"/>
                  <a:gd name="connsiteY11" fmla="*/ 339294 h 453480"/>
                  <a:gd name="connsiteX12" fmla="*/ 92316 w 482022"/>
                  <a:gd name="connsiteY12" fmla="*/ 337904 h 453480"/>
                  <a:gd name="connsiteX13" fmla="*/ 0 w 482022"/>
                  <a:gd name="connsiteY13" fmla="*/ 453480 h 453480"/>
                  <a:gd name="connsiteX14" fmla="*/ 482022 w 482022"/>
                  <a:gd name="connsiteY14" fmla="*/ 453480 h 453480"/>
                  <a:gd name="connsiteX15" fmla="*/ 372542 w 482022"/>
                  <a:gd name="connsiteY15" fmla="*/ 331398 h 453480"/>
                  <a:gd name="connsiteX16" fmla="*/ 278320 w 482022"/>
                  <a:gd name="connsiteY16" fmla="*/ 373698 h 453480"/>
                  <a:gd name="connsiteX17" fmla="*/ 241011 w 482022"/>
                  <a:gd name="connsiteY17" fmla="*/ 434297 h 453480"/>
                  <a:gd name="connsiteX18" fmla="*/ 203720 w 482022"/>
                  <a:gd name="connsiteY18" fmla="*/ 373698 h 453480"/>
                  <a:gd name="connsiteX19" fmla="*/ 147237 w 482022"/>
                  <a:gd name="connsiteY19" fmla="*/ 339294 h 453480"/>
                  <a:gd name="connsiteX20" fmla="*/ 192424 w 482022"/>
                  <a:gd name="connsiteY20" fmla="*/ 353067 h 453480"/>
                  <a:gd name="connsiteX21" fmla="*/ 171878 w 482022"/>
                  <a:gd name="connsiteY21" fmla="*/ 307252 h 453480"/>
                  <a:gd name="connsiteX22" fmla="*/ 241001 w 482022"/>
                  <a:gd name="connsiteY22" fmla="*/ 338408 h 453480"/>
                  <a:gd name="connsiteX23" fmla="*/ 308781 w 482022"/>
                  <a:gd name="connsiteY23" fmla="*/ 308605 h 453480"/>
                  <a:gd name="connsiteX24" fmla="*/ 294465 w 482022"/>
                  <a:gd name="connsiteY24" fmla="*/ 338408 h 453480"/>
                  <a:gd name="connsiteX25" fmla="*/ 338471 w 482022"/>
                  <a:gd name="connsiteY25" fmla="*/ 328902 h 453480"/>
                  <a:gd name="connsiteX26" fmla="*/ 278320 w 482022"/>
                  <a:gd name="connsiteY26" fmla="*/ 373698 h 453480"/>
                  <a:gd name="connsiteX27" fmla="*/ 348091 w 482022"/>
                  <a:gd name="connsiteY27" fmla="*/ 179550 h 453480"/>
                  <a:gd name="connsiteX28" fmla="*/ 328126 w 482022"/>
                  <a:gd name="connsiteY28" fmla="*/ 254760 h 453480"/>
                  <a:gd name="connsiteX29" fmla="*/ 241011 w 482022"/>
                  <a:gd name="connsiteY29" fmla="*/ 319549 h 453480"/>
                  <a:gd name="connsiteX30" fmla="*/ 156610 w 482022"/>
                  <a:gd name="connsiteY30" fmla="*/ 259941 h 453480"/>
                  <a:gd name="connsiteX31" fmla="*/ 145847 w 482022"/>
                  <a:gd name="connsiteY31" fmla="*/ 235872 h 453480"/>
                  <a:gd name="connsiteX32" fmla="*/ 134264 w 482022"/>
                  <a:gd name="connsiteY32" fmla="*/ 183379 h 453480"/>
                  <a:gd name="connsiteX33" fmla="*/ 203073 w 482022"/>
                  <a:gd name="connsiteY33" fmla="*/ 166073 h 453480"/>
                  <a:gd name="connsiteX34" fmla="*/ 306648 w 482022"/>
                  <a:gd name="connsiteY34" fmla="*/ 109485 h 453480"/>
                  <a:gd name="connsiteX35" fmla="*/ 307495 w 482022"/>
                  <a:gd name="connsiteY35" fmla="*/ 108894 h 453480"/>
                  <a:gd name="connsiteX36" fmla="*/ 309981 w 482022"/>
                  <a:gd name="connsiteY36" fmla="*/ 112856 h 453480"/>
                  <a:gd name="connsiteX37" fmla="*/ 305495 w 482022"/>
                  <a:gd name="connsiteY37" fmla="*/ 158110 h 453480"/>
                  <a:gd name="connsiteX38" fmla="*/ 341947 w 482022"/>
                  <a:gd name="connsiteY38" fmla="*/ 162748 h 453480"/>
                  <a:gd name="connsiteX39" fmla="*/ 342614 w 482022"/>
                  <a:gd name="connsiteY39" fmla="*/ 162748 h 453480"/>
                  <a:gd name="connsiteX40" fmla="*/ 349282 w 482022"/>
                  <a:gd name="connsiteY40" fmla="*/ 163977 h 453480"/>
                  <a:gd name="connsiteX41" fmla="*/ 348091 w 482022"/>
                  <a:gd name="connsiteY41"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1546 w 482022"/>
                  <a:gd name="connsiteY8" fmla="*/ 203630 h 453480"/>
                  <a:gd name="connsiteX9" fmla="*/ 108432 w 482022"/>
                  <a:gd name="connsiteY9" fmla="*/ 239501 h 453480"/>
                  <a:gd name="connsiteX10" fmla="*/ 57588 w 482022"/>
                  <a:gd name="connsiteY10" fmla="*/ 339294 h 453480"/>
                  <a:gd name="connsiteX11" fmla="*/ 92316 w 482022"/>
                  <a:gd name="connsiteY11" fmla="*/ 337904 h 453480"/>
                  <a:gd name="connsiteX12" fmla="*/ 0 w 482022"/>
                  <a:gd name="connsiteY12" fmla="*/ 453480 h 453480"/>
                  <a:gd name="connsiteX13" fmla="*/ 482022 w 482022"/>
                  <a:gd name="connsiteY13" fmla="*/ 453480 h 453480"/>
                  <a:gd name="connsiteX14" fmla="*/ 372542 w 482022"/>
                  <a:gd name="connsiteY14" fmla="*/ 331398 h 453480"/>
                  <a:gd name="connsiteX15" fmla="*/ 278320 w 482022"/>
                  <a:gd name="connsiteY15" fmla="*/ 373698 h 453480"/>
                  <a:gd name="connsiteX16" fmla="*/ 241011 w 482022"/>
                  <a:gd name="connsiteY16" fmla="*/ 434297 h 453480"/>
                  <a:gd name="connsiteX17" fmla="*/ 203720 w 482022"/>
                  <a:gd name="connsiteY17" fmla="*/ 373698 h 453480"/>
                  <a:gd name="connsiteX18" fmla="*/ 147237 w 482022"/>
                  <a:gd name="connsiteY18" fmla="*/ 339294 h 453480"/>
                  <a:gd name="connsiteX19" fmla="*/ 192424 w 482022"/>
                  <a:gd name="connsiteY19" fmla="*/ 353067 h 453480"/>
                  <a:gd name="connsiteX20" fmla="*/ 171878 w 482022"/>
                  <a:gd name="connsiteY20" fmla="*/ 307252 h 453480"/>
                  <a:gd name="connsiteX21" fmla="*/ 241001 w 482022"/>
                  <a:gd name="connsiteY21" fmla="*/ 338408 h 453480"/>
                  <a:gd name="connsiteX22" fmla="*/ 308781 w 482022"/>
                  <a:gd name="connsiteY22" fmla="*/ 308605 h 453480"/>
                  <a:gd name="connsiteX23" fmla="*/ 294465 w 482022"/>
                  <a:gd name="connsiteY23" fmla="*/ 338408 h 453480"/>
                  <a:gd name="connsiteX24" fmla="*/ 338471 w 482022"/>
                  <a:gd name="connsiteY24" fmla="*/ 328902 h 453480"/>
                  <a:gd name="connsiteX25" fmla="*/ 278320 w 482022"/>
                  <a:gd name="connsiteY25" fmla="*/ 373698 h 453480"/>
                  <a:gd name="connsiteX26" fmla="*/ 348091 w 482022"/>
                  <a:gd name="connsiteY26" fmla="*/ 179550 h 453480"/>
                  <a:gd name="connsiteX27" fmla="*/ 328126 w 482022"/>
                  <a:gd name="connsiteY27" fmla="*/ 254760 h 453480"/>
                  <a:gd name="connsiteX28" fmla="*/ 241011 w 482022"/>
                  <a:gd name="connsiteY28" fmla="*/ 319549 h 453480"/>
                  <a:gd name="connsiteX29" fmla="*/ 156610 w 482022"/>
                  <a:gd name="connsiteY29" fmla="*/ 259941 h 453480"/>
                  <a:gd name="connsiteX30" fmla="*/ 145847 w 482022"/>
                  <a:gd name="connsiteY30" fmla="*/ 235872 h 453480"/>
                  <a:gd name="connsiteX31" fmla="*/ 134264 w 482022"/>
                  <a:gd name="connsiteY31" fmla="*/ 183379 h 453480"/>
                  <a:gd name="connsiteX32" fmla="*/ 203073 w 482022"/>
                  <a:gd name="connsiteY32" fmla="*/ 166073 h 453480"/>
                  <a:gd name="connsiteX33" fmla="*/ 306648 w 482022"/>
                  <a:gd name="connsiteY33" fmla="*/ 109485 h 453480"/>
                  <a:gd name="connsiteX34" fmla="*/ 307495 w 482022"/>
                  <a:gd name="connsiteY34" fmla="*/ 108894 h 453480"/>
                  <a:gd name="connsiteX35" fmla="*/ 309981 w 482022"/>
                  <a:gd name="connsiteY35" fmla="*/ 112856 h 453480"/>
                  <a:gd name="connsiteX36" fmla="*/ 305495 w 482022"/>
                  <a:gd name="connsiteY36" fmla="*/ 158110 h 453480"/>
                  <a:gd name="connsiteX37" fmla="*/ 341947 w 482022"/>
                  <a:gd name="connsiteY37" fmla="*/ 162748 h 453480"/>
                  <a:gd name="connsiteX38" fmla="*/ 342614 w 482022"/>
                  <a:gd name="connsiteY38" fmla="*/ 162748 h 453480"/>
                  <a:gd name="connsiteX39" fmla="*/ 349282 w 482022"/>
                  <a:gd name="connsiteY39" fmla="*/ 163977 h 453480"/>
                  <a:gd name="connsiteX40" fmla="*/ 348091 w 482022"/>
                  <a:gd name="connsiteY40" fmla="*/ 179550 h 453480"/>
                  <a:gd name="connsiteX0" fmla="*/ 372542 w 482022"/>
                  <a:gd name="connsiteY0" fmla="*/ 331398 h 453480"/>
                  <a:gd name="connsiteX1" fmla="*/ 424453 w 482022"/>
                  <a:gd name="connsiteY1" fmla="*/ 339285 h 453480"/>
                  <a:gd name="connsiteX2" fmla="*/ 370684 w 482022"/>
                  <a:gd name="connsiteY2" fmla="*/ 200020 h 453480"/>
                  <a:gd name="connsiteX3" fmla="*/ 241135 w 482022"/>
                  <a:gd name="connsiteY3" fmla="*/ 99 h 453480"/>
                  <a:gd name="connsiteX4" fmla="*/ 241011 w 482022"/>
                  <a:gd name="connsiteY4" fmla="*/ 433 h 453480"/>
                  <a:gd name="connsiteX5" fmla="*/ 240906 w 482022"/>
                  <a:gd name="connsiteY5" fmla="*/ 99 h 453480"/>
                  <a:gd name="connsiteX6" fmla="*/ 111337 w 482022"/>
                  <a:gd name="connsiteY6" fmla="*/ 200020 h 453480"/>
                  <a:gd name="connsiteX7" fmla="*/ 110852 w 482022"/>
                  <a:gd name="connsiteY7" fmla="*/ 215041 h 453480"/>
                  <a:gd name="connsiteX8" fmla="*/ 108432 w 482022"/>
                  <a:gd name="connsiteY8" fmla="*/ 239501 h 453480"/>
                  <a:gd name="connsiteX9" fmla="*/ 57588 w 482022"/>
                  <a:gd name="connsiteY9" fmla="*/ 339294 h 453480"/>
                  <a:gd name="connsiteX10" fmla="*/ 92316 w 482022"/>
                  <a:gd name="connsiteY10" fmla="*/ 337904 h 453480"/>
                  <a:gd name="connsiteX11" fmla="*/ 0 w 482022"/>
                  <a:gd name="connsiteY11" fmla="*/ 453480 h 453480"/>
                  <a:gd name="connsiteX12" fmla="*/ 482022 w 482022"/>
                  <a:gd name="connsiteY12" fmla="*/ 453480 h 453480"/>
                  <a:gd name="connsiteX13" fmla="*/ 372542 w 482022"/>
                  <a:gd name="connsiteY13" fmla="*/ 331398 h 453480"/>
                  <a:gd name="connsiteX14" fmla="*/ 278320 w 482022"/>
                  <a:gd name="connsiteY14" fmla="*/ 373698 h 453480"/>
                  <a:gd name="connsiteX15" fmla="*/ 241011 w 482022"/>
                  <a:gd name="connsiteY15" fmla="*/ 434297 h 453480"/>
                  <a:gd name="connsiteX16" fmla="*/ 203720 w 482022"/>
                  <a:gd name="connsiteY16" fmla="*/ 373698 h 453480"/>
                  <a:gd name="connsiteX17" fmla="*/ 147237 w 482022"/>
                  <a:gd name="connsiteY17" fmla="*/ 339294 h 453480"/>
                  <a:gd name="connsiteX18" fmla="*/ 192424 w 482022"/>
                  <a:gd name="connsiteY18" fmla="*/ 353067 h 453480"/>
                  <a:gd name="connsiteX19" fmla="*/ 171878 w 482022"/>
                  <a:gd name="connsiteY19" fmla="*/ 307252 h 453480"/>
                  <a:gd name="connsiteX20" fmla="*/ 241001 w 482022"/>
                  <a:gd name="connsiteY20" fmla="*/ 338408 h 453480"/>
                  <a:gd name="connsiteX21" fmla="*/ 308781 w 482022"/>
                  <a:gd name="connsiteY21" fmla="*/ 308605 h 453480"/>
                  <a:gd name="connsiteX22" fmla="*/ 294465 w 482022"/>
                  <a:gd name="connsiteY22" fmla="*/ 338408 h 453480"/>
                  <a:gd name="connsiteX23" fmla="*/ 338471 w 482022"/>
                  <a:gd name="connsiteY23" fmla="*/ 328902 h 453480"/>
                  <a:gd name="connsiteX24" fmla="*/ 278320 w 482022"/>
                  <a:gd name="connsiteY24" fmla="*/ 373698 h 453480"/>
                  <a:gd name="connsiteX25" fmla="*/ 348091 w 482022"/>
                  <a:gd name="connsiteY25" fmla="*/ 179550 h 453480"/>
                  <a:gd name="connsiteX26" fmla="*/ 328126 w 482022"/>
                  <a:gd name="connsiteY26" fmla="*/ 254760 h 453480"/>
                  <a:gd name="connsiteX27" fmla="*/ 241011 w 482022"/>
                  <a:gd name="connsiteY27" fmla="*/ 319549 h 453480"/>
                  <a:gd name="connsiteX28" fmla="*/ 156610 w 482022"/>
                  <a:gd name="connsiteY28" fmla="*/ 259941 h 453480"/>
                  <a:gd name="connsiteX29" fmla="*/ 145847 w 482022"/>
                  <a:gd name="connsiteY29" fmla="*/ 235872 h 453480"/>
                  <a:gd name="connsiteX30" fmla="*/ 134264 w 482022"/>
                  <a:gd name="connsiteY30" fmla="*/ 183379 h 453480"/>
                  <a:gd name="connsiteX31" fmla="*/ 203073 w 482022"/>
                  <a:gd name="connsiteY31" fmla="*/ 166073 h 453480"/>
                  <a:gd name="connsiteX32" fmla="*/ 306648 w 482022"/>
                  <a:gd name="connsiteY32" fmla="*/ 109485 h 453480"/>
                  <a:gd name="connsiteX33" fmla="*/ 307495 w 482022"/>
                  <a:gd name="connsiteY33" fmla="*/ 108894 h 453480"/>
                  <a:gd name="connsiteX34" fmla="*/ 309981 w 482022"/>
                  <a:gd name="connsiteY34" fmla="*/ 112856 h 453480"/>
                  <a:gd name="connsiteX35" fmla="*/ 305495 w 482022"/>
                  <a:gd name="connsiteY35" fmla="*/ 158110 h 453480"/>
                  <a:gd name="connsiteX36" fmla="*/ 341947 w 482022"/>
                  <a:gd name="connsiteY36" fmla="*/ 162748 h 453480"/>
                  <a:gd name="connsiteX37" fmla="*/ 342614 w 482022"/>
                  <a:gd name="connsiteY37" fmla="*/ 162748 h 453480"/>
                  <a:gd name="connsiteX38" fmla="*/ 349282 w 482022"/>
                  <a:gd name="connsiteY38" fmla="*/ 163977 h 453480"/>
                  <a:gd name="connsiteX39" fmla="*/ 348091 w 482022"/>
                  <a:gd name="connsiteY39" fmla="*/ 179550 h 45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2022" h="453480">
                    <a:moveTo>
                      <a:pt x="372542" y="331398"/>
                    </a:moveTo>
                    <a:cubicBezTo>
                      <a:pt x="400202" y="334503"/>
                      <a:pt x="424453" y="339285"/>
                      <a:pt x="424453" y="339285"/>
                    </a:cubicBezTo>
                    <a:cubicBezTo>
                      <a:pt x="369265" y="308938"/>
                      <a:pt x="370684" y="200020"/>
                      <a:pt x="370684" y="200020"/>
                    </a:cubicBezTo>
                    <a:cubicBezTo>
                      <a:pt x="380352" y="-10931"/>
                      <a:pt x="241135" y="99"/>
                      <a:pt x="241135" y="99"/>
                    </a:cubicBezTo>
                    <a:cubicBezTo>
                      <a:pt x="241094" y="210"/>
                      <a:pt x="241052" y="322"/>
                      <a:pt x="241011" y="433"/>
                    </a:cubicBezTo>
                    <a:lnTo>
                      <a:pt x="240906" y="99"/>
                    </a:lnTo>
                    <a:cubicBezTo>
                      <a:pt x="240906" y="99"/>
                      <a:pt x="101689" y="-10931"/>
                      <a:pt x="111337" y="200020"/>
                    </a:cubicBezTo>
                    <a:cubicBezTo>
                      <a:pt x="111337" y="200020"/>
                      <a:pt x="111404" y="205811"/>
                      <a:pt x="110852" y="215041"/>
                    </a:cubicBezTo>
                    <a:cubicBezTo>
                      <a:pt x="110368" y="221621"/>
                      <a:pt x="117309" y="218792"/>
                      <a:pt x="108432" y="239501"/>
                    </a:cubicBezTo>
                    <a:cubicBezTo>
                      <a:pt x="103632" y="273857"/>
                      <a:pt x="90973" y="320930"/>
                      <a:pt x="57588" y="339294"/>
                    </a:cubicBezTo>
                    <a:cubicBezTo>
                      <a:pt x="57588" y="339294"/>
                      <a:pt x="72437" y="338265"/>
                      <a:pt x="92316" y="337904"/>
                    </a:cubicBezTo>
                    <a:cubicBezTo>
                      <a:pt x="45320" y="358897"/>
                      <a:pt x="10315" y="401721"/>
                      <a:pt x="0" y="453480"/>
                    </a:cubicBezTo>
                    <a:lnTo>
                      <a:pt x="482022" y="453480"/>
                    </a:lnTo>
                    <a:cubicBezTo>
                      <a:pt x="470459" y="395596"/>
                      <a:pt x="428025" y="348876"/>
                      <a:pt x="372542" y="331398"/>
                    </a:cubicBezTo>
                    <a:close/>
                    <a:moveTo>
                      <a:pt x="278320" y="373698"/>
                    </a:moveTo>
                    <a:lnTo>
                      <a:pt x="241011" y="434297"/>
                    </a:lnTo>
                    <a:lnTo>
                      <a:pt x="203720" y="373698"/>
                    </a:lnTo>
                    <a:cubicBezTo>
                      <a:pt x="176612" y="367536"/>
                      <a:pt x="155676" y="354887"/>
                      <a:pt x="147237" y="339294"/>
                    </a:cubicBezTo>
                    <a:cubicBezTo>
                      <a:pt x="169107" y="341190"/>
                      <a:pt x="187633" y="345190"/>
                      <a:pt x="192424" y="353067"/>
                    </a:cubicBezTo>
                    <a:lnTo>
                      <a:pt x="171878" y="307252"/>
                    </a:lnTo>
                    <a:cubicBezTo>
                      <a:pt x="191557" y="326902"/>
                      <a:pt x="215360" y="338408"/>
                      <a:pt x="241001" y="338408"/>
                    </a:cubicBezTo>
                    <a:cubicBezTo>
                      <a:pt x="266043" y="338408"/>
                      <a:pt x="289360" y="327407"/>
                      <a:pt x="308781" y="308605"/>
                    </a:cubicBezTo>
                    <a:lnTo>
                      <a:pt x="294465" y="338408"/>
                    </a:lnTo>
                    <a:cubicBezTo>
                      <a:pt x="299266" y="330503"/>
                      <a:pt x="317297" y="328360"/>
                      <a:pt x="338471" y="328902"/>
                    </a:cubicBezTo>
                    <a:cubicBezTo>
                      <a:pt x="335118" y="349181"/>
                      <a:pt x="311229" y="366212"/>
                      <a:pt x="278320" y="373698"/>
                    </a:cubicBezTo>
                    <a:close/>
                    <a:moveTo>
                      <a:pt x="348091" y="179550"/>
                    </a:moveTo>
                    <a:cubicBezTo>
                      <a:pt x="345986" y="207478"/>
                      <a:pt x="338880" y="233186"/>
                      <a:pt x="328126" y="254760"/>
                    </a:cubicBezTo>
                    <a:cubicBezTo>
                      <a:pt x="308543" y="294031"/>
                      <a:pt x="276825" y="319549"/>
                      <a:pt x="241011" y="319549"/>
                    </a:cubicBezTo>
                    <a:cubicBezTo>
                      <a:pt x="206807" y="319549"/>
                      <a:pt x="176336" y="296251"/>
                      <a:pt x="156610" y="259941"/>
                    </a:cubicBezTo>
                    <a:cubicBezTo>
                      <a:pt x="140749" y="245995"/>
                      <a:pt x="149571" y="248632"/>
                      <a:pt x="145847" y="235872"/>
                    </a:cubicBezTo>
                    <a:cubicBezTo>
                      <a:pt x="140008" y="219813"/>
                      <a:pt x="135988" y="202134"/>
                      <a:pt x="134264" y="183379"/>
                    </a:cubicBezTo>
                    <a:cubicBezTo>
                      <a:pt x="134264" y="183379"/>
                      <a:pt x="177346" y="176226"/>
                      <a:pt x="203073" y="166073"/>
                    </a:cubicBezTo>
                    <a:cubicBezTo>
                      <a:pt x="203073" y="166073"/>
                      <a:pt x="249698" y="150499"/>
                      <a:pt x="306648" y="109485"/>
                    </a:cubicBezTo>
                    <a:cubicBezTo>
                      <a:pt x="306933" y="109284"/>
                      <a:pt x="307210" y="109084"/>
                      <a:pt x="307495" y="108894"/>
                    </a:cubicBezTo>
                    <a:cubicBezTo>
                      <a:pt x="307495" y="108894"/>
                      <a:pt x="308514" y="110342"/>
                      <a:pt x="309981" y="112856"/>
                    </a:cubicBezTo>
                    <a:cubicBezTo>
                      <a:pt x="314925" y="121315"/>
                      <a:pt x="325498" y="146575"/>
                      <a:pt x="305495" y="158110"/>
                    </a:cubicBezTo>
                    <a:lnTo>
                      <a:pt x="341947" y="162748"/>
                    </a:lnTo>
                    <a:lnTo>
                      <a:pt x="342614" y="162748"/>
                    </a:lnTo>
                    <a:lnTo>
                      <a:pt x="349282" y="163977"/>
                    </a:lnTo>
                    <a:cubicBezTo>
                      <a:pt x="349215" y="169254"/>
                      <a:pt x="348843" y="174464"/>
                      <a:pt x="348091" y="179550"/>
                    </a:cubicBezTo>
                    <a:close/>
                  </a:path>
                </a:pathLst>
              </a:custGeom>
              <a:solidFill>
                <a:srgbClr val="EBEBEB">
                  <a:lumMod val="50000"/>
                </a:srgbClr>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98" name="Freeform: Shape 97">
                <a:extLst>
                  <a:ext uri="{FF2B5EF4-FFF2-40B4-BE49-F238E27FC236}">
                    <a16:creationId xmlns:a16="http://schemas.microsoft.com/office/drawing/2014/main" id="{D8B2EB1C-29ED-4A39-92DD-E7BC20E00670}"/>
                  </a:ext>
                </a:extLst>
              </p:cNvPr>
              <p:cNvSpPr/>
              <p:nvPr/>
            </p:nvSpPr>
            <p:spPr>
              <a:xfrm>
                <a:off x="1017123" y="2728973"/>
                <a:ext cx="345781" cy="18199"/>
              </a:xfrm>
              <a:custGeom>
                <a:avLst/>
                <a:gdLst/>
                <a:ahLst/>
                <a:cxnLst/>
                <a:rect l="0" t="0" r="0" b="0"/>
                <a:pathLst>
                  <a:path w="542925" h="28575">
                    <a:moveTo>
                      <a:pt x="530704" y="7144"/>
                    </a:moveTo>
                    <a:lnTo>
                      <a:pt x="16221" y="7144"/>
                    </a:lnTo>
                    <a:cubicBezTo>
                      <a:pt x="11220" y="7144"/>
                      <a:pt x="7144" y="11201"/>
                      <a:pt x="7144" y="16221"/>
                    </a:cubicBezTo>
                    <a:cubicBezTo>
                      <a:pt x="7144" y="21222"/>
                      <a:pt x="11211" y="25270"/>
                      <a:pt x="16221" y="25270"/>
                    </a:cubicBezTo>
                    <a:lnTo>
                      <a:pt x="530704" y="25270"/>
                    </a:lnTo>
                    <a:cubicBezTo>
                      <a:pt x="535715" y="25270"/>
                      <a:pt x="539772" y="21222"/>
                      <a:pt x="539772" y="16221"/>
                    </a:cubicBezTo>
                    <a:cubicBezTo>
                      <a:pt x="539772" y="11201"/>
                      <a:pt x="535715" y="7144"/>
                      <a:pt x="530704" y="7144"/>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99" name="Freeform: Shape 98">
                <a:extLst>
                  <a:ext uri="{FF2B5EF4-FFF2-40B4-BE49-F238E27FC236}">
                    <a16:creationId xmlns:a16="http://schemas.microsoft.com/office/drawing/2014/main" id="{28D7A8A0-3445-4B97-B0D1-B25531276247}"/>
                  </a:ext>
                </a:extLst>
              </p:cNvPr>
              <p:cNvSpPr/>
              <p:nvPr/>
            </p:nvSpPr>
            <p:spPr>
              <a:xfrm>
                <a:off x="988993" y="2507722"/>
                <a:ext cx="400378" cy="224455"/>
              </a:xfrm>
              <a:custGeom>
                <a:avLst/>
                <a:gdLst/>
                <a:ahLst/>
                <a:cxnLst/>
                <a:rect l="0" t="0" r="0" b="0"/>
                <a:pathLst>
                  <a:path w="628650" h="352425">
                    <a:moveTo>
                      <a:pt x="90983" y="347120"/>
                    </a:moveTo>
                    <a:lnTo>
                      <a:pt x="544297" y="347120"/>
                    </a:lnTo>
                    <a:cubicBezTo>
                      <a:pt x="565528" y="347120"/>
                      <a:pt x="582825" y="329851"/>
                      <a:pt x="582759" y="308962"/>
                    </a:cubicBezTo>
                    <a:lnTo>
                      <a:pt x="628145" y="45682"/>
                    </a:lnTo>
                    <a:cubicBezTo>
                      <a:pt x="628145" y="24422"/>
                      <a:pt x="610857" y="7144"/>
                      <a:pt x="589617" y="7144"/>
                    </a:cubicBezTo>
                    <a:lnTo>
                      <a:pt x="558641" y="7144"/>
                    </a:lnTo>
                    <a:lnTo>
                      <a:pt x="76610" y="7144"/>
                    </a:lnTo>
                    <a:lnTo>
                      <a:pt x="45653" y="7144"/>
                    </a:lnTo>
                    <a:cubicBezTo>
                      <a:pt x="24403" y="7144"/>
                      <a:pt x="7115" y="24413"/>
                      <a:pt x="7144" y="46063"/>
                    </a:cubicBezTo>
                    <a:lnTo>
                      <a:pt x="52445" y="308591"/>
                    </a:lnTo>
                    <a:cubicBezTo>
                      <a:pt x="52454" y="329841"/>
                      <a:pt x="69733" y="347120"/>
                      <a:pt x="90983" y="347120"/>
                    </a:cubicBezTo>
                    <a:close/>
                    <a:moveTo>
                      <a:pt x="45653" y="11687"/>
                    </a:moveTo>
                    <a:lnTo>
                      <a:pt x="589617" y="11687"/>
                    </a:lnTo>
                    <a:cubicBezTo>
                      <a:pt x="608343" y="11687"/>
                      <a:pt x="623611" y="26946"/>
                      <a:pt x="623649" y="45291"/>
                    </a:cubicBezTo>
                    <a:lnTo>
                      <a:pt x="578282" y="308591"/>
                    </a:lnTo>
                    <a:cubicBezTo>
                      <a:pt x="578282" y="327327"/>
                      <a:pt x="563023" y="342605"/>
                      <a:pt x="544297" y="342605"/>
                    </a:cubicBezTo>
                    <a:lnTo>
                      <a:pt x="90983" y="342605"/>
                    </a:lnTo>
                    <a:cubicBezTo>
                      <a:pt x="72228" y="342605"/>
                      <a:pt x="56979" y="327327"/>
                      <a:pt x="56940" y="308210"/>
                    </a:cubicBezTo>
                    <a:lnTo>
                      <a:pt x="11649" y="45682"/>
                    </a:lnTo>
                    <a:cubicBezTo>
                      <a:pt x="11649" y="26937"/>
                      <a:pt x="26899" y="11687"/>
                      <a:pt x="45653" y="11687"/>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sp>
            <p:nvSpPr>
              <p:cNvPr id="100" name="Freeform: Shape 99">
                <a:extLst>
                  <a:ext uri="{FF2B5EF4-FFF2-40B4-BE49-F238E27FC236}">
                    <a16:creationId xmlns:a16="http://schemas.microsoft.com/office/drawing/2014/main" id="{383F1D1E-6AB1-4ED2-8163-8080B413753D}"/>
                  </a:ext>
                </a:extLst>
              </p:cNvPr>
              <p:cNvSpPr/>
              <p:nvPr/>
            </p:nvSpPr>
            <p:spPr>
              <a:xfrm>
                <a:off x="1176352" y="2602720"/>
                <a:ext cx="24265" cy="24265"/>
              </a:xfrm>
              <a:custGeom>
                <a:avLst/>
                <a:gdLst/>
                <a:ahLst/>
                <a:cxnLst/>
                <a:rect l="0" t="0" r="0" b="0"/>
                <a:pathLst>
                  <a:path w="38100" h="38100">
                    <a:moveTo>
                      <a:pt x="23441" y="39738"/>
                    </a:moveTo>
                    <a:cubicBezTo>
                      <a:pt x="32442" y="39738"/>
                      <a:pt x="39738" y="32461"/>
                      <a:pt x="39738" y="23431"/>
                    </a:cubicBezTo>
                    <a:cubicBezTo>
                      <a:pt x="39738" y="14459"/>
                      <a:pt x="32433" y="7144"/>
                      <a:pt x="23441" y="7144"/>
                    </a:cubicBezTo>
                    <a:cubicBezTo>
                      <a:pt x="14449" y="7144"/>
                      <a:pt x="7144" y="14459"/>
                      <a:pt x="7144" y="23431"/>
                    </a:cubicBezTo>
                    <a:cubicBezTo>
                      <a:pt x="7144" y="32471"/>
                      <a:pt x="14449" y="39738"/>
                      <a:pt x="23441" y="39738"/>
                    </a:cubicBezTo>
                    <a:close/>
                  </a:path>
                </a:pathLst>
              </a:custGeom>
              <a:solidFill>
                <a:srgbClr val="EBEBEB"/>
              </a:solid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endParaRPr lang="en-IN">
                  <a:solidFill>
                    <a:srgbClr val="505050"/>
                  </a:solidFill>
                  <a:latin typeface="Segoe UI"/>
                </a:endParaRPr>
              </a:p>
            </p:txBody>
          </p:sp>
          <p:pic>
            <p:nvPicPr>
              <p:cNvPr id="101" name="Graphic 100">
                <a:extLst>
                  <a:ext uri="{FF2B5EF4-FFF2-40B4-BE49-F238E27FC236}">
                    <a16:creationId xmlns:a16="http://schemas.microsoft.com/office/drawing/2014/main" id="{D62ABBA3-9913-48B8-AFD2-C614F850827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28819" y="2218276"/>
                <a:ext cx="157080" cy="157080"/>
              </a:xfrm>
              <a:prstGeom prst="rect">
                <a:avLst/>
              </a:prstGeom>
            </p:spPr>
          </p:pic>
        </p:grpSp>
      </p:grpSp>
      <p:grpSp>
        <p:nvGrpSpPr>
          <p:cNvPr id="102" name="Group 101">
            <a:extLst>
              <a:ext uri="{FF2B5EF4-FFF2-40B4-BE49-F238E27FC236}">
                <a16:creationId xmlns:a16="http://schemas.microsoft.com/office/drawing/2014/main" id="{753FCA57-2B32-4610-B47A-9FF205E53A7F}"/>
              </a:ext>
            </a:extLst>
          </p:cNvPr>
          <p:cNvGrpSpPr>
            <a:grpSpLocks noChangeAspect="1"/>
          </p:cNvGrpSpPr>
          <p:nvPr/>
        </p:nvGrpSpPr>
        <p:grpSpPr>
          <a:xfrm>
            <a:off x="1819080" y="2271955"/>
            <a:ext cx="1223376" cy="1223376"/>
            <a:chOff x="2364229" y="3829100"/>
            <a:chExt cx="685800" cy="685800"/>
          </a:xfrm>
        </p:grpSpPr>
        <p:sp>
          <p:nvSpPr>
            <p:cNvPr id="103" name="Oval 102">
              <a:extLst>
                <a:ext uri="{FF2B5EF4-FFF2-40B4-BE49-F238E27FC236}">
                  <a16:creationId xmlns:a16="http://schemas.microsoft.com/office/drawing/2014/main" id="{A7D650F0-2531-43A2-9AD7-C9832098FB7F}"/>
                </a:ext>
              </a:extLst>
            </p:cNvPr>
            <p:cNvSpPr/>
            <p:nvPr/>
          </p:nvSpPr>
          <p:spPr bwMode="auto">
            <a:xfrm>
              <a:off x="2364229" y="3829100"/>
              <a:ext cx="685800" cy="685800"/>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4" name="Graphic 99">
              <a:extLst>
                <a:ext uri="{FF2B5EF4-FFF2-40B4-BE49-F238E27FC236}">
                  <a16:creationId xmlns:a16="http://schemas.microsoft.com/office/drawing/2014/main" id="{D8675F19-56C8-4111-8994-1B1CE85EE519}"/>
                </a:ext>
              </a:extLst>
            </p:cNvPr>
            <p:cNvGrpSpPr/>
            <p:nvPr/>
          </p:nvGrpSpPr>
          <p:grpSpPr>
            <a:xfrm>
              <a:off x="2456057" y="3988430"/>
              <a:ext cx="502145" cy="367147"/>
              <a:chOff x="3223667" y="1717208"/>
              <a:chExt cx="914400" cy="668569"/>
            </a:xfrm>
            <a:solidFill>
              <a:srgbClr val="3C3C41">
                <a:lumMod val="50000"/>
              </a:srgbClr>
            </a:solidFill>
          </p:grpSpPr>
          <p:sp>
            <p:nvSpPr>
              <p:cNvPr id="105" name="Freeform: Shape 104">
                <a:extLst>
                  <a:ext uri="{FF2B5EF4-FFF2-40B4-BE49-F238E27FC236}">
                    <a16:creationId xmlns:a16="http://schemas.microsoft.com/office/drawing/2014/main" id="{308E9E81-BD7D-4540-9A08-12CF9BF6A26C}"/>
                  </a:ext>
                </a:extLst>
              </p:cNvPr>
              <p:cNvSpPr/>
              <p:nvPr/>
            </p:nvSpPr>
            <p:spPr>
              <a:xfrm>
                <a:off x="3223667" y="2023827"/>
                <a:ext cx="914400" cy="361950"/>
              </a:xfrm>
              <a:custGeom>
                <a:avLst/>
                <a:gdLst/>
                <a:ahLst/>
                <a:cxnLst/>
                <a:rect l="0" t="0" r="0" b="0"/>
                <a:pathLst>
                  <a:path w="914400" h="361950">
                    <a:moveTo>
                      <a:pt x="900246" y="345967"/>
                    </a:moveTo>
                    <a:lnTo>
                      <a:pt x="793890" y="345967"/>
                    </a:lnTo>
                    <a:lnTo>
                      <a:pt x="793890" y="57998"/>
                    </a:lnTo>
                    <a:cubicBezTo>
                      <a:pt x="791909" y="58331"/>
                      <a:pt x="789918" y="58865"/>
                      <a:pt x="787908" y="58998"/>
                    </a:cubicBezTo>
                    <a:cubicBezTo>
                      <a:pt x="784489" y="59322"/>
                      <a:pt x="780955" y="59531"/>
                      <a:pt x="777440" y="59531"/>
                    </a:cubicBezTo>
                    <a:cubicBezTo>
                      <a:pt x="743026" y="59531"/>
                      <a:pt x="707831" y="41872"/>
                      <a:pt x="672741" y="7144"/>
                    </a:cubicBezTo>
                    <a:cubicBezTo>
                      <a:pt x="657997" y="24022"/>
                      <a:pt x="620020" y="60970"/>
                      <a:pt x="568823" y="62617"/>
                    </a:cubicBezTo>
                    <a:cubicBezTo>
                      <a:pt x="567604" y="62856"/>
                      <a:pt x="566290" y="62856"/>
                      <a:pt x="564985" y="62856"/>
                    </a:cubicBezTo>
                    <a:cubicBezTo>
                      <a:pt x="528133" y="62856"/>
                      <a:pt x="492604" y="43901"/>
                      <a:pt x="459172" y="7163"/>
                    </a:cubicBezTo>
                    <a:cubicBezTo>
                      <a:pt x="425748" y="43901"/>
                      <a:pt x="390211" y="62856"/>
                      <a:pt x="353358" y="62856"/>
                    </a:cubicBezTo>
                    <a:cubicBezTo>
                      <a:pt x="352149" y="62856"/>
                      <a:pt x="350834" y="62856"/>
                      <a:pt x="349606" y="62617"/>
                    </a:cubicBezTo>
                    <a:cubicBezTo>
                      <a:pt x="298399" y="60970"/>
                      <a:pt x="260356" y="24022"/>
                      <a:pt x="245574" y="7144"/>
                    </a:cubicBezTo>
                    <a:cubicBezTo>
                      <a:pt x="210588" y="41891"/>
                      <a:pt x="175403" y="59531"/>
                      <a:pt x="140980" y="59531"/>
                    </a:cubicBezTo>
                    <a:cubicBezTo>
                      <a:pt x="137436" y="59531"/>
                      <a:pt x="133902" y="59322"/>
                      <a:pt x="130397" y="58998"/>
                    </a:cubicBezTo>
                    <a:cubicBezTo>
                      <a:pt x="128407" y="58855"/>
                      <a:pt x="126425" y="58331"/>
                      <a:pt x="124549" y="57998"/>
                    </a:cubicBezTo>
                    <a:lnTo>
                      <a:pt x="124549" y="345929"/>
                    </a:lnTo>
                    <a:lnTo>
                      <a:pt x="16193" y="345929"/>
                    </a:lnTo>
                    <a:cubicBezTo>
                      <a:pt x="11106" y="345929"/>
                      <a:pt x="7144" y="349891"/>
                      <a:pt x="7144" y="355121"/>
                    </a:cubicBezTo>
                    <a:cubicBezTo>
                      <a:pt x="7144" y="359950"/>
                      <a:pt x="11106" y="364274"/>
                      <a:pt x="16193" y="364274"/>
                    </a:cubicBezTo>
                    <a:lnTo>
                      <a:pt x="900236" y="364274"/>
                    </a:lnTo>
                    <a:cubicBezTo>
                      <a:pt x="905313" y="364274"/>
                      <a:pt x="909523" y="359950"/>
                      <a:pt x="909523" y="355121"/>
                    </a:cubicBezTo>
                    <a:cubicBezTo>
                      <a:pt x="909523" y="349910"/>
                      <a:pt x="905323" y="345967"/>
                      <a:pt x="900246" y="345967"/>
                    </a:cubicBezTo>
                    <a:close/>
                    <a:moveTo>
                      <a:pt x="166821" y="236706"/>
                    </a:moveTo>
                    <a:lnTo>
                      <a:pt x="166821" y="218294"/>
                    </a:lnTo>
                    <a:lnTo>
                      <a:pt x="166821" y="102127"/>
                    </a:lnTo>
                    <a:cubicBezTo>
                      <a:pt x="166916" y="97403"/>
                      <a:pt x="168907" y="85258"/>
                      <a:pt x="184671" y="85258"/>
                    </a:cubicBezTo>
                    <a:lnTo>
                      <a:pt x="550964" y="85258"/>
                    </a:lnTo>
                    <a:cubicBezTo>
                      <a:pt x="556384" y="85658"/>
                      <a:pt x="566633" y="88659"/>
                      <a:pt x="566633" y="104975"/>
                    </a:cubicBezTo>
                    <a:lnTo>
                      <a:pt x="566633" y="218294"/>
                    </a:lnTo>
                    <a:lnTo>
                      <a:pt x="566633" y="236706"/>
                    </a:lnTo>
                    <a:lnTo>
                      <a:pt x="566633" y="246545"/>
                    </a:lnTo>
                    <a:cubicBezTo>
                      <a:pt x="566633" y="246545"/>
                      <a:pt x="566633" y="264833"/>
                      <a:pt x="548650" y="264833"/>
                    </a:cubicBezTo>
                    <a:lnTo>
                      <a:pt x="186004" y="264833"/>
                    </a:lnTo>
                    <a:cubicBezTo>
                      <a:pt x="168459" y="264833"/>
                      <a:pt x="166907" y="252384"/>
                      <a:pt x="166811" y="248745"/>
                    </a:cubicBezTo>
                    <a:lnTo>
                      <a:pt x="166811" y="236706"/>
                    </a:lnTo>
                    <a:close/>
                    <a:moveTo>
                      <a:pt x="733187" y="345967"/>
                    </a:moveTo>
                    <a:lnTo>
                      <a:pt x="733187" y="103556"/>
                    </a:lnTo>
                    <a:lnTo>
                      <a:pt x="617010" y="103556"/>
                    </a:lnTo>
                    <a:lnTo>
                      <a:pt x="617010" y="345967"/>
                    </a:lnTo>
                    <a:lnTo>
                      <a:pt x="598608" y="345967"/>
                    </a:lnTo>
                    <a:lnTo>
                      <a:pt x="598608" y="112728"/>
                    </a:lnTo>
                    <a:cubicBezTo>
                      <a:pt x="598608" y="89668"/>
                      <a:pt x="609952" y="85801"/>
                      <a:pt x="615601" y="85258"/>
                    </a:cubicBezTo>
                    <a:lnTo>
                      <a:pt x="732882" y="85258"/>
                    </a:lnTo>
                    <a:cubicBezTo>
                      <a:pt x="732882" y="85258"/>
                      <a:pt x="751513" y="84468"/>
                      <a:pt x="751513" y="108976"/>
                    </a:cubicBezTo>
                    <a:lnTo>
                      <a:pt x="751513" y="345967"/>
                    </a:lnTo>
                    <a:lnTo>
                      <a:pt x="733187" y="345967"/>
                    </a:lnTo>
                    <a:close/>
                    <a:moveTo>
                      <a:pt x="630803" y="233629"/>
                    </a:moveTo>
                    <a:cubicBezTo>
                      <a:pt x="630803" y="225352"/>
                      <a:pt x="637432" y="218646"/>
                      <a:pt x="645919" y="218646"/>
                    </a:cubicBezTo>
                    <a:cubicBezTo>
                      <a:pt x="654196" y="218646"/>
                      <a:pt x="660940" y="225352"/>
                      <a:pt x="660940" y="233629"/>
                    </a:cubicBezTo>
                    <a:cubicBezTo>
                      <a:pt x="660940" y="241916"/>
                      <a:pt x="654196" y="248745"/>
                      <a:pt x="645919" y="248745"/>
                    </a:cubicBezTo>
                    <a:cubicBezTo>
                      <a:pt x="637451" y="248745"/>
                      <a:pt x="630803" y="241916"/>
                      <a:pt x="630803" y="23362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06" name="Freeform: Shape 105">
                <a:extLst>
                  <a:ext uri="{FF2B5EF4-FFF2-40B4-BE49-F238E27FC236}">
                    <a16:creationId xmlns:a16="http://schemas.microsoft.com/office/drawing/2014/main" id="{1AC0FEA9-874D-4632-A992-B63A231317DC}"/>
                  </a:ext>
                </a:extLst>
              </p:cNvPr>
              <p:cNvSpPr/>
              <p:nvPr/>
            </p:nvSpPr>
            <p:spPr>
              <a:xfrm>
                <a:off x="3483262" y="2019417"/>
                <a:ext cx="180975" cy="47625"/>
              </a:xfrm>
              <a:custGeom>
                <a:avLst/>
                <a:gdLst/>
                <a:ahLst/>
                <a:cxnLst/>
                <a:rect l="0" t="0" r="0" b="0"/>
                <a:pathLst>
                  <a:path w="180975" h="47625">
                    <a:moveTo>
                      <a:pt x="90764" y="48939"/>
                    </a:moveTo>
                    <a:cubicBezTo>
                      <a:pt x="121558" y="50073"/>
                      <a:pt x="150343" y="35938"/>
                      <a:pt x="178794" y="7144"/>
                    </a:cubicBezTo>
                    <a:lnTo>
                      <a:pt x="7144" y="7144"/>
                    </a:lnTo>
                    <a:cubicBezTo>
                      <a:pt x="23270" y="23470"/>
                      <a:pt x="53483" y="47511"/>
                      <a:pt x="90764"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07" name="Freeform: Shape 106">
                <a:extLst>
                  <a:ext uri="{FF2B5EF4-FFF2-40B4-BE49-F238E27FC236}">
                    <a16:creationId xmlns:a16="http://schemas.microsoft.com/office/drawing/2014/main" id="{8800749A-D154-4114-A793-0B748CC4989A}"/>
                  </a:ext>
                </a:extLst>
              </p:cNvPr>
              <p:cNvSpPr/>
              <p:nvPr/>
            </p:nvSpPr>
            <p:spPr>
              <a:xfrm>
                <a:off x="3476523" y="1717208"/>
                <a:ext cx="200025" cy="295275"/>
              </a:xfrm>
              <a:custGeom>
                <a:avLst/>
                <a:gdLst/>
                <a:ahLst/>
                <a:cxnLst/>
                <a:rect l="0" t="0" r="0" b="0"/>
                <a:pathLst>
                  <a:path w="200025" h="295275">
                    <a:moveTo>
                      <a:pt x="21608" y="290913"/>
                    </a:moveTo>
                    <a:lnTo>
                      <a:pt x="184466" y="290913"/>
                    </a:lnTo>
                    <a:cubicBezTo>
                      <a:pt x="184466" y="290913"/>
                      <a:pt x="197258" y="287255"/>
                      <a:pt x="197258" y="274920"/>
                    </a:cubicBezTo>
                    <a:lnTo>
                      <a:pt x="197258" y="29556"/>
                    </a:lnTo>
                    <a:cubicBezTo>
                      <a:pt x="196953" y="22698"/>
                      <a:pt x="194724" y="7144"/>
                      <a:pt x="179494" y="7144"/>
                    </a:cubicBezTo>
                    <a:lnTo>
                      <a:pt x="70719" y="7144"/>
                    </a:lnTo>
                    <a:cubicBezTo>
                      <a:pt x="66308" y="7696"/>
                      <a:pt x="57803" y="11563"/>
                      <a:pt x="53850" y="32852"/>
                    </a:cubicBezTo>
                    <a:lnTo>
                      <a:pt x="7177" y="276911"/>
                    </a:lnTo>
                    <a:cubicBezTo>
                      <a:pt x="7158" y="276911"/>
                      <a:pt x="5853" y="290913"/>
                      <a:pt x="21608" y="290913"/>
                    </a:cubicBezTo>
                    <a:close/>
                    <a:moveTo>
                      <a:pt x="69395" y="38491"/>
                    </a:moveTo>
                    <a:cubicBezTo>
                      <a:pt x="70023" y="34414"/>
                      <a:pt x="74014" y="31661"/>
                      <a:pt x="78110" y="32433"/>
                    </a:cubicBezTo>
                    <a:cubicBezTo>
                      <a:pt x="82282" y="33204"/>
                      <a:pt x="84949" y="37176"/>
                      <a:pt x="84301" y="41138"/>
                    </a:cubicBezTo>
                    <a:lnTo>
                      <a:pt x="55412" y="202016"/>
                    </a:lnTo>
                    <a:cubicBezTo>
                      <a:pt x="54621" y="206197"/>
                      <a:pt x="50659" y="208740"/>
                      <a:pt x="46573" y="208074"/>
                    </a:cubicBezTo>
                    <a:cubicBezTo>
                      <a:pt x="42505" y="207416"/>
                      <a:pt x="39724" y="203340"/>
                      <a:pt x="40515" y="199253"/>
                    </a:cubicBezTo>
                    <a:lnTo>
                      <a:pt x="69395" y="38491"/>
                    </a:lnTo>
                    <a:close/>
                    <a:moveTo>
                      <a:pt x="36400" y="221523"/>
                    </a:moveTo>
                    <a:cubicBezTo>
                      <a:pt x="37276" y="217332"/>
                      <a:pt x="41134" y="214579"/>
                      <a:pt x="45220" y="215332"/>
                    </a:cubicBezTo>
                    <a:cubicBezTo>
                      <a:pt x="49297" y="216094"/>
                      <a:pt x="52173" y="220085"/>
                      <a:pt x="51297" y="224266"/>
                    </a:cubicBezTo>
                    <a:lnTo>
                      <a:pt x="48192" y="242021"/>
                    </a:lnTo>
                    <a:cubicBezTo>
                      <a:pt x="47430" y="246002"/>
                      <a:pt x="43477" y="248755"/>
                      <a:pt x="39400" y="248117"/>
                    </a:cubicBezTo>
                    <a:cubicBezTo>
                      <a:pt x="35200" y="247326"/>
                      <a:pt x="32552" y="243478"/>
                      <a:pt x="33209" y="239297"/>
                    </a:cubicBezTo>
                    <a:lnTo>
                      <a:pt x="36400" y="221523"/>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08" name="Freeform: Shape 107">
                <a:extLst>
                  <a:ext uri="{FF2B5EF4-FFF2-40B4-BE49-F238E27FC236}">
                    <a16:creationId xmlns:a16="http://schemas.microsoft.com/office/drawing/2014/main" id="{4D8C8206-7215-4011-AE03-BA5ACA3A6C70}"/>
                  </a:ext>
                </a:extLst>
              </p:cNvPr>
              <p:cNvSpPr/>
              <p:nvPr/>
            </p:nvSpPr>
            <p:spPr>
              <a:xfrm>
                <a:off x="3280367" y="1717227"/>
                <a:ext cx="238125" cy="295275"/>
              </a:xfrm>
              <a:custGeom>
                <a:avLst/>
                <a:gdLst/>
                <a:ahLst/>
                <a:cxnLst/>
                <a:rect l="0" t="0" r="0" b="0"/>
                <a:pathLst>
                  <a:path w="238125" h="295275">
                    <a:moveTo>
                      <a:pt x="25368" y="290894"/>
                    </a:moveTo>
                    <a:lnTo>
                      <a:pt x="169681" y="290894"/>
                    </a:lnTo>
                    <a:cubicBezTo>
                      <a:pt x="169681" y="290894"/>
                      <a:pt x="181816" y="291656"/>
                      <a:pt x="184807" y="276892"/>
                    </a:cubicBezTo>
                    <a:lnTo>
                      <a:pt x="232803" y="25127"/>
                    </a:lnTo>
                    <a:cubicBezTo>
                      <a:pt x="232803" y="24689"/>
                      <a:pt x="234223" y="7810"/>
                      <a:pt x="218678" y="7144"/>
                    </a:cubicBezTo>
                    <a:lnTo>
                      <a:pt x="123485" y="7144"/>
                    </a:lnTo>
                    <a:cubicBezTo>
                      <a:pt x="118932" y="7144"/>
                      <a:pt x="106273" y="8573"/>
                      <a:pt x="101978" y="20288"/>
                    </a:cubicBezTo>
                    <a:lnTo>
                      <a:pt x="7299" y="280521"/>
                    </a:lnTo>
                    <a:cubicBezTo>
                      <a:pt x="6499" y="284845"/>
                      <a:pt x="8261" y="290894"/>
                      <a:pt x="25368" y="290894"/>
                    </a:cubicBezTo>
                    <a:close/>
                    <a:moveTo>
                      <a:pt x="113722" y="37700"/>
                    </a:moveTo>
                    <a:cubicBezTo>
                      <a:pt x="114941" y="33728"/>
                      <a:pt x="119151" y="31318"/>
                      <a:pt x="123104" y="32518"/>
                    </a:cubicBezTo>
                    <a:cubicBezTo>
                      <a:pt x="127181" y="33823"/>
                      <a:pt x="129400" y="37929"/>
                      <a:pt x="128286" y="41881"/>
                    </a:cubicBezTo>
                    <a:lnTo>
                      <a:pt x="81184" y="198453"/>
                    </a:lnTo>
                    <a:cubicBezTo>
                      <a:pt x="80060" y="202416"/>
                      <a:pt x="75669" y="204740"/>
                      <a:pt x="71669" y="203521"/>
                    </a:cubicBezTo>
                    <a:cubicBezTo>
                      <a:pt x="67707" y="202216"/>
                      <a:pt x="65478" y="198130"/>
                      <a:pt x="66611" y="194139"/>
                    </a:cubicBezTo>
                    <a:lnTo>
                      <a:pt x="113722" y="37700"/>
                    </a:lnTo>
                    <a:close/>
                    <a:moveTo>
                      <a:pt x="60239" y="215646"/>
                    </a:moveTo>
                    <a:cubicBezTo>
                      <a:pt x="61344" y="211579"/>
                      <a:pt x="65516" y="209464"/>
                      <a:pt x="69716" y="210569"/>
                    </a:cubicBezTo>
                    <a:cubicBezTo>
                      <a:pt x="73688" y="211788"/>
                      <a:pt x="75908" y="216075"/>
                      <a:pt x="74679" y="220075"/>
                    </a:cubicBezTo>
                    <a:lnTo>
                      <a:pt x="69497" y="237373"/>
                    </a:lnTo>
                    <a:cubicBezTo>
                      <a:pt x="68269" y="241364"/>
                      <a:pt x="64068" y="243669"/>
                      <a:pt x="60106" y="242459"/>
                    </a:cubicBezTo>
                    <a:cubicBezTo>
                      <a:pt x="55915" y="241230"/>
                      <a:pt x="53724" y="237030"/>
                      <a:pt x="54934" y="233086"/>
                    </a:cubicBezTo>
                    <a:lnTo>
                      <a:pt x="60239" y="215646"/>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09" name="Freeform: Shape 108">
                <a:extLst>
                  <a:ext uri="{FF2B5EF4-FFF2-40B4-BE49-F238E27FC236}">
                    <a16:creationId xmlns:a16="http://schemas.microsoft.com/office/drawing/2014/main" id="{30F05F2E-FE50-49FB-B4B0-50CB22414EB5}"/>
                  </a:ext>
                </a:extLst>
              </p:cNvPr>
              <p:cNvSpPr/>
              <p:nvPr/>
            </p:nvSpPr>
            <p:spPr>
              <a:xfrm>
                <a:off x="3282275" y="2019398"/>
                <a:ext cx="171450" cy="47625"/>
              </a:xfrm>
              <a:custGeom>
                <a:avLst/>
                <a:gdLst/>
                <a:ahLst/>
                <a:cxnLst/>
                <a:rect l="0" t="0" r="0" b="0"/>
                <a:pathLst>
                  <a:path w="171450" h="47625">
                    <a:moveTo>
                      <a:pt x="73885" y="45110"/>
                    </a:moveTo>
                    <a:cubicBezTo>
                      <a:pt x="103251" y="48168"/>
                      <a:pt x="133798" y="35281"/>
                      <a:pt x="165125" y="7144"/>
                    </a:cubicBezTo>
                    <a:lnTo>
                      <a:pt x="7144" y="7144"/>
                    </a:lnTo>
                    <a:cubicBezTo>
                      <a:pt x="19698" y="21374"/>
                      <a:pt x="42872" y="42015"/>
                      <a:pt x="73885"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10" name="Freeform: Shape 109">
                <a:extLst>
                  <a:ext uri="{FF2B5EF4-FFF2-40B4-BE49-F238E27FC236}">
                    <a16:creationId xmlns:a16="http://schemas.microsoft.com/office/drawing/2014/main" id="{7CE69CB8-1DEE-4990-804D-3BB5B4A7AD2B}"/>
                  </a:ext>
                </a:extLst>
              </p:cNvPr>
              <p:cNvSpPr/>
              <p:nvPr/>
            </p:nvSpPr>
            <p:spPr>
              <a:xfrm>
                <a:off x="3684954" y="1717227"/>
                <a:ext cx="200025" cy="295275"/>
              </a:xfrm>
              <a:custGeom>
                <a:avLst/>
                <a:gdLst/>
                <a:ahLst/>
                <a:cxnLst/>
                <a:rect l="0" t="0" r="0" b="0"/>
                <a:pathLst>
                  <a:path w="200025" h="295275">
                    <a:moveTo>
                      <a:pt x="25356" y="290894"/>
                    </a:moveTo>
                    <a:cubicBezTo>
                      <a:pt x="45091" y="290894"/>
                      <a:pt x="186214" y="290894"/>
                      <a:pt x="186214" y="290894"/>
                    </a:cubicBezTo>
                    <a:cubicBezTo>
                      <a:pt x="186214" y="290894"/>
                      <a:pt x="199234" y="288588"/>
                      <a:pt x="197129" y="277206"/>
                    </a:cubicBezTo>
                    <a:lnTo>
                      <a:pt x="197129" y="277111"/>
                    </a:lnTo>
                    <a:lnTo>
                      <a:pt x="148809" y="24032"/>
                    </a:lnTo>
                    <a:cubicBezTo>
                      <a:pt x="146628" y="16516"/>
                      <a:pt x="141646" y="7144"/>
                      <a:pt x="130388" y="7144"/>
                    </a:cubicBezTo>
                    <a:lnTo>
                      <a:pt x="20717" y="7144"/>
                    </a:lnTo>
                    <a:cubicBezTo>
                      <a:pt x="16202" y="7582"/>
                      <a:pt x="7144" y="11449"/>
                      <a:pt x="7144" y="32966"/>
                    </a:cubicBezTo>
                    <a:lnTo>
                      <a:pt x="7144" y="276025"/>
                    </a:lnTo>
                    <a:cubicBezTo>
                      <a:pt x="7144" y="279635"/>
                      <a:pt x="8687" y="290894"/>
                      <a:pt x="25356" y="290894"/>
                    </a:cubicBezTo>
                    <a:close/>
                    <a:moveTo>
                      <a:pt x="28651" y="249755"/>
                    </a:moveTo>
                    <a:cubicBezTo>
                      <a:pt x="24574" y="249755"/>
                      <a:pt x="21174" y="246440"/>
                      <a:pt x="21174" y="242364"/>
                    </a:cubicBezTo>
                    <a:lnTo>
                      <a:pt x="21174" y="224066"/>
                    </a:lnTo>
                    <a:cubicBezTo>
                      <a:pt x="21174" y="219989"/>
                      <a:pt x="24441" y="216665"/>
                      <a:pt x="28651" y="216560"/>
                    </a:cubicBezTo>
                    <a:cubicBezTo>
                      <a:pt x="32833" y="216665"/>
                      <a:pt x="36376" y="219980"/>
                      <a:pt x="36281" y="224066"/>
                    </a:cubicBezTo>
                    <a:lnTo>
                      <a:pt x="36376" y="242154"/>
                    </a:lnTo>
                    <a:cubicBezTo>
                      <a:pt x="36376" y="246440"/>
                      <a:pt x="32966" y="249755"/>
                      <a:pt x="28651" y="249755"/>
                    </a:cubicBezTo>
                    <a:close/>
                    <a:moveTo>
                      <a:pt x="28442" y="30642"/>
                    </a:moveTo>
                    <a:cubicBezTo>
                      <a:pt x="32614" y="30642"/>
                      <a:pt x="35938" y="34052"/>
                      <a:pt x="35938" y="38252"/>
                    </a:cubicBezTo>
                    <a:lnTo>
                      <a:pt x="36281" y="201530"/>
                    </a:lnTo>
                    <a:cubicBezTo>
                      <a:pt x="36281" y="205730"/>
                      <a:pt x="32842" y="209140"/>
                      <a:pt x="28651" y="209140"/>
                    </a:cubicBezTo>
                    <a:cubicBezTo>
                      <a:pt x="24441" y="209140"/>
                      <a:pt x="21174" y="205730"/>
                      <a:pt x="21174" y="201530"/>
                    </a:cubicBezTo>
                    <a:lnTo>
                      <a:pt x="20907" y="38252"/>
                    </a:lnTo>
                    <a:cubicBezTo>
                      <a:pt x="20688" y="34052"/>
                      <a:pt x="24136" y="30642"/>
                      <a:pt x="28442" y="30642"/>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11" name="Freeform: Shape 110">
                <a:extLst>
                  <a:ext uri="{FF2B5EF4-FFF2-40B4-BE49-F238E27FC236}">
                    <a16:creationId xmlns:a16="http://schemas.microsoft.com/office/drawing/2014/main" id="{400C6B08-CC1B-4A9F-8AAB-387C22D02E98}"/>
                  </a:ext>
                </a:extLst>
              </p:cNvPr>
              <p:cNvSpPr/>
              <p:nvPr/>
            </p:nvSpPr>
            <p:spPr>
              <a:xfrm>
                <a:off x="3696526" y="2019417"/>
                <a:ext cx="180975" cy="47625"/>
              </a:xfrm>
              <a:custGeom>
                <a:avLst/>
                <a:gdLst/>
                <a:ahLst/>
                <a:cxnLst/>
                <a:rect l="0" t="0" r="0" b="0"/>
                <a:pathLst>
                  <a:path w="180975" h="47625">
                    <a:moveTo>
                      <a:pt x="95183" y="48939"/>
                    </a:moveTo>
                    <a:cubicBezTo>
                      <a:pt x="132474" y="47520"/>
                      <a:pt x="162697" y="23460"/>
                      <a:pt x="178803" y="7144"/>
                    </a:cubicBezTo>
                    <a:lnTo>
                      <a:pt x="7144" y="7144"/>
                    </a:lnTo>
                    <a:cubicBezTo>
                      <a:pt x="35519" y="35928"/>
                      <a:pt x="64637" y="50063"/>
                      <a:pt x="95183" y="4893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12" name="Freeform: Shape 111">
                <a:extLst>
                  <a:ext uri="{FF2B5EF4-FFF2-40B4-BE49-F238E27FC236}">
                    <a16:creationId xmlns:a16="http://schemas.microsoft.com/office/drawing/2014/main" id="{5111180D-3A21-40AC-AD2F-D3E57A2ACD2C}"/>
                  </a:ext>
                </a:extLst>
              </p:cNvPr>
              <p:cNvSpPr/>
              <p:nvPr/>
            </p:nvSpPr>
            <p:spPr>
              <a:xfrm>
                <a:off x="3845757" y="1717237"/>
                <a:ext cx="228600" cy="295275"/>
              </a:xfrm>
              <a:custGeom>
                <a:avLst/>
                <a:gdLst/>
                <a:ahLst/>
                <a:cxnLst/>
                <a:rect l="0" t="0" r="0" b="0"/>
                <a:pathLst>
                  <a:path w="228600" h="295275">
                    <a:moveTo>
                      <a:pt x="54748" y="275444"/>
                    </a:moveTo>
                    <a:cubicBezTo>
                      <a:pt x="54748" y="275796"/>
                      <a:pt x="57729" y="290903"/>
                      <a:pt x="76589" y="290903"/>
                    </a:cubicBezTo>
                    <a:lnTo>
                      <a:pt x="218378" y="290903"/>
                    </a:lnTo>
                    <a:cubicBezTo>
                      <a:pt x="218378" y="290903"/>
                      <a:pt x="236380" y="291665"/>
                      <a:pt x="227407" y="266852"/>
                    </a:cubicBezTo>
                    <a:lnTo>
                      <a:pt x="138815" y="23365"/>
                    </a:lnTo>
                    <a:cubicBezTo>
                      <a:pt x="138815" y="23365"/>
                      <a:pt x="138815" y="23365"/>
                      <a:pt x="138692" y="23365"/>
                    </a:cubicBezTo>
                    <a:cubicBezTo>
                      <a:pt x="134167" y="10687"/>
                      <a:pt x="126452" y="7696"/>
                      <a:pt x="121728" y="7144"/>
                    </a:cubicBezTo>
                    <a:lnTo>
                      <a:pt x="16000" y="7144"/>
                    </a:lnTo>
                    <a:cubicBezTo>
                      <a:pt x="11733" y="7582"/>
                      <a:pt x="4303" y="11449"/>
                      <a:pt x="8275" y="32966"/>
                    </a:cubicBezTo>
                    <a:lnTo>
                      <a:pt x="54748" y="275444"/>
                    </a:lnTo>
                    <a:close/>
                    <a:moveTo>
                      <a:pt x="77265" y="221275"/>
                    </a:moveTo>
                    <a:lnTo>
                      <a:pt x="80665" y="239058"/>
                    </a:lnTo>
                    <a:cubicBezTo>
                      <a:pt x="81446" y="243145"/>
                      <a:pt x="78694" y="246993"/>
                      <a:pt x="74607" y="247783"/>
                    </a:cubicBezTo>
                    <a:cubicBezTo>
                      <a:pt x="70407" y="248669"/>
                      <a:pt x="66444" y="246012"/>
                      <a:pt x="65673" y="241935"/>
                    </a:cubicBezTo>
                    <a:lnTo>
                      <a:pt x="62349" y="224047"/>
                    </a:lnTo>
                    <a:cubicBezTo>
                      <a:pt x="61577" y="219980"/>
                      <a:pt x="64349" y="216094"/>
                      <a:pt x="68435" y="215227"/>
                    </a:cubicBezTo>
                    <a:cubicBezTo>
                      <a:pt x="72483" y="214436"/>
                      <a:pt x="76493" y="217170"/>
                      <a:pt x="77265" y="221275"/>
                    </a:cubicBezTo>
                    <a:close/>
                    <a:moveTo>
                      <a:pt x="33678" y="32509"/>
                    </a:moveTo>
                    <a:cubicBezTo>
                      <a:pt x="37755" y="31728"/>
                      <a:pt x="41727" y="34500"/>
                      <a:pt x="42613" y="38681"/>
                    </a:cubicBezTo>
                    <a:lnTo>
                      <a:pt x="73055" y="199082"/>
                    </a:lnTo>
                    <a:cubicBezTo>
                      <a:pt x="73693" y="203159"/>
                      <a:pt x="71074" y="207226"/>
                      <a:pt x="66978" y="207893"/>
                    </a:cubicBezTo>
                    <a:cubicBezTo>
                      <a:pt x="62901" y="208683"/>
                      <a:pt x="58939" y="205911"/>
                      <a:pt x="58148" y="201949"/>
                    </a:cubicBezTo>
                    <a:lnTo>
                      <a:pt x="27573" y="41415"/>
                    </a:lnTo>
                    <a:cubicBezTo>
                      <a:pt x="26925" y="37481"/>
                      <a:pt x="29583" y="33395"/>
                      <a:pt x="33678" y="32509"/>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13" name="Freeform: Shape 112">
                <a:extLst>
                  <a:ext uri="{FF2B5EF4-FFF2-40B4-BE49-F238E27FC236}">
                    <a16:creationId xmlns:a16="http://schemas.microsoft.com/office/drawing/2014/main" id="{E328E853-4C0D-4F9F-AC54-0121E5B8EF4C}"/>
                  </a:ext>
                </a:extLst>
              </p:cNvPr>
              <p:cNvSpPr/>
              <p:nvPr/>
            </p:nvSpPr>
            <p:spPr>
              <a:xfrm>
                <a:off x="3568493" y="2117706"/>
                <a:ext cx="27432" cy="154330"/>
              </a:xfrm>
              <a:custGeom>
                <a:avLst/>
                <a:gdLst/>
                <a:ahLst/>
                <a:cxnLst/>
                <a:rect l="0" t="0" r="0" b="0"/>
                <a:pathLst>
                  <a:path w="180975" h="123825">
                    <a:moveTo>
                      <a:pt x="7144" y="7144"/>
                    </a:moveTo>
                    <a:lnTo>
                      <a:pt x="179365" y="7144"/>
                    </a:lnTo>
                    <a:lnTo>
                      <a:pt x="179365" y="121891"/>
                    </a:lnTo>
                    <a:lnTo>
                      <a:pt x="7144" y="121891"/>
                    </a:ln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sp>
            <p:nvSpPr>
              <p:cNvPr id="114" name="Freeform: Shape 113">
                <a:extLst>
                  <a:ext uri="{FF2B5EF4-FFF2-40B4-BE49-F238E27FC236}">
                    <a16:creationId xmlns:a16="http://schemas.microsoft.com/office/drawing/2014/main" id="{8AC92562-D9D0-4520-A2A2-727DAFA1BB19}"/>
                  </a:ext>
                </a:extLst>
              </p:cNvPr>
              <p:cNvSpPr/>
              <p:nvPr/>
            </p:nvSpPr>
            <p:spPr>
              <a:xfrm>
                <a:off x="3911096" y="2019398"/>
                <a:ext cx="171450" cy="47625"/>
              </a:xfrm>
              <a:custGeom>
                <a:avLst/>
                <a:gdLst/>
                <a:ahLst/>
                <a:cxnLst/>
                <a:rect l="0" t="0" r="0" b="0"/>
                <a:pathLst>
                  <a:path w="171450" h="47625">
                    <a:moveTo>
                      <a:pt x="98412" y="45110"/>
                    </a:moveTo>
                    <a:cubicBezTo>
                      <a:pt x="129530" y="42015"/>
                      <a:pt x="152657" y="21374"/>
                      <a:pt x="165259" y="7144"/>
                    </a:cubicBezTo>
                    <a:lnTo>
                      <a:pt x="7144" y="7144"/>
                    </a:lnTo>
                    <a:cubicBezTo>
                      <a:pt x="38586" y="35281"/>
                      <a:pt x="69275" y="48168"/>
                      <a:pt x="98412" y="45110"/>
                    </a:cubicBezTo>
                    <a:close/>
                  </a:path>
                </a:pathLst>
              </a:custGeom>
              <a:grpFill/>
              <a:ln w="9525" cap="flat">
                <a:noFill/>
                <a:prstDash val="solid"/>
                <a:miter/>
              </a:ln>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896215">
                  <a:defRPr/>
                </a:pPr>
                <a:endParaRPr lang="en-IN">
                  <a:solidFill>
                    <a:srgbClr val="505050"/>
                  </a:solidFill>
                  <a:latin typeface="Segoe UI"/>
                </a:endParaRPr>
              </a:p>
            </p:txBody>
          </p:sp>
        </p:grpSp>
      </p:grpSp>
      <p:cxnSp>
        <p:nvCxnSpPr>
          <p:cNvPr id="115" name="Straight Arrow Connector 114">
            <a:extLst>
              <a:ext uri="{FF2B5EF4-FFF2-40B4-BE49-F238E27FC236}">
                <a16:creationId xmlns:a16="http://schemas.microsoft.com/office/drawing/2014/main" id="{7670356B-25A8-45BC-B23D-8E01E0CBAD4C}"/>
              </a:ext>
            </a:extLst>
          </p:cNvPr>
          <p:cNvCxnSpPr>
            <a:cxnSpLocks/>
          </p:cNvCxnSpPr>
          <p:nvPr/>
        </p:nvCxnSpPr>
        <p:spPr>
          <a:xfrm>
            <a:off x="3367102" y="2024871"/>
            <a:ext cx="1679891" cy="0"/>
          </a:xfrm>
          <a:prstGeom prst="straightConnector1">
            <a:avLst/>
          </a:prstGeom>
          <a:noFill/>
          <a:ln w="28575" cap="flat" cmpd="sng" algn="ctr">
            <a:solidFill>
              <a:srgbClr val="1A1A1A"/>
            </a:solidFill>
            <a:prstDash val="solid"/>
            <a:headEnd type="none"/>
            <a:tailEnd type="triangle"/>
          </a:ln>
          <a:effectLst/>
        </p:spPr>
      </p:cxnSp>
      <p:sp>
        <p:nvSpPr>
          <p:cNvPr id="116" name="TextBox 115">
            <a:extLst>
              <a:ext uri="{FF2B5EF4-FFF2-40B4-BE49-F238E27FC236}">
                <a16:creationId xmlns:a16="http://schemas.microsoft.com/office/drawing/2014/main" id="{062AEE54-2F82-42F3-981A-1C9263FA3803}"/>
              </a:ext>
            </a:extLst>
          </p:cNvPr>
          <p:cNvSpPr txBox="1"/>
          <p:nvPr/>
        </p:nvSpPr>
        <p:spPr>
          <a:xfrm>
            <a:off x="3624372" y="1803490"/>
            <a:ext cx="1165352" cy="448212"/>
          </a:xfrm>
          <a:prstGeom prst="rect">
            <a:avLst/>
          </a:prstGeom>
          <a:solidFill>
            <a:srgbClr val="30E5D0">
              <a:lumMod val="75000"/>
            </a:srgbClr>
          </a:solidFill>
          <a:ln>
            <a:noFill/>
          </a:ln>
        </p:spPr>
        <p:txBody>
          <a:bodyPr wrap="square" lIns="89630" tIns="44814" rIns="89630" bIns="44814"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lnSpc>
                <a:spcPct val="90000"/>
              </a:lnSpc>
              <a:spcAft>
                <a:spcPts val="588"/>
              </a:spcAft>
              <a:defRPr/>
            </a:pPr>
            <a:r>
              <a:rPr lang="en-US" sz="1176">
                <a:solidFill>
                  <a:srgbClr val="FFFFFF"/>
                </a:solidFill>
                <a:latin typeface="Segoe UI"/>
              </a:rPr>
              <a:t>Forensics &amp; learning</a:t>
            </a:r>
          </a:p>
        </p:txBody>
      </p:sp>
      <p:cxnSp>
        <p:nvCxnSpPr>
          <p:cNvPr id="117" name="Straight Arrow Connector 116">
            <a:extLst>
              <a:ext uri="{FF2B5EF4-FFF2-40B4-BE49-F238E27FC236}">
                <a16:creationId xmlns:a16="http://schemas.microsoft.com/office/drawing/2014/main" id="{8650BC7F-AA89-41F1-A80D-5934AD923133}"/>
              </a:ext>
            </a:extLst>
          </p:cNvPr>
          <p:cNvCxnSpPr>
            <a:cxnSpLocks/>
          </p:cNvCxnSpPr>
          <p:nvPr/>
        </p:nvCxnSpPr>
        <p:spPr>
          <a:xfrm>
            <a:off x="3367102" y="2631495"/>
            <a:ext cx="1679891" cy="5372"/>
          </a:xfrm>
          <a:prstGeom prst="straightConnector1">
            <a:avLst/>
          </a:prstGeom>
          <a:noFill/>
          <a:ln w="28575" cap="flat" cmpd="sng" algn="ctr">
            <a:solidFill>
              <a:srgbClr val="1A1A1A"/>
            </a:solidFill>
            <a:prstDash val="solid"/>
            <a:headEnd type="none"/>
            <a:tailEnd type="triangle"/>
          </a:ln>
          <a:effectLst/>
        </p:spPr>
      </p:cxnSp>
      <p:sp>
        <p:nvSpPr>
          <p:cNvPr id="118" name="TextBox 117">
            <a:extLst>
              <a:ext uri="{FF2B5EF4-FFF2-40B4-BE49-F238E27FC236}">
                <a16:creationId xmlns:a16="http://schemas.microsoft.com/office/drawing/2014/main" id="{B39B662D-30CB-4E29-B73C-10719A2D47C3}"/>
              </a:ext>
            </a:extLst>
          </p:cNvPr>
          <p:cNvSpPr txBox="1"/>
          <p:nvPr/>
        </p:nvSpPr>
        <p:spPr>
          <a:xfrm>
            <a:off x="3624372" y="2408506"/>
            <a:ext cx="1165352" cy="448212"/>
          </a:xfrm>
          <a:prstGeom prst="rect">
            <a:avLst/>
          </a:prstGeom>
          <a:solidFill>
            <a:srgbClr val="30E5D0">
              <a:lumMod val="75000"/>
            </a:srgbClr>
          </a:solidFill>
          <a:ln>
            <a:noFill/>
          </a:ln>
        </p:spPr>
        <p:txBody>
          <a:bodyPr wrap="square" lIns="89630" tIns="44814" rIns="89630" bIns="44814"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lnSpc>
                <a:spcPct val="90000"/>
              </a:lnSpc>
              <a:spcAft>
                <a:spcPts val="588"/>
              </a:spcAft>
              <a:defRPr/>
            </a:pPr>
            <a:r>
              <a:rPr lang="en-US" sz="1176">
                <a:solidFill>
                  <a:srgbClr val="FFFFFF"/>
                </a:solidFill>
                <a:latin typeface="Segoe UI"/>
              </a:rPr>
              <a:t>Transaction p</a:t>
            </a:r>
            <a:r>
              <a:rPr lang="en-US" sz="1176" err="1">
                <a:solidFill>
                  <a:srgbClr val="FFFFFF"/>
                </a:solidFill>
                <a:latin typeface="Segoe UI"/>
              </a:rPr>
              <a:t>ayload</a:t>
            </a:r>
            <a:endParaRPr lang="en-US" sz="1176">
              <a:solidFill>
                <a:srgbClr val="FFFFFF"/>
              </a:solidFill>
              <a:latin typeface="Segoe UI"/>
            </a:endParaRPr>
          </a:p>
        </p:txBody>
      </p:sp>
      <p:cxnSp>
        <p:nvCxnSpPr>
          <p:cNvPr id="119" name="Straight Arrow Connector 118">
            <a:extLst>
              <a:ext uri="{FF2B5EF4-FFF2-40B4-BE49-F238E27FC236}">
                <a16:creationId xmlns:a16="http://schemas.microsoft.com/office/drawing/2014/main" id="{85C00A99-36CA-4773-8EA5-FD605AC58EBC}"/>
              </a:ext>
            </a:extLst>
          </p:cNvPr>
          <p:cNvCxnSpPr>
            <a:cxnSpLocks/>
          </p:cNvCxnSpPr>
          <p:nvPr/>
        </p:nvCxnSpPr>
        <p:spPr>
          <a:xfrm flipH="1">
            <a:off x="3367102" y="3250612"/>
            <a:ext cx="1679891" cy="0"/>
          </a:xfrm>
          <a:prstGeom prst="straightConnector1">
            <a:avLst/>
          </a:prstGeom>
          <a:noFill/>
          <a:ln w="28575" cap="flat" cmpd="sng" algn="ctr">
            <a:solidFill>
              <a:srgbClr val="1A1A1A"/>
            </a:solidFill>
            <a:prstDash val="solid"/>
            <a:headEnd type="none"/>
            <a:tailEnd type="triangle"/>
          </a:ln>
          <a:effectLst/>
        </p:spPr>
      </p:cxnSp>
      <p:sp>
        <p:nvSpPr>
          <p:cNvPr id="120" name="TextBox 119">
            <a:extLst>
              <a:ext uri="{FF2B5EF4-FFF2-40B4-BE49-F238E27FC236}">
                <a16:creationId xmlns:a16="http://schemas.microsoft.com/office/drawing/2014/main" id="{34C05B09-9119-4EB8-95D1-1B17B2E8CFEC}"/>
              </a:ext>
            </a:extLst>
          </p:cNvPr>
          <p:cNvSpPr txBox="1"/>
          <p:nvPr/>
        </p:nvSpPr>
        <p:spPr>
          <a:xfrm>
            <a:off x="3624372" y="3026602"/>
            <a:ext cx="1165352" cy="448149"/>
          </a:xfrm>
          <a:prstGeom prst="rect">
            <a:avLst/>
          </a:prstGeom>
          <a:solidFill>
            <a:srgbClr val="30E5D0">
              <a:lumMod val="75000"/>
            </a:srgbClr>
          </a:solidFill>
          <a:ln>
            <a:noFill/>
          </a:ln>
        </p:spPr>
        <p:txBody>
          <a:bodyPr wrap="none" lIns="89630" tIns="44814" rIns="89630" bIns="44814"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r>
              <a:rPr lang="en-US" sz="1176">
                <a:solidFill>
                  <a:srgbClr val="FFFFFF"/>
                </a:solidFill>
                <a:latin typeface="Segoe UI"/>
              </a:rPr>
              <a:t>Risk </a:t>
            </a:r>
          </a:p>
          <a:p>
            <a:pPr algn="ctr" defTabSz="896215">
              <a:defRPr/>
            </a:pPr>
            <a:r>
              <a:rPr lang="en-US" sz="1176">
                <a:solidFill>
                  <a:srgbClr val="FFFFFF"/>
                </a:solidFill>
                <a:latin typeface="Segoe UI"/>
              </a:rPr>
              <a:t>a</a:t>
            </a:r>
            <a:r>
              <a:rPr lang="en-US" sz="1176" err="1">
                <a:solidFill>
                  <a:srgbClr val="FFFFFF"/>
                </a:solidFill>
                <a:latin typeface="Segoe UI"/>
              </a:rPr>
              <a:t>ssessment</a:t>
            </a:r>
            <a:endParaRPr lang="en-US" sz="1176">
              <a:solidFill>
                <a:srgbClr val="FFFFFF"/>
              </a:solidFill>
              <a:latin typeface="Segoe UI"/>
            </a:endParaRPr>
          </a:p>
        </p:txBody>
      </p:sp>
      <p:cxnSp>
        <p:nvCxnSpPr>
          <p:cNvPr id="121" name="Connector: Elbow 120">
            <a:extLst>
              <a:ext uri="{FF2B5EF4-FFF2-40B4-BE49-F238E27FC236}">
                <a16:creationId xmlns:a16="http://schemas.microsoft.com/office/drawing/2014/main" id="{530E24EC-CCA9-46C2-BCAB-6AA542D3786F}"/>
              </a:ext>
            </a:extLst>
          </p:cNvPr>
          <p:cNvCxnSpPr>
            <a:cxnSpLocks/>
            <a:stCxn id="67" idx="1"/>
            <a:endCxn id="94" idx="4"/>
          </p:cNvCxnSpPr>
          <p:nvPr/>
        </p:nvCxnSpPr>
        <p:spPr>
          <a:xfrm rot="10800000">
            <a:off x="882737" y="2266452"/>
            <a:ext cx="570248" cy="436064"/>
          </a:xfrm>
          <a:prstGeom prst="bentConnector2">
            <a:avLst/>
          </a:prstGeom>
          <a:noFill/>
          <a:ln w="28575" cap="flat" cmpd="sng" algn="ctr">
            <a:solidFill>
              <a:srgbClr val="1A1A1A"/>
            </a:solidFill>
            <a:prstDash val="solid"/>
            <a:headEnd type="triangle"/>
            <a:tailEnd type="triangle"/>
          </a:ln>
          <a:effectLst/>
        </p:spPr>
      </p:cxnSp>
      <p:cxnSp>
        <p:nvCxnSpPr>
          <p:cNvPr id="122" name="Straight Arrow Connector 121">
            <a:extLst>
              <a:ext uri="{FF2B5EF4-FFF2-40B4-BE49-F238E27FC236}">
                <a16:creationId xmlns:a16="http://schemas.microsoft.com/office/drawing/2014/main" id="{ABD17EEF-BB54-4129-BC19-D9F312EE569A}"/>
              </a:ext>
            </a:extLst>
          </p:cNvPr>
          <p:cNvCxnSpPr>
            <a:cxnSpLocks/>
          </p:cNvCxnSpPr>
          <p:nvPr/>
        </p:nvCxnSpPr>
        <p:spPr>
          <a:xfrm>
            <a:off x="7202511" y="2883480"/>
            <a:ext cx="2218215" cy="0"/>
          </a:xfrm>
          <a:prstGeom prst="straightConnector1">
            <a:avLst/>
          </a:prstGeom>
          <a:noFill/>
          <a:ln w="28575" cap="flat" cmpd="sng" algn="ctr">
            <a:solidFill>
              <a:srgbClr val="1A1A1A"/>
            </a:solidFill>
            <a:prstDash val="solid"/>
            <a:headEnd type="none"/>
            <a:tailEnd type="triangle"/>
          </a:ln>
          <a:effectLst/>
        </p:spPr>
      </p:cxnSp>
      <p:sp>
        <p:nvSpPr>
          <p:cNvPr id="123" name="TextBox 122">
            <a:extLst>
              <a:ext uri="{FF2B5EF4-FFF2-40B4-BE49-F238E27FC236}">
                <a16:creationId xmlns:a16="http://schemas.microsoft.com/office/drawing/2014/main" id="{92CC3FC2-A3A1-4AD6-9FD2-77A08238A7AE}"/>
              </a:ext>
            </a:extLst>
          </p:cNvPr>
          <p:cNvSpPr txBox="1"/>
          <p:nvPr/>
        </p:nvSpPr>
        <p:spPr>
          <a:xfrm>
            <a:off x="7410569" y="2291587"/>
            <a:ext cx="1793667" cy="1213201"/>
          </a:xfrm>
          <a:prstGeom prst="rect">
            <a:avLst/>
          </a:prstGeom>
          <a:solidFill>
            <a:srgbClr val="30E5D0">
              <a:lumMod val="75000"/>
            </a:srgbClr>
          </a:solidFill>
          <a:ln>
            <a:noFill/>
          </a:ln>
        </p:spPr>
        <p:txBody>
          <a:bodyPr wrap="none" lIns="89630" tIns="44814" rIns="89630" bIns="44814"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215">
              <a:defRPr/>
            </a:pPr>
            <a:r>
              <a:rPr lang="en-US" sz="1176" b="1">
                <a:solidFill>
                  <a:srgbClr val="FFFFFF"/>
                </a:solidFill>
                <a:latin typeface="Segoe UI"/>
              </a:rPr>
              <a:t>Trust knowledge</a:t>
            </a:r>
          </a:p>
          <a:p>
            <a:pPr algn="ctr" defTabSz="896215">
              <a:defRPr/>
            </a:pPr>
            <a:endParaRPr lang="en-US" sz="1176">
              <a:solidFill>
                <a:srgbClr val="FFFFFF"/>
              </a:solidFill>
              <a:latin typeface="Segoe UI"/>
            </a:endParaRPr>
          </a:p>
          <a:p>
            <a:pPr marL="168072" indent="-168072" algn="ctr" defTabSz="896215">
              <a:buFont typeface="Arial" panose="020B0604020202020204" pitchFamily="34" charset="0"/>
              <a:buChar char="•"/>
              <a:defRPr/>
            </a:pPr>
            <a:r>
              <a:rPr lang="en-US" sz="1176">
                <a:solidFill>
                  <a:srgbClr val="FFFFFF"/>
                </a:solidFill>
                <a:latin typeface="Segoe UI"/>
              </a:rPr>
              <a:t>Risk assessment score</a:t>
            </a:r>
          </a:p>
          <a:p>
            <a:pPr marL="168072" indent="-168072" defTabSz="896215">
              <a:buFont typeface="Arial" panose="020B0604020202020204" pitchFamily="34" charset="0"/>
              <a:buChar char="•"/>
              <a:defRPr/>
            </a:pPr>
            <a:r>
              <a:rPr lang="en-US" sz="1176">
                <a:solidFill>
                  <a:srgbClr val="FFFFFF"/>
                </a:solidFill>
                <a:latin typeface="Segoe UI"/>
              </a:rPr>
              <a:t>Low-res location</a:t>
            </a:r>
          </a:p>
        </p:txBody>
      </p:sp>
      <p:pic>
        <p:nvPicPr>
          <p:cNvPr id="124" name="Graphic 123">
            <a:extLst>
              <a:ext uri="{FF2B5EF4-FFF2-40B4-BE49-F238E27FC236}">
                <a16:creationId xmlns:a16="http://schemas.microsoft.com/office/drawing/2014/main" id="{94E1E708-1452-443F-BF08-7F1B0FBE5BF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68027" y="2205427"/>
            <a:ext cx="502562" cy="502561"/>
          </a:xfrm>
          <a:prstGeom prst="rect">
            <a:avLst/>
          </a:prstGeom>
        </p:spPr>
      </p:pic>
      <p:sp>
        <p:nvSpPr>
          <p:cNvPr id="125" name="Rectangle 124">
            <a:extLst>
              <a:ext uri="{FF2B5EF4-FFF2-40B4-BE49-F238E27FC236}">
                <a16:creationId xmlns:a16="http://schemas.microsoft.com/office/drawing/2014/main" id="{3B493694-1CDF-4D7A-8BFF-7886FCACF651}"/>
              </a:ext>
            </a:extLst>
          </p:cNvPr>
          <p:cNvSpPr/>
          <p:nvPr/>
        </p:nvSpPr>
        <p:spPr>
          <a:xfrm>
            <a:off x="9492916" y="2827285"/>
            <a:ext cx="1964507" cy="986793"/>
          </a:xfrm>
          <a:prstGeom prst="rect">
            <a:avLst/>
          </a:prstGeom>
          <a:solidFill>
            <a:srgbClr val="75757A"/>
          </a:solidFill>
          <a:ln w="12700" cap="flat" cmpd="sng" algn="ctr">
            <a:noFill/>
            <a:prstDash val="solid"/>
            <a:miter lim="800000"/>
          </a:ln>
          <a:effectLst/>
        </p:spPr>
        <p:txBody>
          <a:bodyPr rtlCol="0" anchor="t" anchorCtr="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96042">
              <a:defRPr/>
            </a:pPr>
            <a:r>
              <a:rPr lang="en-US" sz="1176" kern="0">
                <a:solidFill>
                  <a:prstClr val="white"/>
                </a:solidFill>
                <a:latin typeface="Segoe UI"/>
              </a:rPr>
              <a:t>Risk engine</a:t>
            </a:r>
          </a:p>
        </p:txBody>
      </p:sp>
      <p:sp>
        <p:nvSpPr>
          <p:cNvPr id="126" name="Rectangle 125">
            <a:extLst>
              <a:ext uri="{FF2B5EF4-FFF2-40B4-BE49-F238E27FC236}">
                <a16:creationId xmlns:a16="http://schemas.microsoft.com/office/drawing/2014/main" id="{B4B91FA4-ADBE-45B9-B0E3-33951348AC34}"/>
              </a:ext>
            </a:extLst>
          </p:cNvPr>
          <p:cNvSpPr/>
          <p:nvPr/>
        </p:nvSpPr>
        <p:spPr bwMode="auto">
          <a:xfrm>
            <a:off x="9613232" y="3122576"/>
            <a:ext cx="1729963" cy="561214"/>
          </a:xfrm>
          <a:prstGeom prst="rect">
            <a:avLst/>
          </a:prstGeom>
          <a:solidFill>
            <a:srgbClr val="E6E6E6">
              <a:lumMod val="90000"/>
            </a:srgbClr>
          </a:solidFill>
          <a:ln w="19050" cap="flat" cmpd="sng" algn="ctr">
            <a:noFill/>
            <a:prstDash val="solid"/>
            <a:round/>
            <a:headEnd type="none" w="med" len="med"/>
            <a:tailEnd type="none" w="med" len="med"/>
          </a:ln>
          <a:effectLst>
            <a:outerShdw blurRad="50800" dist="38100" dir="2700000" algn="tl" rotWithShape="0">
              <a:prstClr val="black">
                <a:alpha val="20000"/>
              </a:prstClr>
            </a:outerShdw>
          </a:effectLst>
          <a:scene3d>
            <a:camera prst="orthographicFront">
              <a:rot lat="0" lon="0" rev="0"/>
            </a:camera>
            <a:lightRig rig="glow" dir="t">
              <a:rot lat="0" lon="0" rev="4800000"/>
            </a:lightRig>
          </a:scene3d>
          <a:sp3d prstMaterial="matte"/>
        </p:spPr>
        <p:txBody>
          <a:bodyPr spcFirstLastPara="0" vert="horz" wrap="square" lIns="89617" tIns="89617" rIns="89617" bIns="89617" numCol="1" spcCol="127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1393843">
              <a:lnSpc>
                <a:spcPct val="90000"/>
              </a:lnSpc>
              <a:spcBef>
                <a:spcPct val="0"/>
              </a:spcBef>
              <a:buSzPct val="80000"/>
              <a:defRPr/>
            </a:pPr>
            <a:r>
              <a:rPr lang="en-US" sz="1176">
                <a:solidFill>
                  <a:prstClr val="black"/>
                </a:solidFill>
                <a:latin typeface="Segoe UI"/>
              </a:rPr>
              <a:t>Scoring</a:t>
            </a:r>
            <a:br>
              <a:rPr lang="en-US" sz="1176">
                <a:solidFill>
                  <a:prstClr val="black"/>
                </a:solidFill>
                <a:latin typeface="Segoe UI"/>
              </a:rPr>
            </a:br>
            <a:r>
              <a:rPr lang="en-US" sz="1176">
                <a:solidFill>
                  <a:prstClr val="black"/>
                </a:solidFill>
                <a:latin typeface="Segoe UI"/>
              </a:rPr>
              <a:t>and rules</a:t>
            </a:r>
          </a:p>
        </p:txBody>
      </p:sp>
      <p:sp>
        <p:nvSpPr>
          <p:cNvPr id="127" name="Rectangle 126">
            <a:extLst>
              <a:ext uri="{FF2B5EF4-FFF2-40B4-BE49-F238E27FC236}">
                <a16:creationId xmlns:a16="http://schemas.microsoft.com/office/drawing/2014/main" id="{010142F7-C80E-4234-9A70-12905BFCC04B}"/>
              </a:ext>
            </a:extLst>
          </p:cNvPr>
          <p:cNvSpPr/>
          <p:nvPr/>
        </p:nvSpPr>
        <p:spPr>
          <a:xfrm rot="417484">
            <a:off x="6041946" y="2629233"/>
            <a:ext cx="940031" cy="878133"/>
          </a:xfrm>
          <a:prstGeom prst="rect">
            <a:avLst/>
          </a:prstGeom>
          <a:noFill/>
        </p:spPr>
        <p:txBody>
          <a:bodyPr spcFirstLastPara="1" wrap="none" lIns="89642" tIns="44821" rIns="89642" bIns="44821" numCol="1">
            <a:prstTxWarp prst="textCircle">
              <a:avLst/>
            </a:prstTxWarp>
            <a:spAutoFit/>
          </a:bodyPr>
          <a:lstStyle/>
          <a:p>
            <a:pPr algn="ctr" defTabSz="896354">
              <a:defRPr/>
            </a:pPr>
            <a:r>
              <a:rPr lang="en-US" sz="882" kern="0">
                <a:solidFill>
                  <a:srgbClr val="008575"/>
                </a:solidFill>
                <a:latin typeface="Segoe UI Semibold"/>
              </a:rPr>
              <a:t>Fraud</a:t>
            </a:r>
            <a:r>
              <a:rPr lang="en-US" sz="882" kern="0">
                <a:ln w="0"/>
                <a:solidFill>
                  <a:srgbClr val="000000"/>
                </a:solidFill>
                <a:effectLst>
                  <a:outerShdw blurRad="38100" dist="19050" dir="2700000" algn="tl" rotWithShape="0">
                    <a:srgbClr val="000000">
                      <a:alpha val="40000"/>
                    </a:srgbClr>
                  </a:outerShdw>
                </a:effectLst>
              </a:rPr>
              <a:t> </a:t>
            </a:r>
            <a:r>
              <a:rPr lang="en-US" sz="882" kern="0">
                <a:solidFill>
                  <a:srgbClr val="008575"/>
                </a:solidFill>
                <a:latin typeface="Segoe UI Semibold"/>
              </a:rPr>
              <a:t>protection</a:t>
            </a:r>
            <a:r>
              <a:rPr lang="en-US" sz="882" kern="0">
                <a:ln w="0"/>
                <a:solidFill>
                  <a:srgbClr val="000000"/>
                </a:solidFill>
                <a:effectLst>
                  <a:outerShdw blurRad="38100" dist="19050" dir="2700000" algn="tl" rotWithShape="0">
                    <a:srgbClr val="000000">
                      <a:alpha val="40000"/>
                    </a:srgbClr>
                  </a:outerShdw>
                </a:effectLst>
              </a:rPr>
              <a:t> </a:t>
            </a:r>
            <a:r>
              <a:rPr lang="en-US" sz="882" kern="0">
                <a:solidFill>
                  <a:srgbClr val="008575"/>
                </a:solidFill>
                <a:latin typeface="Segoe UI Semibold"/>
              </a:rPr>
              <a:t>network</a:t>
            </a:r>
          </a:p>
        </p:txBody>
      </p:sp>
    </p:spTree>
    <p:extLst>
      <p:ext uri="{BB962C8B-B14F-4D97-AF65-F5344CB8AC3E}">
        <p14:creationId xmlns:p14="http://schemas.microsoft.com/office/powerpoint/2010/main" val="63621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2194084E-3A58-48D2-B438-510E7D6BFE38}"/>
              </a:ext>
            </a:extLst>
          </p:cNvPr>
          <p:cNvPicPr>
            <a:picLocks noRot="1" noChangeAspect="1"/>
          </p:cNvPicPr>
          <p:nvPr>
            <a:videoFile r:link="rId1"/>
          </p:nvPr>
        </p:nvPicPr>
        <p:blipFill>
          <a:blip r:embed="rId4"/>
          <a:stretch>
            <a:fillRect/>
          </a:stretch>
        </p:blipFill>
        <p:spPr>
          <a:xfrm>
            <a:off x="846667" y="0"/>
            <a:ext cx="10498665" cy="5905500"/>
          </a:xfrm>
          <a:prstGeom prst="rect">
            <a:avLst/>
          </a:prstGeom>
        </p:spPr>
      </p:pic>
    </p:spTree>
    <p:extLst>
      <p:ext uri="{BB962C8B-B14F-4D97-AF65-F5344CB8AC3E}">
        <p14:creationId xmlns:p14="http://schemas.microsoft.com/office/powerpoint/2010/main" val="3972117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a:extLst>
              <a:ext uri="{FF2B5EF4-FFF2-40B4-BE49-F238E27FC236}">
                <a16:creationId xmlns:a16="http://schemas.microsoft.com/office/drawing/2014/main" id="{EC2D139B-219A-5946-B1EB-588B2EA3107E}"/>
              </a:ext>
            </a:extLst>
          </p:cNvPr>
          <p:cNvGrpSpPr/>
          <p:nvPr/>
        </p:nvGrpSpPr>
        <p:grpSpPr>
          <a:xfrm>
            <a:off x="407074" y="2440055"/>
            <a:ext cx="11107875" cy="3217550"/>
            <a:chOff x="542063" y="2518904"/>
            <a:chExt cx="11107875" cy="3217550"/>
          </a:xfrm>
        </p:grpSpPr>
        <p:pic>
          <p:nvPicPr>
            <p:cNvPr id="117" name="Picture 116">
              <a:extLst>
                <a:ext uri="{FF2B5EF4-FFF2-40B4-BE49-F238E27FC236}">
                  <a16:creationId xmlns:a16="http://schemas.microsoft.com/office/drawing/2014/main" id="{44F33F65-17C4-5343-A7E8-CAF62860B3F4}"/>
                </a:ext>
              </a:extLst>
            </p:cNvPr>
            <p:cNvPicPr>
              <a:picLocks noChangeAspect="1"/>
            </p:cNvPicPr>
            <p:nvPr/>
          </p:nvPicPr>
          <p:blipFill rotWithShape="1">
            <a:blip r:embed="rId3"/>
            <a:srcRect t="21168" r="91951" b="41236"/>
            <a:stretch/>
          </p:blipFill>
          <p:spPr>
            <a:xfrm rot="20789000">
              <a:off x="925036" y="3576741"/>
              <a:ext cx="894089" cy="2159713"/>
            </a:xfrm>
            <a:prstGeom prst="rect">
              <a:avLst/>
            </a:prstGeom>
          </p:spPr>
        </p:pic>
        <p:pic>
          <p:nvPicPr>
            <p:cNvPr id="134" name="Picture 133">
              <a:extLst>
                <a:ext uri="{FF2B5EF4-FFF2-40B4-BE49-F238E27FC236}">
                  <a16:creationId xmlns:a16="http://schemas.microsoft.com/office/drawing/2014/main" id="{FCC702A2-D175-8745-8CA9-BB667B71DFA7}"/>
                </a:ext>
              </a:extLst>
            </p:cNvPr>
            <p:cNvPicPr>
              <a:picLocks noChangeAspect="1"/>
            </p:cNvPicPr>
            <p:nvPr/>
          </p:nvPicPr>
          <p:blipFill rotWithShape="1">
            <a:blip r:embed="rId3"/>
            <a:srcRect t="1" b="71435"/>
            <a:stretch/>
          </p:blipFill>
          <p:spPr>
            <a:xfrm>
              <a:off x="542063" y="2518904"/>
              <a:ext cx="11107875" cy="1501103"/>
            </a:xfrm>
            <a:prstGeom prst="rect">
              <a:avLst/>
            </a:prstGeom>
          </p:spPr>
        </p:pic>
      </p:grpSp>
      <p:sp>
        <p:nvSpPr>
          <p:cNvPr id="186" name="Rectangle 185">
            <a:extLst>
              <a:ext uri="{FF2B5EF4-FFF2-40B4-BE49-F238E27FC236}">
                <a16:creationId xmlns:a16="http://schemas.microsoft.com/office/drawing/2014/main" id="{CEFE0477-E104-43F0-8F3D-28714897B1BD}"/>
              </a:ext>
            </a:extLst>
          </p:cNvPr>
          <p:cNvSpPr/>
          <p:nvPr/>
        </p:nvSpPr>
        <p:spPr bwMode="auto">
          <a:xfrm flipV="1">
            <a:off x="8637725" y="4048961"/>
            <a:ext cx="3531341" cy="1606919"/>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BFE22556-F53D-4304-A2AB-5536EB57BB51}"/>
              </a:ext>
            </a:extLst>
          </p:cNvPr>
          <p:cNvSpPr>
            <a:spLocks noGrp="1"/>
          </p:cNvSpPr>
          <p:nvPr>
            <p:ph type="title"/>
          </p:nvPr>
        </p:nvSpPr>
        <p:spPr/>
        <p:txBody>
          <a:bodyPr>
            <a:noAutofit/>
          </a:bodyPr>
          <a:lstStyle/>
          <a:p>
            <a:r>
              <a:rPr lang="en-US" sz="2800"/>
              <a:t>Dynamics 365 Fraud Protection</a:t>
            </a:r>
            <a:r>
              <a:rPr lang="en-IN" sz="2800">
                <a:solidFill>
                  <a:srgbClr val="505050">
                    <a:lumMod val="75000"/>
                  </a:srgbClr>
                </a:solidFill>
              </a:rPr>
              <a:t> with </a:t>
            </a:r>
            <a:r>
              <a:rPr lang="en-IN" sz="2800">
                <a:solidFill>
                  <a:schemeClr val="accent2">
                    <a:lumMod val="75000"/>
                  </a:schemeClr>
                </a:solidFill>
              </a:rPr>
              <a:t>account protection </a:t>
            </a:r>
            <a:r>
              <a:rPr lang="en-IN" sz="2800">
                <a:solidFill>
                  <a:srgbClr val="505050">
                    <a:lumMod val="75000"/>
                  </a:srgbClr>
                </a:solidFill>
              </a:rPr>
              <a:t>capability</a:t>
            </a:r>
            <a:endParaRPr lang="en-US" sz="2800"/>
          </a:p>
        </p:txBody>
      </p:sp>
      <p:sp>
        <p:nvSpPr>
          <p:cNvPr id="10" name="Rectangle 9">
            <a:extLst>
              <a:ext uri="{FF2B5EF4-FFF2-40B4-BE49-F238E27FC236}">
                <a16:creationId xmlns:a16="http://schemas.microsoft.com/office/drawing/2014/main" id="{1E7BD5B4-D311-474A-B2F2-100B341D09C6}"/>
              </a:ext>
            </a:extLst>
          </p:cNvPr>
          <p:cNvSpPr/>
          <p:nvPr/>
        </p:nvSpPr>
        <p:spPr bwMode="auto">
          <a:xfrm>
            <a:off x="4769724" y="1023096"/>
            <a:ext cx="2278742" cy="61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Help protect your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online</a:t>
            </a:r>
            <a:r>
              <a:rPr kumimoji="0" lang="en-US" sz="1600" b="1"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 </a:t>
            </a:r>
            <a:r>
              <a:rPr kumimoji="0" lang="en-US" sz="18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revenue</a:t>
            </a:r>
            <a:endParaRPr kumimoji="0" lang="en-US" sz="16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1AF74469-4CC8-4812-A962-D9C909F8AAD1}"/>
              </a:ext>
            </a:extLst>
          </p:cNvPr>
          <p:cNvSpPr/>
          <p:nvPr/>
        </p:nvSpPr>
        <p:spPr bwMode="auto">
          <a:xfrm>
            <a:off x="1947714" y="1023096"/>
            <a:ext cx="2488471" cy="683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enhance</a:t>
            </a:r>
            <a:b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shopping experience</a:t>
            </a:r>
          </a:p>
        </p:txBody>
      </p:sp>
      <p:grpSp>
        <p:nvGrpSpPr>
          <p:cNvPr id="23" name="Group 22">
            <a:extLst>
              <a:ext uri="{FF2B5EF4-FFF2-40B4-BE49-F238E27FC236}">
                <a16:creationId xmlns:a16="http://schemas.microsoft.com/office/drawing/2014/main" id="{21C839C7-A0A6-4244-870E-94DEFCBD8DFE}"/>
              </a:ext>
            </a:extLst>
          </p:cNvPr>
          <p:cNvGrpSpPr/>
          <p:nvPr/>
        </p:nvGrpSpPr>
        <p:grpSpPr>
          <a:xfrm>
            <a:off x="2666096" y="1930265"/>
            <a:ext cx="1399958" cy="1420631"/>
            <a:chOff x="3765181" y="2418076"/>
            <a:chExt cx="1399958" cy="1420631"/>
          </a:xfrm>
        </p:grpSpPr>
        <p:sp>
          <p:nvSpPr>
            <p:cNvPr id="153" name="Arc 152">
              <a:extLst>
                <a:ext uri="{FF2B5EF4-FFF2-40B4-BE49-F238E27FC236}">
                  <a16:creationId xmlns:a16="http://schemas.microsoft.com/office/drawing/2014/main" id="{3350270C-7BA6-49E7-9DC4-CD7561983736}"/>
                </a:ext>
              </a:extLst>
            </p:cNvPr>
            <p:cNvSpPr/>
            <p:nvPr/>
          </p:nvSpPr>
          <p:spPr>
            <a:xfrm rot="20645021" flipH="1">
              <a:off x="3765181" y="243874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40" name="Arc 139">
              <a:extLst>
                <a:ext uri="{FF2B5EF4-FFF2-40B4-BE49-F238E27FC236}">
                  <a16:creationId xmlns:a16="http://schemas.microsoft.com/office/drawing/2014/main" id="{57128133-DB48-437F-9EF6-742B31070F63}"/>
                </a:ext>
              </a:extLst>
            </p:cNvPr>
            <p:cNvSpPr/>
            <p:nvPr/>
          </p:nvSpPr>
          <p:spPr>
            <a:xfrm rot="900000">
              <a:off x="3765181" y="2438749"/>
              <a:ext cx="1399958" cy="1399958"/>
            </a:xfrm>
            <a:prstGeom prst="arc">
              <a:avLst>
                <a:gd name="adj1" fmla="val 9691202"/>
                <a:gd name="adj2" fmla="val 19386433"/>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9B1000B4-E646-4DF6-9B74-DCE82D341CCF}"/>
                </a:ext>
              </a:extLst>
            </p:cNvPr>
            <p:cNvGrpSpPr/>
            <p:nvPr/>
          </p:nvGrpSpPr>
          <p:grpSpPr>
            <a:xfrm>
              <a:off x="3878947" y="2592489"/>
              <a:ext cx="1172426" cy="1104661"/>
              <a:chOff x="9343890" y="2258163"/>
              <a:chExt cx="1172426" cy="1104661"/>
            </a:xfrm>
          </p:grpSpPr>
          <p:sp>
            <p:nvSpPr>
              <p:cNvPr id="91" name="Flowchart: Connector 90">
                <a:extLst>
                  <a:ext uri="{FF2B5EF4-FFF2-40B4-BE49-F238E27FC236}">
                    <a16:creationId xmlns:a16="http://schemas.microsoft.com/office/drawing/2014/main" id="{848785EE-4604-4D4B-811D-88719EB944DF}"/>
                  </a:ext>
                </a:extLst>
              </p:cNvPr>
              <p:cNvSpPr/>
              <p:nvPr/>
            </p:nvSpPr>
            <p:spPr bwMode="auto">
              <a:xfrm>
                <a:off x="9343890" y="2258163"/>
                <a:ext cx="1172426" cy="1104661"/>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92" name="Group 91">
                <a:extLst>
                  <a:ext uri="{FF2B5EF4-FFF2-40B4-BE49-F238E27FC236}">
                    <a16:creationId xmlns:a16="http://schemas.microsoft.com/office/drawing/2014/main" id="{7A9DE021-21D8-4652-89B0-828107A006AD}"/>
                  </a:ext>
                </a:extLst>
              </p:cNvPr>
              <p:cNvGrpSpPr/>
              <p:nvPr/>
            </p:nvGrpSpPr>
            <p:grpSpPr>
              <a:xfrm>
                <a:off x="9647179" y="2635376"/>
                <a:ext cx="565830" cy="338081"/>
                <a:chOff x="2891208" y="5379095"/>
                <a:chExt cx="643647" cy="384574"/>
              </a:xfrm>
              <a:solidFill>
                <a:sysClr val="window" lastClr="FFFFFF"/>
              </a:solidFill>
            </p:grpSpPr>
            <p:sp>
              <p:nvSpPr>
                <p:cNvPr id="93" name="Freeform: Shape 92">
                  <a:extLst>
                    <a:ext uri="{FF2B5EF4-FFF2-40B4-BE49-F238E27FC236}">
                      <a16:creationId xmlns:a16="http://schemas.microsoft.com/office/drawing/2014/main" id="{88C727A4-DAED-4755-9DDC-A3874A670DE1}"/>
                    </a:ext>
                  </a:extLst>
                </p:cNvPr>
                <p:cNvSpPr/>
                <p:nvPr/>
              </p:nvSpPr>
              <p:spPr>
                <a:xfrm>
                  <a:off x="3365912" y="5379095"/>
                  <a:ext cx="168943" cy="197019"/>
                </a:xfrm>
                <a:custGeom>
                  <a:avLst/>
                  <a:gdLst>
                    <a:gd name="connsiteX0" fmla="*/ 398078 w 428918"/>
                    <a:gd name="connsiteY0" fmla="*/ 371969 h 503512"/>
                    <a:gd name="connsiteX1" fmla="*/ 191078 w 428918"/>
                    <a:gd name="connsiteY1" fmla="*/ 45618 h 503512"/>
                    <a:gd name="connsiteX2" fmla="*/ 136997 w 428918"/>
                    <a:gd name="connsiteY2" fmla="*/ 34429 h 503512"/>
                    <a:gd name="connsiteX3" fmla="*/ 45618 w 428918"/>
                    <a:gd name="connsiteY3" fmla="*/ 92240 h 503512"/>
                    <a:gd name="connsiteX4" fmla="*/ 34429 w 428918"/>
                    <a:gd name="connsiteY4" fmla="*/ 146321 h 503512"/>
                    <a:gd name="connsiteX5" fmla="*/ 241429 w 428918"/>
                    <a:gd name="connsiteY5" fmla="*/ 472672 h 503512"/>
                    <a:gd name="connsiteX6" fmla="*/ 295510 w 428918"/>
                    <a:gd name="connsiteY6" fmla="*/ 483861 h 503512"/>
                    <a:gd name="connsiteX7" fmla="*/ 386888 w 428918"/>
                    <a:gd name="connsiteY7" fmla="*/ 426050 h 503512"/>
                    <a:gd name="connsiteX8" fmla="*/ 398078 w 428918"/>
                    <a:gd name="connsiteY8" fmla="*/ 371969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918" h="503512">
                      <a:moveTo>
                        <a:pt x="398078" y="371969"/>
                      </a:moveTo>
                      <a:lnTo>
                        <a:pt x="191078" y="45618"/>
                      </a:lnTo>
                      <a:cubicBezTo>
                        <a:pt x="179889" y="26970"/>
                        <a:pt x="155645" y="21375"/>
                        <a:pt x="136997" y="34429"/>
                      </a:cubicBezTo>
                      <a:lnTo>
                        <a:pt x="45618" y="92240"/>
                      </a:lnTo>
                      <a:cubicBezTo>
                        <a:pt x="26970" y="103429"/>
                        <a:pt x="21375" y="127672"/>
                        <a:pt x="34429" y="146321"/>
                      </a:cubicBezTo>
                      <a:lnTo>
                        <a:pt x="241429" y="472672"/>
                      </a:lnTo>
                      <a:cubicBezTo>
                        <a:pt x="252618" y="491321"/>
                        <a:pt x="276861" y="496915"/>
                        <a:pt x="295510" y="483861"/>
                      </a:cubicBezTo>
                      <a:lnTo>
                        <a:pt x="386888" y="426050"/>
                      </a:lnTo>
                      <a:cubicBezTo>
                        <a:pt x="403672" y="414861"/>
                        <a:pt x="409267" y="390618"/>
                        <a:pt x="398078" y="371969"/>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4" name="Freeform: Shape 93">
                  <a:extLst>
                    <a:ext uri="{FF2B5EF4-FFF2-40B4-BE49-F238E27FC236}">
                      <a16:creationId xmlns:a16="http://schemas.microsoft.com/office/drawing/2014/main" id="{3CE09A9C-4C02-4A1A-BB76-082C24655036}"/>
                    </a:ext>
                  </a:extLst>
                </p:cNvPr>
                <p:cNvSpPr/>
                <p:nvPr/>
              </p:nvSpPr>
              <p:spPr>
                <a:xfrm>
                  <a:off x="3033704" y="5614653"/>
                  <a:ext cx="95490" cy="116753"/>
                </a:xfrm>
                <a:custGeom>
                  <a:avLst/>
                  <a:gdLst>
                    <a:gd name="connsiteX0" fmla="*/ 204632 w 242432"/>
                    <a:gd name="connsiteY0" fmla="*/ 118693 h 298378"/>
                    <a:gd name="connsiteX1" fmla="*/ 219551 w 242432"/>
                    <a:gd name="connsiteY1" fmla="*/ 96315 h 298378"/>
                    <a:gd name="connsiteX2" fmla="*/ 227011 w 242432"/>
                    <a:gd name="connsiteY2" fmla="*/ 62747 h 298378"/>
                    <a:gd name="connsiteX3" fmla="*/ 208362 w 242432"/>
                    <a:gd name="connsiteY3" fmla="*/ 34774 h 298378"/>
                    <a:gd name="connsiteX4" fmla="*/ 184119 w 242432"/>
                    <a:gd name="connsiteY4" fmla="*/ 27315 h 298378"/>
                    <a:gd name="connsiteX5" fmla="*/ 146821 w 242432"/>
                    <a:gd name="connsiteY5" fmla="*/ 45963 h 298378"/>
                    <a:gd name="connsiteX6" fmla="*/ 102065 w 242432"/>
                    <a:gd name="connsiteY6" fmla="*/ 111234 h 298378"/>
                    <a:gd name="connsiteX7" fmla="*/ 100200 w 242432"/>
                    <a:gd name="connsiteY7" fmla="*/ 113098 h 298378"/>
                    <a:gd name="connsiteX8" fmla="*/ 47984 w 242432"/>
                    <a:gd name="connsiteY8" fmla="*/ 189558 h 298378"/>
                    <a:gd name="connsiteX9" fmla="*/ 46119 w 242432"/>
                    <a:gd name="connsiteY9" fmla="*/ 193288 h 298378"/>
                    <a:gd name="connsiteX10" fmla="*/ 34930 w 242432"/>
                    <a:gd name="connsiteY10" fmla="*/ 210071 h 298378"/>
                    <a:gd name="connsiteX11" fmla="*/ 46119 w 242432"/>
                    <a:gd name="connsiteY11" fmla="*/ 271612 h 298378"/>
                    <a:gd name="connsiteX12" fmla="*/ 79686 w 242432"/>
                    <a:gd name="connsiteY12" fmla="*/ 279071 h 298378"/>
                    <a:gd name="connsiteX13" fmla="*/ 107659 w 242432"/>
                    <a:gd name="connsiteY13" fmla="*/ 260423 h 298378"/>
                    <a:gd name="connsiteX14" fmla="*/ 115119 w 242432"/>
                    <a:gd name="connsiteY14" fmla="*/ 249233 h 298378"/>
                    <a:gd name="connsiteX15" fmla="*/ 118848 w 242432"/>
                    <a:gd name="connsiteY15" fmla="*/ 241774 h 298378"/>
                    <a:gd name="connsiteX16" fmla="*/ 204632 w 242432"/>
                    <a:gd name="connsiteY16" fmla="*/ 118693 h 298378"/>
                    <a:gd name="connsiteX17" fmla="*/ 204632 w 242432"/>
                    <a:gd name="connsiteY17" fmla="*/ 118693 h 2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432" h="298378">
                      <a:moveTo>
                        <a:pt x="204632" y="118693"/>
                      </a:moveTo>
                      <a:lnTo>
                        <a:pt x="219551" y="96315"/>
                      </a:lnTo>
                      <a:cubicBezTo>
                        <a:pt x="227011" y="86990"/>
                        <a:pt x="228875" y="73936"/>
                        <a:pt x="227011" y="62747"/>
                      </a:cubicBezTo>
                      <a:cubicBezTo>
                        <a:pt x="225146" y="51558"/>
                        <a:pt x="217686" y="40369"/>
                        <a:pt x="208362" y="34774"/>
                      </a:cubicBezTo>
                      <a:cubicBezTo>
                        <a:pt x="200903" y="29180"/>
                        <a:pt x="193443" y="27315"/>
                        <a:pt x="184119" y="27315"/>
                      </a:cubicBezTo>
                      <a:cubicBezTo>
                        <a:pt x="169200" y="27315"/>
                        <a:pt x="156146" y="34774"/>
                        <a:pt x="146821" y="45963"/>
                      </a:cubicBezTo>
                      <a:lnTo>
                        <a:pt x="102065" y="111234"/>
                      </a:lnTo>
                      <a:cubicBezTo>
                        <a:pt x="102065" y="111234"/>
                        <a:pt x="102065" y="113098"/>
                        <a:pt x="100200" y="113098"/>
                      </a:cubicBezTo>
                      <a:cubicBezTo>
                        <a:pt x="83416" y="137342"/>
                        <a:pt x="64767" y="165315"/>
                        <a:pt x="47984" y="189558"/>
                      </a:cubicBezTo>
                      <a:cubicBezTo>
                        <a:pt x="47984" y="191423"/>
                        <a:pt x="46119" y="191423"/>
                        <a:pt x="46119" y="193288"/>
                      </a:cubicBezTo>
                      <a:lnTo>
                        <a:pt x="34930" y="210071"/>
                      </a:lnTo>
                      <a:cubicBezTo>
                        <a:pt x="21876" y="230585"/>
                        <a:pt x="25605" y="256693"/>
                        <a:pt x="46119" y="271612"/>
                      </a:cubicBezTo>
                      <a:cubicBezTo>
                        <a:pt x="55443" y="279071"/>
                        <a:pt x="68497" y="280936"/>
                        <a:pt x="79686" y="279071"/>
                      </a:cubicBezTo>
                      <a:cubicBezTo>
                        <a:pt x="90876" y="277206"/>
                        <a:pt x="102065" y="269747"/>
                        <a:pt x="107659" y="260423"/>
                      </a:cubicBezTo>
                      <a:lnTo>
                        <a:pt x="115119" y="249233"/>
                      </a:lnTo>
                      <a:cubicBezTo>
                        <a:pt x="116984" y="247369"/>
                        <a:pt x="116984" y="243639"/>
                        <a:pt x="118848" y="241774"/>
                      </a:cubicBezTo>
                      <a:lnTo>
                        <a:pt x="204632" y="118693"/>
                      </a:lnTo>
                      <a:cubicBezTo>
                        <a:pt x="202767" y="120558"/>
                        <a:pt x="202767" y="120558"/>
                        <a:pt x="204632" y="118693"/>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5" name="Freeform: Shape 94">
                  <a:extLst>
                    <a:ext uri="{FF2B5EF4-FFF2-40B4-BE49-F238E27FC236}">
                      <a16:creationId xmlns:a16="http://schemas.microsoft.com/office/drawing/2014/main" id="{C6256D14-0F8D-4385-930E-1F72655BB698}"/>
                    </a:ext>
                  </a:extLst>
                </p:cNvPr>
                <p:cNvSpPr/>
                <p:nvPr/>
              </p:nvSpPr>
              <p:spPr>
                <a:xfrm>
                  <a:off x="3087111" y="5436327"/>
                  <a:ext cx="367268" cy="189722"/>
                </a:xfrm>
                <a:custGeom>
                  <a:avLst/>
                  <a:gdLst>
                    <a:gd name="connsiteX0" fmla="*/ 734797 w 932431"/>
                    <a:gd name="connsiteY0" fmla="*/ 56000 h 484864"/>
                    <a:gd name="connsiteX1" fmla="*/ 703095 w 932431"/>
                    <a:gd name="connsiteY1" fmla="*/ 44811 h 484864"/>
                    <a:gd name="connsiteX2" fmla="*/ 667662 w 932431"/>
                    <a:gd name="connsiteY2" fmla="*/ 59730 h 484864"/>
                    <a:gd name="connsiteX3" fmla="*/ 628500 w 932431"/>
                    <a:gd name="connsiteY3" fmla="*/ 63460 h 484864"/>
                    <a:gd name="connsiteX4" fmla="*/ 509149 w 932431"/>
                    <a:gd name="connsiteY4" fmla="*/ 37352 h 484864"/>
                    <a:gd name="connsiteX5" fmla="*/ 317068 w 932431"/>
                    <a:gd name="connsiteY5" fmla="*/ 35487 h 484864"/>
                    <a:gd name="connsiteX6" fmla="*/ 203311 w 932431"/>
                    <a:gd name="connsiteY6" fmla="*/ 56000 h 484864"/>
                    <a:gd name="connsiteX7" fmla="*/ 130582 w 932431"/>
                    <a:gd name="connsiteY7" fmla="*/ 100757 h 484864"/>
                    <a:gd name="connsiteX8" fmla="*/ 33609 w 932431"/>
                    <a:gd name="connsiteY8" fmla="*/ 225703 h 484864"/>
                    <a:gd name="connsiteX9" fmla="*/ 28014 w 932431"/>
                    <a:gd name="connsiteY9" fmla="*/ 248081 h 484864"/>
                    <a:gd name="connsiteX10" fmla="*/ 39203 w 932431"/>
                    <a:gd name="connsiteY10" fmla="*/ 268595 h 484864"/>
                    <a:gd name="connsiteX11" fmla="*/ 70906 w 932431"/>
                    <a:gd name="connsiteY11" fmla="*/ 270460 h 484864"/>
                    <a:gd name="connsiteX12" fmla="*/ 276041 w 932431"/>
                    <a:gd name="connsiteY12" fmla="*/ 164163 h 484864"/>
                    <a:gd name="connsiteX13" fmla="*/ 343176 w 932431"/>
                    <a:gd name="connsiteY13" fmla="*/ 167892 h 484864"/>
                    <a:gd name="connsiteX14" fmla="*/ 783284 w 932431"/>
                    <a:gd name="connsiteY14" fmla="*/ 453216 h 484864"/>
                    <a:gd name="connsiteX15" fmla="*/ 796338 w 932431"/>
                    <a:gd name="connsiteY15" fmla="*/ 464405 h 484864"/>
                    <a:gd name="connsiteX16" fmla="*/ 900770 w 932431"/>
                    <a:gd name="connsiteY16" fmla="*/ 365568 h 484864"/>
                    <a:gd name="connsiteX17" fmla="*/ 904500 w 932431"/>
                    <a:gd name="connsiteY17" fmla="*/ 332000 h 484864"/>
                    <a:gd name="connsiteX18" fmla="*/ 734797 w 932431"/>
                    <a:gd name="connsiteY18" fmla="*/ 56000 h 48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431" h="484864">
                      <a:moveTo>
                        <a:pt x="734797" y="56000"/>
                      </a:moveTo>
                      <a:cubicBezTo>
                        <a:pt x="727338" y="44811"/>
                        <a:pt x="714284" y="41082"/>
                        <a:pt x="703095" y="44811"/>
                      </a:cubicBezTo>
                      <a:lnTo>
                        <a:pt x="667662" y="59730"/>
                      </a:lnTo>
                      <a:cubicBezTo>
                        <a:pt x="654608" y="65325"/>
                        <a:pt x="641554" y="65325"/>
                        <a:pt x="628500" y="63460"/>
                      </a:cubicBezTo>
                      <a:lnTo>
                        <a:pt x="509149" y="37352"/>
                      </a:lnTo>
                      <a:cubicBezTo>
                        <a:pt x="445743" y="24298"/>
                        <a:pt x="380473" y="24298"/>
                        <a:pt x="317068" y="35487"/>
                      </a:cubicBezTo>
                      <a:lnTo>
                        <a:pt x="203311" y="56000"/>
                      </a:lnTo>
                      <a:cubicBezTo>
                        <a:pt x="175338" y="61595"/>
                        <a:pt x="149230" y="76514"/>
                        <a:pt x="130582" y="100757"/>
                      </a:cubicBezTo>
                      <a:lnTo>
                        <a:pt x="33609" y="225703"/>
                      </a:lnTo>
                      <a:cubicBezTo>
                        <a:pt x="28014" y="231298"/>
                        <a:pt x="26149" y="240622"/>
                        <a:pt x="28014" y="248081"/>
                      </a:cubicBezTo>
                      <a:cubicBezTo>
                        <a:pt x="29879" y="255541"/>
                        <a:pt x="33609" y="263000"/>
                        <a:pt x="39203" y="268595"/>
                      </a:cubicBezTo>
                      <a:cubicBezTo>
                        <a:pt x="48528" y="276054"/>
                        <a:pt x="61582" y="276054"/>
                        <a:pt x="70906" y="270460"/>
                      </a:cubicBezTo>
                      <a:lnTo>
                        <a:pt x="276041" y="164163"/>
                      </a:lnTo>
                      <a:cubicBezTo>
                        <a:pt x="296554" y="152973"/>
                        <a:pt x="322663" y="154838"/>
                        <a:pt x="343176" y="167892"/>
                      </a:cubicBezTo>
                      <a:lnTo>
                        <a:pt x="783284" y="453216"/>
                      </a:lnTo>
                      <a:cubicBezTo>
                        <a:pt x="788878" y="456946"/>
                        <a:pt x="792608" y="460676"/>
                        <a:pt x="796338" y="464405"/>
                      </a:cubicBezTo>
                      <a:lnTo>
                        <a:pt x="900770" y="365568"/>
                      </a:lnTo>
                      <a:cubicBezTo>
                        <a:pt x="910095" y="356243"/>
                        <a:pt x="911959" y="343189"/>
                        <a:pt x="904500" y="332000"/>
                      </a:cubicBezTo>
                      <a:lnTo>
                        <a:pt x="734797" y="56000"/>
                      </a:ln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96" name="Freeform: Shape 95">
                  <a:extLst>
                    <a:ext uri="{FF2B5EF4-FFF2-40B4-BE49-F238E27FC236}">
                      <a16:creationId xmlns:a16="http://schemas.microsoft.com/office/drawing/2014/main" id="{5B548E46-D82C-45FE-A2A6-5BA813B2704A}"/>
                    </a:ext>
                  </a:extLst>
                </p:cNvPr>
                <p:cNvSpPr/>
                <p:nvPr/>
              </p:nvSpPr>
              <p:spPr>
                <a:xfrm>
                  <a:off x="3125834" y="5697112"/>
                  <a:ext cx="66107" cy="65672"/>
                </a:xfrm>
                <a:custGeom>
                  <a:avLst/>
                  <a:gdLst>
                    <a:gd name="connsiteX0" fmla="*/ 127377 w 167837"/>
                    <a:gd name="connsiteY0" fmla="*/ 34774 h 167837"/>
                    <a:gd name="connsiteX1" fmla="*/ 104999 w 167837"/>
                    <a:gd name="connsiteY1" fmla="*/ 27315 h 167837"/>
                    <a:gd name="connsiteX2" fmla="*/ 99405 w 167837"/>
                    <a:gd name="connsiteY2" fmla="*/ 27315 h 167837"/>
                    <a:gd name="connsiteX3" fmla="*/ 77026 w 167837"/>
                    <a:gd name="connsiteY3" fmla="*/ 40369 h 167837"/>
                    <a:gd name="connsiteX4" fmla="*/ 30405 w 167837"/>
                    <a:gd name="connsiteY4" fmla="*/ 107504 h 167837"/>
                    <a:gd name="connsiteX5" fmla="*/ 28540 w 167837"/>
                    <a:gd name="connsiteY5" fmla="*/ 131747 h 167837"/>
                    <a:gd name="connsiteX6" fmla="*/ 49053 w 167837"/>
                    <a:gd name="connsiteY6" fmla="*/ 154125 h 167837"/>
                    <a:gd name="connsiteX7" fmla="*/ 91945 w 167837"/>
                    <a:gd name="connsiteY7" fmla="*/ 141071 h 167837"/>
                    <a:gd name="connsiteX8" fmla="*/ 132972 w 167837"/>
                    <a:gd name="connsiteY8" fmla="*/ 81396 h 167837"/>
                    <a:gd name="connsiteX9" fmla="*/ 127377 w 167837"/>
                    <a:gd name="connsiteY9" fmla="*/ 34774 h 16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37" h="167837">
                      <a:moveTo>
                        <a:pt x="127377" y="34774"/>
                      </a:moveTo>
                      <a:cubicBezTo>
                        <a:pt x="119918" y="29180"/>
                        <a:pt x="112459" y="27315"/>
                        <a:pt x="104999" y="27315"/>
                      </a:cubicBezTo>
                      <a:cubicBezTo>
                        <a:pt x="103134" y="27315"/>
                        <a:pt x="101269" y="27315"/>
                        <a:pt x="99405" y="27315"/>
                      </a:cubicBezTo>
                      <a:cubicBezTo>
                        <a:pt x="90080" y="29180"/>
                        <a:pt x="82621" y="32909"/>
                        <a:pt x="77026" y="40369"/>
                      </a:cubicBezTo>
                      <a:lnTo>
                        <a:pt x="30405" y="107504"/>
                      </a:lnTo>
                      <a:cubicBezTo>
                        <a:pt x="26675" y="114963"/>
                        <a:pt x="26675" y="124288"/>
                        <a:pt x="28540" y="131747"/>
                      </a:cubicBezTo>
                      <a:cubicBezTo>
                        <a:pt x="32269" y="142936"/>
                        <a:pt x="39729" y="150396"/>
                        <a:pt x="49053" y="154125"/>
                      </a:cubicBezTo>
                      <a:cubicBezTo>
                        <a:pt x="63972" y="159720"/>
                        <a:pt x="82621" y="155990"/>
                        <a:pt x="91945" y="141071"/>
                      </a:cubicBezTo>
                      <a:lnTo>
                        <a:pt x="132972" y="81396"/>
                      </a:lnTo>
                      <a:cubicBezTo>
                        <a:pt x="146026" y="68342"/>
                        <a:pt x="142296" y="45963"/>
                        <a:pt x="127377" y="34774"/>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2" name="Freeform: Shape 101">
                  <a:extLst>
                    <a:ext uri="{FF2B5EF4-FFF2-40B4-BE49-F238E27FC236}">
                      <a16:creationId xmlns:a16="http://schemas.microsoft.com/office/drawing/2014/main" id="{5D14C9F3-F8F4-4B22-A4FC-D1069BAC2881}"/>
                    </a:ext>
                  </a:extLst>
                </p:cNvPr>
                <p:cNvSpPr/>
                <p:nvPr/>
              </p:nvSpPr>
              <p:spPr>
                <a:xfrm>
                  <a:off x="3078505" y="5651869"/>
                  <a:ext cx="88145" cy="102158"/>
                </a:xfrm>
                <a:custGeom>
                  <a:avLst/>
                  <a:gdLst>
                    <a:gd name="connsiteX0" fmla="*/ 167348 w 223783"/>
                    <a:gd name="connsiteY0" fmla="*/ 133612 h 261080"/>
                    <a:gd name="connsiteX1" fmla="*/ 193456 w 223783"/>
                    <a:gd name="connsiteY1" fmla="*/ 96315 h 261080"/>
                    <a:gd name="connsiteX2" fmla="*/ 184131 w 223783"/>
                    <a:gd name="connsiteY2" fmla="*/ 36639 h 261080"/>
                    <a:gd name="connsiteX3" fmla="*/ 156159 w 223783"/>
                    <a:gd name="connsiteY3" fmla="*/ 27315 h 261080"/>
                    <a:gd name="connsiteX4" fmla="*/ 150564 w 223783"/>
                    <a:gd name="connsiteY4" fmla="*/ 27315 h 261080"/>
                    <a:gd name="connsiteX5" fmla="*/ 120726 w 223783"/>
                    <a:gd name="connsiteY5" fmla="*/ 44098 h 261080"/>
                    <a:gd name="connsiteX6" fmla="*/ 31213 w 223783"/>
                    <a:gd name="connsiteY6" fmla="*/ 174639 h 261080"/>
                    <a:gd name="connsiteX7" fmla="*/ 29348 w 223783"/>
                    <a:gd name="connsiteY7" fmla="*/ 202612 h 261080"/>
                    <a:gd name="connsiteX8" fmla="*/ 51726 w 223783"/>
                    <a:gd name="connsiteY8" fmla="*/ 230585 h 261080"/>
                    <a:gd name="connsiteX9" fmla="*/ 109537 w 223783"/>
                    <a:gd name="connsiteY9" fmla="*/ 217531 h 261080"/>
                    <a:gd name="connsiteX10" fmla="*/ 122591 w 223783"/>
                    <a:gd name="connsiteY10" fmla="*/ 198882 h 261080"/>
                    <a:gd name="connsiteX11" fmla="*/ 126321 w 223783"/>
                    <a:gd name="connsiteY11" fmla="*/ 193288 h 261080"/>
                    <a:gd name="connsiteX12" fmla="*/ 167348 w 223783"/>
                    <a:gd name="connsiteY12" fmla="*/ 133612 h 261080"/>
                    <a:gd name="connsiteX13" fmla="*/ 167348 w 223783"/>
                    <a:gd name="connsiteY13" fmla="*/ 133612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783" h="261080">
                      <a:moveTo>
                        <a:pt x="167348" y="133612"/>
                      </a:moveTo>
                      <a:lnTo>
                        <a:pt x="193456" y="96315"/>
                      </a:lnTo>
                      <a:cubicBezTo>
                        <a:pt x="206510" y="77666"/>
                        <a:pt x="202780" y="51558"/>
                        <a:pt x="184131" y="36639"/>
                      </a:cubicBezTo>
                      <a:cubicBezTo>
                        <a:pt x="176672" y="31044"/>
                        <a:pt x="167348" y="27315"/>
                        <a:pt x="156159" y="27315"/>
                      </a:cubicBezTo>
                      <a:cubicBezTo>
                        <a:pt x="154294" y="27315"/>
                        <a:pt x="152429" y="27315"/>
                        <a:pt x="150564" y="27315"/>
                      </a:cubicBezTo>
                      <a:cubicBezTo>
                        <a:pt x="139375" y="29180"/>
                        <a:pt x="128186" y="34774"/>
                        <a:pt x="120726" y="44098"/>
                      </a:cubicBezTo>
                      <a:lnTo>
                        <a:pt x="31213" y="174639"/>
                      </a:lnTo>
                      <a:cubicBezTo>
                        <a:pt x="27483" y="183963"/>
                        <a:pt x="25618" y="193288"/>
                        <a:pt x="29348" y="202612"/>
                      </a:cubicBezTo>
                      <a:cubicBezTo>
                        <a:pt x="33078" y="215666"/>
                        <a:pt x="40537" y="224990"/>
                        <a:pt x="51726" y="230585"/>
                      </a:cubicBezTo>
                      <a:cubicBezTo>
                        <a:pt x="72240" y="241774"/>
                        <a:pt x="96483" y="236179"/>
                        <a:pt x="109537" y="217531"/>
                      </a:cubicBezTo>
                      <a:lnTo>
                        <a:pt x="122591" y="198882"/>
                      </a:lnTo>
                      <a:cubicBezTo>
                        <a:pt x="124456" y="197017"/>
                        <a:pt x="124456" y="195152"/>
                        <a:pt x="126321" y="193288"/>
                      </a:cubicBezTo>
                      <a:lnTo>
                        <a:pt x="167348" y="133612"/>
                      </a:lnTo>
                      <a:cubicBezTo>
                        <a:pt x="165483" y="135477"/>
                        <a:pt x="167348" y="135477"/>
                        <a:pt x="167348" y="133612"/>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02667CEF-732B-4CD6-8460-75BC1F03E6DF}"/>
                    </a:ext>
                  </a:extLst>
                </p:cNvPr>
                <p:cNvSpPr/>
                <p:nvPr/>
              </p:nvSpPr>
              <p:spPr>
                <a:xfrm>
                  <a:off x="2975714" y="5449897"/>
                  <a:ext cx="433375" cy="313772"/>
                </a:xfrm>
                <a:custGeom>
                  <a:avLst/>
                  <a:gdLst>
                    <a:gd name="connsiteX0" fmla="*/ 1047453 w 1100269"/>
                    <a:gd name="connsiteY0" fmla="*/ 448377 h 801890"/>
                    <a:gd name="connsiteX1" fmla="*/ 607345 w 1100269"/>
                    <a:gd name="connsiteY1" fmla="*/ 163053 h 801890"/>
                    <a:gd name="connsiteX2" fmla="*/ 577508 w 1100269"/>
                    <a:gd name="connsiteY2" fmla="*/ 161188 h 801890"/>
                    <a:gd name="connsiteX3" fmla="*/ 376102 w 1100269"/>
                    <a:gd name="connsiteY3" fmla="*/ 267485 h 801890"/>
                    <a:gd name="connsiteX4" fmla="*/ 305237 w 1100269"/>
                    <a:gd name="connsiteY4" fmla="*/ 265620 h 801890"/>
                    <a:gd name="connsiteX5" fmla="*/ 275400 w 1100269"/>
                    <a:gd name="connsiteY5" fmla="*/ 205944 h 801890"/>
                    <a:gd name="connsiteX6" fmla="*/ 290319 w 1100269"/>
                    <a:gd name="connsiteY6" fmla="*/ 168647 h 801890"/>
                    <a:gd name="connsiteX7" fmla="*/ 372373 w 1100269"/>
                    <a:gd name="connsiteY7" fmla="*/ 62350 h 801890"/>
                    <a:gd name="connsiteX8" fmla="*/ 284724 w 1100269"/>
                    <a:gd name="connsiteY8" fmla="*/ 49296 h 801890"/>
                    <a:gd name="connsiteX9" fmla="*/ 264210 w 1100269"/>
                    <a:gd name="connsiteY9" fmla="*/ 41836 h 801890"/>
                    <a:gd name="connsiteX10" fmla="*/ 245562 w 1100269"/>
                    <a:gd name="connsiteY10" fmla="*/ 32512 h 801890"/>
                    <a:gd name="connsiteX11" fmla="*/ 180292 w 1100269"/>
                    <a:gd name="connsiteY11" fmla="*/ 49296 h 801890"/>
                    <a:gd name="connsiteX12" fmla="*/ 34832 w 1100269"/>
                    <a:gd name="connsiteY12" fmla="*/ 278674 h 801890"/>
                    <a:gd name="connsiteX13" fmla="*/ 36697 w 1100269"/>
                    <a:gd name="connsiteY13" fmla="*/ 334620 h 801890"/>
                    <a:gd name="connsiteX14" fmla="*/ 113157 w 1100269"/>
                    <a:gd name="connsiteY14" fmla="*/ 435323 h 801890"/>
                    <a:gd name="connsiteX15" fmla="*/ 122481 w 1100269"/>
                    <a:gd name="connsiteY15" fmla="*/ 435323 h 801890"/>
                    <a:gd name="connsiteX16" fmla="*/ 223183 w 1100269"/>
                    <a:gd name="connsiteY16" fmla="*/ 422268 h 801890"/>
                    <a:gd name="connsiteX17" fmla="*/ 251156 w 1100269"/>
                    <a:gd name="connsiteY17" fmla="*/ 450241 h 801890"/>
                    <a:gd name="connsiteX18" fmla="*/ 260481 w 1100269"/>
                    <a:gd name="connsiteY18" fmla="*/ 450241 h 801890"/>
                    <a:gd name="connsiteX19" fmla="*/ 260481 w 1100269"/>
                    <a:gd name="connsiteY19" fmla="*/ 450241 h 801890"/>
                    <a:gd name="connsiteX20" fmla="*/ 366778 w 1100269"/>
                    <a:gd name="connsiteY20" fmla="*/ 420404 h 801890"/>
                    <a:gd name="connsiteX21" fmla="*/ 409670 w 1100269"/>
                    <a:gd name="connsiteY21" fmla="*/ 476349 h 801890"/>
                    <a:gd name="connsiteX22" fmla="*/ 411535 w 1100269"/>
                    <a:gd name="connsiteY22" fmla="*/ 500593 h 801890"/>
                    <a:gd name="connsiteX23" fmla="*/ 417129 w 1100269"/>
                    <a:gd name="connsiteY23" fmla="*/ 506187 h 801890"/>
                    <a:gd name="connsiteX24" fmla="*/ 469345 w 1100269"/>
                    <a:gd name="connsiteY24" fmla="*/ 524836 h 801890"/>
                    <a:gd name="connsiteX25" fmla="*/ 495454 w 1100269"/>
                    <a:gd name="connsiteY25" fmla="*/ 614349 h 801890"/>
                    <a:gd name="connsiteX26" fmla="*/ 499183 w 1100269"/>
                    <a:gd name="connsiteY26" fmla="*/ 621809 h 801890"/>
                    <a:gd name="connsiteX27" fmla="*/ 556994 w 1100269"/>
                    <a:gd name="connsiteY27" fmla="*/ 672160 h 801890"/>
                    <a:gd name="connsiteX28" fmla="*/ 545805 w 1100269"/>
                    <a:gd name="connsiteY28" fmla="*/ 737430 h 801890"/>
                    <a:gd name="connsiteX29" fmla="*/ 536481 w 1100269"/>
                    <a:gd name="connsiteY29" fmla="*/ 750484 h 801890"/>
                    <a:gd name="connsiteX30" fmla="*/ 540210 w 1100269"/>
                    <a:gd name="connsiteY30" fmla="*/ 759809 h 801890"/>
                    <a:gd name="connsiteX31" fmla="*/ 653967 w 1100269"/>
                    <a:gd name="connsiteY31" fmla="*/ 776592 h 801890"/>
                    <a:gd name="connsiteX32" fmla="*/ 726697 w 1100269"/>
                    <a:gd name="connsiteY32" fmla="*/ 767268 h 801890"/>
                    <a:gd name="connsiteX33" fmla="*/ 726697 w 1100269"/>
                    <a:gd name="connsiteY33" fmla="*/ 733701 h 801890"/>
                    <a:gd name="connsiteX34" fmla="*/ 624129 w 1100269"/>
                    <a:gd name="connsiteY34" fmla="*/ 681484 h 801890"/>
                    <a:gd name="connsiteX35" fmla="*/ 616670 w 1100269"/>
                    <a:gd name="connsiteY35" fmla="*/ 657241 h 801890"/>
                    <a:gd name="connsiteX36" fmla="*/ 640913 w 1100269"/>
                    <a:gd name="connsiteY36" fmla="*/ 649782 h 801890"/>
                    <a:gd name="connsiteX37" fmla="*/ 782643 w 1100269"/>
                    <a:gd name="connsiteY37" fmla="*/ 722511 h 801890"/>
                    <a:gd name="connsiteX38" fmla="*/ 853507 w 1100269"/>
                    <a:gd name="connsiteY38" fmla="*/ 703863 h 801890"/>
                    <a:gd name="connsiteX39" fmla="*/ 860967 w 1100269"/>
                    <a:gd name="connsiteY39" fmla="*/ 675890 h 801890"/>
                    <a:gd name="connsiteX40" fmla="*/ 844183 w 1100269"/>
                    <a:gd name="connsiteY40" fmla="*/ 653511 h 801890"/>
                    <a:gd name="connsiteX41" fmla="*/ 810615 w 1100269"/>
                    <a:gd name="connsiteY41" fmla="*/ 632998 h 801890"/>
                    <a:gd name="connsiteX42" fmla="*/ 676345 w 1100269"/>
                    <a:gd name="connsiteY42" fmla="*/ 560268 h 801890"/>
                    <a:gd name="connsiteX43" fmla="*/ 668886 w 1100269"/>
                    <a:gd name="connsiteY43" fmla="*/ 534160 h 801890"/>
                    <a:gd name="connsiteX44" fmla="*/ 694994 w 1100269"/>
                    <a:gd name="connsiteY44" fmla="*/ 526701 h 801890"/>
                    <a:gd name="connsiteX45" fmla="*/ 881480 w 1100269"/>
                    <a:gd name="connsiteY45" fmla="*/ 627403 h 801890"/>
                    <a:gd name="connsiteX46" fmla="*/ 959805 w 1100269"/>
                    <a:gd name="connsiteY46" fmla="*/ 606890 h 801890"/>
                    <a:gd name="connsiteX47" fmla="*/ 965399 w 1100269"/>
                    <a:gd name="connsiteY47" fmla="*/ 578917 h 801890"/>
                    <a:gd name="connsiteX48" fmla="*/ 948615 w 1100269"/>
                    <a:gd name="connsiteY48" fmla="*/ 554674 h 801890"/>
                    <a:gd name="connsiteX49" fmla="*/ 935561 w 1100269"/>
                    <a:gd name="connsiteY49" fmla="*/ 547214 h 801890"/>
                    <a:gd name="connsiteX50" fmla="*/ 736021 w 1100269"/>
                    <a:gd name="connsiteY50" fmla="*/ 427863 h 801890"/>
                    <a:gd name="connsiteX51" fmla="*/ 730426 w 1100269"/>
                    <a:gd name="connsiteY51" fmla="*/ 401755 h 801890"/>
                    <a:gd name="connsiteX52" fmla="*/ 756534 w 1100269"/>
                    <a:gd name="connsiteY52" fmla="*/ 396160 h 801890"/>
                    <a:gd name="connsiteX53" fmla="*/ 946751 w 1100269"/>
                    <a:gd name="connsiteY53" fmla="*/ 509917 h 801890"/>
                    <a:gd name="connsiteX54" fmla="*/ 946751 w 1100269"/>
                    <a:gd name="connsiteY54" fmla="*/ 509917 h 801890"/>
                    <a:gd name="connsiteX55" fmla="*/ 956075 w 1100269"/>
                    <a:gd name="connsiteY55" fmla="*/ 515512 h 801890"/>
                    <a:gd name="connsiteX56" fmla="*/ 991507 w 1100269"/>
                    <a:gd name="connsiteY56" fmla="*/ 536025 h 801890"/>
                    <a:gd name="connsiteX57" fmla="*/ 1066102 w 1100269"/>
                    <a:gd name="connsiteY57" fmla="*/ 519241 h 801890"/>
                    <a:gd name="connsiteX58" fmla="*/ 1071696 w 1100269"/>
                    <a:gd name="connsiteY58" fmla="*/ 481944 h 801890"/>
                    <a:gd name="connsiteX59" fmla="*/ 1047453 w 1100269"/>
                    <a:gd name="connsiteY59" fmla="*/ 448377 h 80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00269" h="801890">
                      <a:moveTo>
                        <a:pt x="1047453" y="448377"/>
                      </a:moveTo>
                      <a:lnTo>
                        <a:pt x="607345" y="163053"/>
                      </a:lnTo>
                      <a:cubicBezTo>
                        <a:pt x="598021" y="157458"/>
                        <a:pt x="586832" y="157458"/>
                        <a:pt x="577508" y="161188"/>
                      </a:cubicBezTo>
                      <a:lnTo>
                        <a:pt x="376102" y="267485"/>
                      </a:lnTo>
                      <a:cubicBezTo>
                        <a:pt x="353724" y="278674"/>
                        <a:pt x="325751" y="278674"/>
                        <a:pt x="305237" y="265620"/>
                      </a:cubicBezTo>
                      <a:cubicBezTo>
                        <a:pt x="284724" y="252566"/>
                        <a:pt x="273535" y="230188"/>
                        <a:pt x="275400" y="205944"/>
                      </a:cubicBezTo>
                      <a:cubicBezTo>
                        <a:pt x="275400" y="192890"/>
                        <a:pt x="282859" y="177971"/>
                        <a:pt x="290319" y="168647"/>
                      </a:cubicBezTo>
                      <a:lnTo>
                        <a:pt x="372373" y="62350"/>
                      </a:lnTo>
                      <a:lnTo>
                        <a:pt x="284724" y="49296"/>
                      </a:lnTo>
                      <a:cubicBezTo>
                        <a:pt x="277265" y="47431"/>
                        <a:pt x="271670" y="45566"/>
                        <a:pt x="264210" y="41836"/>
                      </a:cubicBezTo>
                      <a:lnTo>
                        <a:pt x="245562" y="32512"/>
                      </a:lnTo>
                      <a:cubicBezTo>
                        <a:pt x="223183" y="21323"/>
                        <a:pt x="195211" y="28782"/>
                        <a:pt x="180292" y="49296"/>
                      </a:cubicBezTo>
                      <a:lnTo>
                        <a:pt x="34832" y="278674"/>
                      </a:lnTo>
                      <a:cubicBezTo>
                        <a:pt x="23643" y="295458"/>
                        <a:pt x="25508" y="319701"/>
                        <a:pt x="36697" y="334620"/>
                      </a:cubicBezTo>
                      <a:lnTo>
                        <a:pt x="113157" y="435323"/>
                      </a:lnTo>
                      <a:cubicBezTo>
                        <a:pt x="115021" y="439052"/>
                        <a:pt x="118751" y="439052"/>
                        <a:pt x="122481" y="435323"/>
                      </a:cubicBezTo>
                      <a:cubicBezTo>
                        <a:pt x="148589" y="407350"/>
                        <a:pt x="189616" y="401755"/>
                        <a:pt x="223183" y="422268"/>
                      </a:cubicBezTo>
                      <a:cubicBezTo>
                        <a:pt x="234373" y="429728"/>
                        <a:pt x="243697" y="439052"/>
                        <a:pt x="251156" y="450241"/>
                      </a:cubicBezTo>
                      <a:cubicBezTo>
                        <a:pt x="253021" y="453971"/>
                        <a:pt x="258616" y="453971"/>
                        <a:pt x="260481" y="450241"/>
                      </a:cubicBezTo>
                      <a:lnTo>
                        <a:pt x="260481" y="450241"/>
                      </a:lnTo>
                      <a:cubicBezTo>
                        <a:pt x="284724" y="416674"/>
                        <a:pt x="329481" y="401755"/>
                        <a:pt x="366778" y="420404"/>
                      </a:cubicBezTo>
                      <a:cubicBezTo>
                        <a:pt x="389156" y="431593"/>
                        <a:pt x="404075" y="452106"/>
                        <a:pt x="409670" y="476349"/>
                      </a:cubicBezTo>
                      <a:cubicBezTo>
                        <a:pt x="411535" y="483809"/>
                        <a:pt x="411535" y="491268"/>
                        <a:pt x="411535" y="500593"/>
                      </a:cubicBezTo>
                      <a:cubicBezTo>
                        <a:pt x="411535" y="504322"/>
                        <a:pt x="413400" y="506187"/>
                        <a:pt x="417129" y="506187"/>
                      </a:cubicBezTo>
                      <a:cubicBezTo>
                        <a:pt x="435778" y="506187"/>
                        <a:pt x="454427" y="511782"/>
                        <a:pt x="469345" y="524836"/>
                      </a:cubicBezTo>
                      <a:cubicBezTo>
                        <a:pt x="495454" y="547214"/>
                        <a:pt x="506643" y="582647"/>
                        <a:pt x="495454" y="614349"/>
                      </a:cubicBezTo>
                      <a:cubicBezTo>
                        <a:pt x="493589" y="618079"/>
                        <a:pt x="495454" y="621809"/>
                        <a:pt x="499183" y="621809"/>
                      </a:cubicBezTo>
                      <a:cubicBezTo>
                        <a:pt x="525291" y="625539"/>
                        <a:pt x="547670" y="644187"/>
                        <a:pt x="556994" y="672160"/>
                      </a:cubicBezTo>
                      <a:cubicBezTo>
                        <a:pt x="564453" y="694538"/>
                        <a:pt x="558859" y="718782"/>
                        <a:pt x="545805" y="737430"/>
                      </a:cubicBezTo>
                      <a:lnTo>
                        <a:pt x="536481" y="750484"/>
                      </a:lnTo>
                      <a:cubicBezTo>
                        <a:pt x="534616" y="754214"/>
                        <a:pt x="536481" y="759809"/>
                        <a:pt x="540210" y="759809"/>
                      </a:cubicBezTo>
                      <a:lnTo>
                        <a:pt x="653967" y="776592"/>
                      </a:lnTo>
                      <a:cubicBezTo>
                        <a:pt x="678210" y="780322"/>
                        <a:pt x="704318" y="776592"/>
                        <a:pt x="726697" y="767268"/>
                      </a:cubicBezTo>
                      <a:cubicBezTo>
                        <a:pt x="741616" y="761674"/>
                        <a:pt x="741616" y="741160"/>
                        <a:pt x="726697" y="733701"/>
                      </a:cubicBezTo>
                      <a:lnTo>
                        <a:pt x="624129" y="681484"/>
                      </a:lnTo>
                      <a:cubicBezTo>
                        <a:pt x="614805" y="675890"/>
                        <a:pt x="611075" y="664701"/>
                        <a:pt x="616670" y="657241"/>
                      </a:cubicBezTo>
                      <a:cubicBezTo>
                        <a:pt x="622264" y="647917"/>
                        <a:pt x="633453" y="644187"/>
                        <a:pt x="640913" y="649782"/>
                      </a:cubicBezTo>
                      <a:lnTo>
                        <a:pt x="782643" y="722511"/>
                      </a:lnTo>
                      <a:cubicBezTo>
                        <a:pt x="808751" y="735565"/>
                        <a:pt x="838588" y="726241"/>
                        <a:pt x="853507" y="703863"/>
                      </a:cubicBezTo>
                      <a:cubicBezTo>
                        <a:pt x="860967" y="694538"/>
                        <a:pt x="862832" y="685214"/>
                        <a:pt x="860967" y="675890"/>
                      </a:cubicBezTo>
                      <a:cubicBezTo>
                        <a:pt x="859102" y="666566"/>
                        <a:pt x="853507" y="657241"/>
                        <a:pt x="844183" y="653511"/>
                      </a:cubicBezTo>
                      <a:lnTo>
                        <a:pt x="810615" y="632998"/>
                      </a:lnTo>
                      <a:lnTo>
                        <a:pt x="676345" y="560268"/>
                      </a:lnTo>
                      <a:cubicBezTo>
                        <a:pt x="667021" y="554674"/>
                        <a:pt x="663291" y="543485"/>
                        <a:pt x="668886" y="534160"/>
                      </a:cubicBezTo>
                      <a:cubicBezTo>
                        <a:pt x="674480" y="524836"/>
                        <a:pt x="685670" y="521106"/>
                        <a:pt x="694994" y="526701"/>
                      </a:cubicBezTo>
                      <a:lnTo>
                        <a:pt x="881480" y="627403"/>
                      </a:lnTo>
                      <a:cubicBezTo>
                        <a:pt x="909453" y="642322"/>
                        <a:pt x="943021" y="632998"/>
                        <a:pt x="959805" y="606890"/>
                      </a:cubicBezTo>
                      <a:cubicBezTo>
                        <a:pt x="965399" y="597566"/>
                        <a:pt x="967264" y="588241"/>
                        <a:pt x="965399" y="578917"/>
                      </a:cubicBezTo>
                      <a:cubicBezTo>
                        <a:pt x="963534" y="569593"/>
                        <a:pt x="957940" y="560268"/>
                        <a:pt x="948615" y="554674"/>
                      </a:cubicBezTo>
                      <a:lnTo>
                        <a:pt x="935561" y="547214"/>
                      </a:lnTo>
                      <a:lnTo>
                        <a:pt x="736021" y="427863"/>
                      </a:lnTo>
                      <a:cubicBezTo>
                        <a:pt x="726697" y="422268"/>
                        <a:pt x="724832" y="411079"/>
                        <a:pt x="730426" y="401755"/>
                      </a:cubicBezTo>
                      <a:cubicBezTo>
                        <a:pt x="736021" y="392431"/>
                        <a:pt x="747210" y="390566"/>
                        <a:pt x="756534" y="396160"/>
                      </a:cubicBezTo>
                      <a:lnTo>
                        <a:pt x="946751" y="509917"/>
                      </a:lnTo>
                      <a:cubicBezTo>
                        <a:pt x="946751" y="509917"/>
                        <a:pt x="946751" y="509917"/>
                        <a:pt x="946751" y="509917"/>
                      </a:cubicBezTo>
                      <a:lnTo>
                        <a:pt x="956075" y="515512"/>
                      </a:lnTo>
                      <a:lnTo>
                        <a:pt x="991507" y="536025"/>
                      </a:lnTo>
                      <a:cubicBezTo>
                        <a:pt x="1015750" y="550944"/>
                        <a:pt x="1051183" y="543485"/>
                        <a:pt x="1066102" y="519241"/>
                      </a:cubicBezTo>
                      <a:cubicBezTo>
                        <a:pt x="1073561" y="508052"/>
                        <a:pt x="1075426" y="494998"/>
                        <a:pt x="1071696" y="481944"/>
                      </a:cubicBezTo>
                      <a:cubicBezTo>
                        <a:pt x="1067967" y="468890"/>
                        <a:pt x="1060507" y="455836"/>
                        <a:pt x="1047453" y="448377"/>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3" name="Freeform: Shape 122">
                  <a:extLst>
                    <a:ext uri="{FF2B5EF4-FFF2-40B4-BE49-F238E27FC236}">
                      <a16:creationId xmlns:a16="http://schemas.microsoft.com/office/drawing/2014/main" id="{5C71068A-EC37-4386-B8BA-875139B2EC32}"/>
                    </a:ext>
                  </a:extLst>
                </p:cNvPr>
                <p:cNvSpPr/>
                <p:nvPr/>
              </p:nvSpPr>
              <p:spPr>
                <a:xfrm>
                  <a:off x="2996979" y="5613924"/>
                  <a:ext cx="73452" cy="80267"/>
                </a:xfrm>
                <a:custGeom>
                  <a:avLst/>
                  <a:gdLst>
                    <a:gd name="connsiteX0" fmla="*/ 169200 w 186486"/>
                    <a:gd name="connsiteY0" fmla="*/ 62747 h 205134"/>
                    <a:gd name="connsiteX1" fmla="*/ 148686 w 186486"/>
                    <a:gd name="connsiteY1" fmla="*/ 34774 h 205134"/>
                    <a:gd name="connsiteX2" fmla="*/ 124443 w 186486"/>
                    <a:gd name="connsiteY2" fmla="*/ 27315 h 205134"/>
                    <a:gd name="connsiteX3" fmla="*/ 89011 w 186486"/>
                    <a:gd name="connsiteY3" fmla="*/ 45963 h 205134"/>
                    <a:gd name="connsiteX4" fmla="*/ 34930 w 186486"/>
                    <a:gd name="connsiteY4" fmla="*/ 122423 h 205134"/>
                    <a:gd name="connsiteX5" fmla="*/ 46119 w 186486"/>
                    <a:gd name="connsiteY5" fmla="*/ 182098 h 205134"/>
                    <a:gd name="connsiteX6" fmla="*/ 47984 w 186486"/>
                    <a:gd name="connsiteY6" fmla="*/ 183963 h 205134"/>
                    <a:gd name="connsiteX7" fmla="*/ 79686 w 186486"/>
                    <a:gd name="connsiteY7" fmla="*/ 191423 h 205134"/>
                    <a:gd name="connsiteX8" fmla="*/ 105794 w 186486"/>
                    <a:gd name="connsiteY8" fmla="*/ 176504 h 205134"/>
                    <a:gd name="connsiteX9" fmla="*/ 161740 w 186486"/>
                    <a:gd name="connsiteY9" fmla="*/ 94450 h 205134"/>
                    <a:gd name="connsiteX10" fmla="*/ 169200 w 186486"/>
                    <a:gd name="connsiteY10" fmla="*/ 62747 h 20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86" h="205134">
                      <a:moveTo>
                        <a:pt x="169200" y="62747"/>
                      </a:moveTo>
                      <a:cubicBezTo>
                        <a:pt x="167335" y="51558"/>
                        <a:pt x="159875" y="40369"/>
                        <a:pt x="148686" y="34774"/>
                      </a:cubicBezTo>
                      <a:cubicBezTo>
                        <a:pt x="141227" y="31044"/>
                        <a:pt x="133767" y="27315"/>
                        <a:pt x="124443" y="27315"/>
                      </a:cubicBezTo>
                      <a:cubicBezTo>
                        <a:pt x="111389" y="27315"/>
                        <a:pt x="98335" y="32909"/>
                        <a:pt x="89011" y="45963"/>
                      </a:cubicBezTo>
                      <a:lnTo>
                        <a:pt x="34930" y="122423"/>
                      </a:lnTo>
                      <a:cubicBezTo>
                        <a:pt x="21876" y="141071"/>
                        <a:pt x="25605" y="169044"/>
                        <a:pt x="46119" y="182098"/>
                      </a:cubicBezTo>
                      <a:lnTo>
                        <a:pt x="47984" y="183963"/>
                      </a:lnTo>
                      <a:cubicBezTo>
                        <a:pt x="57308" y="191423"/>
                        <a:pt x="68497" y="193288"/>
                        <a:pt x="79686" y="191423"/>
                      </a:cubicBezTo>
                      <a:cubicBezTo>
                        <a:pt x="89011" y="189558"/>
                        <a:pt x="98335" y="183963"/>
                        <a:pt x="105794" y="176504"/>
                      </a:cubicBezTo>
                      <a:lnTo>
                        <a:pt x="161740" y="94450"/>
                      </a:lnTo>
                      <a:cubicBezTo>
                        <a:pt x="169200" y="83261"/>
                        <a:pt x="171065" y="73936"/>
                        <a:pt x="169200" y="62747"/>
                      </a:cubicBezTo>
                      <a:close/>
                    </a:path>
                  </a:pathLst>
                </a:custGeom>
                <a:solidFill>
                  <a:srgbClr val="50505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4" name="Freeform: Shape 123">
                  <a:extLst>
                    <a:ext uri="{FF2B5EF4-FFF2-40B4-BE49-F238E27FC236}">
                      <a16:creationId xmlns:a16="http://schemas.microsoft.com/office/drawing/2014/main" id="{4DECCD11-0461-43AE-9861-2FA0FF8125BF}"/>
                    </a:ext>
                  </a:extLst>
                </p:cNvPr>
                <p:cNvSpPr/>
                <p:nvPr/>
              </p:nvSpPr>
              <p:spPr>
                <a:xfrm>
                  <a:off x="2891208" y="5384741"/>
                  <a:ext cx="161598" cy="197019"/>
                </a:xfrm>
                <a:custGeom>
                  <a:avLst/>
                  <a:gdLst>
                    <a:gd name="connsiteX0" fmla="*/ 383650 w 410269"/>
                    <a:gd name="connsiteY0" fmla="*/ 89002 h 503512"/>
                    <a:gd name="connsiteX1" fmla="*/ 294137 w 410269"/>
                    <a:gd name="connsiteY1" fmla="*/ 33056 h 503512"/>
                    <a:gd name="connsiteX2" fmla="*/ 240056 w 410269"/>
                    <a:gd name="connsiteY2" fmla="*/ 46110 h 503512"/>
                    <a:gd name="connsiteX3" fmla="*/ 33056 w 410269"/>
                    <a:gd name="connsiteY3" fmla="*/ 372461 h 503512"/>
                    <a:gd name="connsiteX4" fmla="*/ 46110 w 410269"/>
                    <a:gd name="connsiteY4" fmla="*/ 426542 h 503512"/>
                    <a:gd name="connsiteX5" fmla="*/ 135623 w 410269"/>
                    <a:gd name="connsiteY5" fmla="*/ 482488 h 503512"/>
                    <a:gd name="connsiteX6" fmla="*/ 189704 w 410269"/>
                    <a:gd name="connsiteY6" fmla="*/ 469434 h 503512"/>
                    <a:gd name="connsiteX7" fmla="*/ 394839 w 410269"/>
                    <a:gd name="connsiteY7" fmla="*/ 143083 h 503512"/>
                    <a:gd name="connsiteX8" fmla="*/ 383650 w 410269"/>
                    <a:gd name="connsiteY8" fmla="*/ 89002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269" h="503512">
                      <a:moveTo>
                        <a:pt x="383650" y="89002"/>
                      </a:moveTo>
                      <a:lnTo>
                        <a:pt x="294137" y="33056"/>
                      </a:lnTo>
                      <a:cubicBezTo>
                        <a:pt x="275488" y="21867"/>
                        <a:pt x="251245" y="27461"/>
                        <a:pt x="240056" y="46110"/>
                      </a:cubicBezTo>
                      <a:lnTo>
                        <a:pt x="33056" y="372461"/>
                      </a:lnTo>
                      <a:cubicBezTo>
                        <a:pt x="21867" y="391109"/>
                        <a:pt x="27461" y="415353"/>
                        <a:pt x="46110" y="426542"/>
                      </a:cubicBezTo>
                      <a:lnTo>
                        <a:pt x="135623" y="482488"/>
                      </a:lnTo>
                      <a:cubicBezTo>
                        <a:pt x="154272" y="493677"/>
                        <a:pt x="178515" y="488082"/>
                        <a:pt x="189704" y="469434"/>
                      </a:cubicBezTo>
                      <a:lnTo>
                        <a:pt x="394839" y="143083"/>
                      </a:lnTo>
                      <a:cubicBezTo>
                        <a:pt x="406029" y="124434"/>
                        <a:pt x="400434" y="100191"/>
                        <a:pt x="383650" y="89002"/>
                      </a:cubicBezTo>
                      <a:close/>
                    </a:path>
                  </a:pathLst>
                </a:custGeom>
                <a:solidFill>
                  <a:srgbClr val="30E5D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bold"/>
                    <a:ea typeface="+mn-ea"/>
                    <a:cs typeface="+mn-cs"/>
                  </a:endParaRPr>
                </a:p>
              </p:txBody>
            </p:sp>
          </p:grpSp>
        </p:grpSp>
        <p:sp>
          <p:nvSpPr>
            <p:cNvPr id="158" name="Oval 157">
              <a:extLst>
                <a:ext uri="{FF2B5EF4-FFF2-40B4-BE49-F238E27FC236}">
                  <a16:creationId xmlns:a16="http://schemas.microsoft.com/office/drawing/2014/main" id="{8DCA2868-0709-4199-8964-3AE2CF8B2E6F}"/>
                </a:ext>
              </a:extLst>
            </p:cNvPr>
            <p:cNvSpPr/>
            <p:nvPr/>
          </p:nvSpPr>
          <p:spPr bwMode="auto">
            <a:xfrm>
              <a:off x="4205471" y="2418076"/>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2" name="Straight Connector 161">
            <a:extLst>
              <a:ext uri="{FF2B5EF4-FFF2-40B4-BE49-F238E27FC236}">
                <a16:creationId xmlns:a16="http://schemas.microsoft.com/office/drawing/2014/main" id="{75D342B6-ED18-4634-8E00-96E4E4917D2E}"/>
              </a:ext>
            </a:extLst>
          </p:cNvPr>
          <p:cNvCxnSpPr>
            <a:cxnSpLocks/>
            <a:stCxn id="158" idx="1"/>
          </p:cNvCxnSpPr>
          <p:nvPr/>
        </p:nvCxnSpPr>
        <p:spPr>
          <a:xfrm flipH="1" flipV="1">
            <a:off x="2928999" y="1603499"/>
            <a:ext cx="194789" cy="34416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F3978602-292F-497A-BDCA-E6D18F3A626D}"/>
              </a:ext>
            </a:extLst>
          </p:cNvPr>
          <p:cNvSpPr/>
          <p:nvPr/>
        </p:nvSpPr>
        <p:spPr bwMode="auto">
          <a:xfrm>
            <a:off x="6958211" y="901721"/>
            <a:ext cx="2588625" cy="1081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streamlin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automation</a:t>
            </a:r>
            <a:r>
              <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rPr>
              <a:t> </a:t>
            </a: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and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operational efficiency</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19" name="Group 18">
            <a:extLst>
              <a:ext uri="{FF2B5EF4-FFF2-40B4-BE49-F238E27FC236}">
                <a16:creationId xmlns:a16="http://schemas.microsoft.com/office/drawing/2014/main" id="{A7563EE4-0955-4BA7-94D2-D0798E860821}"/>
              </a:ext>
            </a:extLst>
          </p:cNvPr>
          <p:cNvGrpSpPr/>
          <p:nvPr/>
        </p:nvGrpSpPr>
        <p:grpSpPr>
          <a:xfrm rot="21305278">
            <a:off x="7435985" y="2114686"/>
            <a:ext cx="1416686" cy="1400905"/>
            <a:chOff x="7123448" y="2462512"/>
            <a:chExt cx="1416686" cy="1400905"/>
          </a:xfrm>
        </p:grpSpPr>
        <p:sp>
          <p:nvSpPr>
            <p:cNvPr id="143" name="Arc 142">
              <a:extLst>
                <a:ext uri="{FF2B5EF4-FFF2-40B4-BE49-F238E27FC236}">
                  <a16:creationId xmlns:a16="http://schemas.microsoft.com/office/drawing/2014/main" id="{2C243A75-94A0-4586-8569-13AC8717EE21}"/>
                </a:ext>
              </a:extLst>
            </p:cNvPr>
            <p:cNvSpPr/>
            <p:nvPr/>
          </p:nvSpPr>
          <p:spPr>
            <a:xfrm rot="18487209">
              <a:off x="7123448" y="2462512"/>
              <a:ext cx="1399958" cy="1399958"/>
            </a:xfrm>
            <a:prstGeom prst="arc">
              <a:avLst>
                <a:gd name="adj1" fmla="val 15375412"/>
                <a:gd name="adj2" fmla="val 3657801"/>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35" name="Group 134">
              <a:extLst>
                <a:ext uri="{FF2B5EF4-FFF2-40B4-BE49-F238E27FC236}">
                  <a16:creationId xmlns:a16="http://schemas.microsoft.com/office/drawing/2014/main" id="{45B5D1E6-F9F6-40E0-8E43-4759C736F0B5}"/>
                </a:ext>
              </a:extLst>
            </p:cNvPr>
            <p:cNvGrpSpPr/>
            <p:nvPr/>
          </p:nvGrpSpPr>
          <p:grpSpPr>
            <a:xfrm>
              <a:off x="7277189" y="2616253"/>
              <a:ext cx="1092476" cy="1092476"/>
              <a:chOff x="9383865" y="2258164"/>
              <a:chExt cx="1092476" cy="1092476"/>
            </a:xfrm>
          </p:grpSpPr>
          <p:sp>
            <p:nvSpPr>
              <p:cNvPr id="136" name="Flowchart: Connector 135">
                <a:extLst>
                  <a:ext uri="{FF2B5EF4-FFF2-40B4-BE49-F238E27FC236}">
                    <a16:creationId xmlns:a16="http://schemas.microsoft.com/office/drawing/2014/main" id="{62406027-0864-4E46-B380-4462085F76C2}"/>
                  </a:ext>
                </a:extLst>
              </p:cNvPr>
              <p:cNvSpPr/>
              <p:nvPr/>
            </p:nvSpPr>
            <p:spPr bwMode="auto">
              <a:xfrm>
                <a:off x="9383865"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37" name="Graphic 15">
                <a:extLst>
                  <a:ext uri="{FF2B5EF4-FFF2-40B4-BE49-F238E27FC236}">
                    <a16:creationId xmlns:a16="http://schemas.microsoft.com/office/drawing/2014/main" id="{7C7FAF73-B9AF-4DCD-A249-F680E01CD013}"/>
                  </a:ext>
                </a:extLst>
              </p:cNvPr>
              <p:cNvGrpSpPr/>
              <p:nvPr/>
            </p:nvGrpSpPr>
            <p:grpSpPr>
              <a:xfrm>
                <a:off x="9646455" y="2520326"/>
                <a:ext cx="567296" cy="568153"/>
                <a:chOff x="9647311" y="2519896"/>
                <a:chExt cx="567296" cy="568153"/>
              </a:xfrm>
              <a:solidFill>
                <a:srgbClr val="000000"/>
              </a:solidFill>
            </p:grpSpPr>
            <p:sp>
              <p:nvSpPr>
                <p:cNvPr id="138" name="Freeform: Shape 137">
                  <a:extLst>
                    <a:ext uri="{FF2B5EF4-FFF2-40B4-BE49-F238E27FC236}">
                      <a16:creationId xmlns:a16="http://schemas.microsoft.com/office/drawing/2014/main" id="{C86557DC-E157-4D89-AE13-6729FC0CB576}"/>
                    </a:ext>
                  </a:extLst>
                </p:cNvPr>
                <p:cNvSpPr/>
                <p:nvPr/>
              </p:nvSpPr>
              <p:spPr>
                <a:xfrm>
                  <a:off x="9864118" y="2519896"/>
                  <a:ext cx="350490" cy="349633"/>
                </a:xfrm>
                <a:custGeom>
                  <a:avLst/>
                  <a:gdLst>
                    <a:gd name="connsiteX0" fmla="*/ 341921 w 350490"/>
                    <a:gd name="connsiteY0" fmla="*/ 142253 h 349633"/>
                    <a:gd name="connsiteX1" fmla="*/ 310214 w 350490"/>
                    <a:gd name="connsiteY1" fmla="*/ 134540 h 349633"/>
                    <a:gd name="connsiteX2" fmla="*/ 298217 w 350490"/>
                    <a:gd name="connsiteY2" fmla="*/ 106261 h 349633"/>
                    <a:gd name="connsiteX3" fmla="*/ 315355 w 350490"/>
                    <a:gd name="connsiteY3" fmla="*/ 78839 h 349633"/>
                    <a:gd name="connsiteX4" fmla="*/ 314499 w 350490"/>
                    <a:gd name="connsiteY4" fmla="*/ 68556 h 349633"/>
                    <a:gd name="connsiteX5" fmla="*/ 280221 w 350490"/>
                    <a:gd name="connsiteY5" fmla="*/ 34278 h 349633"/>
                    <a:gd name="connsiteX6" fmla="*/ 269937 w 350490"/>
                    <a:gd name="connsiteY6" fmla="*/ 33421 h 349633"/>
                    <a:gd name="connsiteX7" fmla="*/ 242515 w 350490"/>
                    <a:gd name="connsiteY7" fmla="*/ 50560 h 349633"/>
                    <a:gd name="connsiteX8" fmla="*/ 214236 w 350490"/>
                    <a:gd name="connsiteY8" fmla="*/ 38562 h 349633"/>
                    <a:gd name="connsiteX9" fmla="*/ 206524 w 350490"/>
                    <a:gd name="connsiteY9" fmla="*/ 6856 h 349633"/>
                    <a:gd name="connsiteX10" fmla="*/ 197954 w 350490"/>
                    <a:gd name="connsiteY10" fmla="*/ 0 h 349633"/>
                    <a:gd name="connsiteX11" fmla="*/ 149965 w 350490"/>
                    <a:gd name="connsiteY11" fmla="*/ 0 h 349633"/>
                    <a:gd name="connsiteX12" fmla="*/ 141396 w 350490"/>
                    <a:gd name="connsiteY12" fmla="*/ 6856 h 349633"/>
                    <a:gd name="connsiteX13" fmla="*/ 134540 w 350490"/>
                    <a:gd name="connsiteY13" fmla="*/ 38562 h 349633"/>
                    <a:gd name="connsiteX14" fmla="*/ 106261 w 350490"/>
                    <a:gd name="connsiteY14" fmla="*/ 50560 h 349633"/>
                    <a:gd name="connsiteX15" fmla="*/ 78839 w 350490"/>
                    <a:gd name="connsiteY15" fmla="*/ 33421 h 349633"/>
                    <a:gd name="connsiteX16" fmla="*/ 68556 w 350490"/>
                    <a:gd name="connsiteY16" fmla="*/ 34278 h 349633"/>
                    <a:gd name="connsiteX17" fmla="*/ 34278 w 350490"/>
                    <a:gd name="connsiteY17" fmla="*/ 68556 h 349633"/>
                    <a:gd name="connsiteX18" fmla="*/ 33421 w 350490"/>
                    <a:gd name="connsiteY18" fmla="*/ 78839 h 349633"/>
                    <a:gd name="connsiteX19" fmla="*/ 50560 w 350490"/>
                    <a:gd name="connsiteY19" fmla="*/ 106261 h 349633"/>
                    <a:gd name="connsiteX20" fmla="*/ 38562 w 350490"/>
                    <a:gd name="connsiteY20" fmla="*/ 134540 h 349633"/>
                    <a:gd name="connsiteX21" fmla="*/ 6856 w 350490"/>
                    <a:gd name="connsiteY21" fmla="*/ 142253 h 349633"/>
                    <a:gd name="connsiteX22" fmla="*/ 0 w 350490"/>
                    <a:gd name="connsiteY22" fmla="*/ 150822 h 349633"/>
                    <a:gd name="connsiteX23" fmla="*/ 0 w 350490"/>
                    <a:gd name="connsiteY23" fmla="*/ 198811 h 349633"/>
                    <a:gd name="connsiteX24" fmla="*/ 6856 w 350490"/>
                    <a:gd name="connsiteY24" fmla="*/ 207380 h 349633"/>
                    <a:gd name="connsiteX25" fmla="*/ 38562 w 350490"/>
                    <a:gd name="connsiteY25" fmla="*/ 215093 h 349633"/>
                    <a:gd name="connsiteX26" fmla="*/ 50560 w 350490"/>
                    <a:gd name="connsiteY26" fmla="*/ 243372 h 349633"/>
                    <a:gd name="connsiteX27" fmla="*/ 33421 w 350490"/>
                    <a:gd name="connsiteY27" fmla="*/ 270794 h 349633"/>
                    <a:gd name="connsiteX28" fmla="*/ 35135 w 350490"/>
                    <a:gd name="connsiteY28" fmla="*/ 281078 h 349633"/>
                    <a:gd name="connsiteX29" fmla="*/ 69412 w 350490"/>
                    <a:gd name="connsiteY29" fmla="*/ 315355 h 349633"/>
                    <a:gd name="connsiteX30" fmla="*/ 79696 w 350490"/>
                    <a:gd name="connsiteY30" fmla="*/ 316212 h 349633"/>
                    <a:gd name="connsiteX31" fmla="*/ 107118 w 350490"/>
                    <a:gd name="connsiteY31" fmla="*/ 299074 h 349633"/>
                    <a:gd name="connsiteX32" fmla="*/ 135397 w 350490"/>
                    <a:gd name="connsiteY32" fmla="*/ 311071 h 349633"/>
                    <a:gd name="connsiteX33" fmla="*/ 143110 w 350490"/>
                    <a:gd name="connsiteY33" fmla="*/ 342778 h 349633"/>
                    <a:gd name="connsiteX34" fmla="*/ 151679 w 350490"/>
                    <a:gd name="connsiteY34" fmla="*/ 349633 h 349633"/>
                    <a:gd name="connsiteX35" fmla="*/ 199668 w 350490"/>
                    <a:gd name="connsiteY35" fmla="*/ 349633 h 349633"/>
                    <a:gd name="connsiteX36" fmla="*/ 208237 w 350490"/>
                    <a:gd name="connsiteY36" fmla="*/ 342778 h 349633"/>
                    <a:gd name="connsiteX37" fmla="*/ 215950 w 350490"/>
                    <a:gd name="connsiteY37" fmla="*/ 311071 h 349633"/>
                    <a:gd name="connsiteX38" fmla="*/ 244229 w 350490"/>
                    <a:gd name="connsiteY38" fmla="*/ 299074 h 349633"/>
                    <a:gd name="connsiteX39" fmla="*/ 271651 w 350490"/>
                    <a:gd name="connsiteY39" fmla="*/ 316212 h 349633"/>
                    <a:gd name="connsiteX40" fmla="*/ 281935 w 350490"/>
                    <a:gd name="connsiteY40" fmla="*/ 315355 h 349633"/>
                    <a:gd name="connsiteX41" fmla="*/ 316212 w 350490"/>
                    <a:gd name="connsiteY41" fmla="*/ 281078 h 349633"/>
                    <a:gd name="connsiteX42" fmla="*/ 317069 w 350490"/>
                    <a:gd name="connsiteY42" fmla="*/ 270794 h 349633"/>
                    <a:gd name="connsiteX43" fmla="*/ 299930 w 350490"/>
                    <a:gd name="connsiteY43" fmla="*/ 243372 h 349633"/>
                    <a:gd name="connsiteX44" fmla="*/ 311928 w 350490"/>
                    <a:gd name="connsiteY44" fmla="*/ 215093 h 349633"/>
                    <a:gd name="connsiteX45" fmla="*/ 343635 w 350490"/>
                    <a:gd name="connsiteY45" fmla="*/ 207380 h 349633"/>
                    <a:gd name="connsiteX46" fmla="*/ 350490 w 350490"/>
                    <a:gd name="connsiteY46" fmla="*/ 198811 h 349633"/>
                    <a:gd name="connsiteX47" fmla="*/ 350490 w 350490"/>
                    <a:gd name="connsiteY47" fmla="*/ 150822 h 349633"/>
                    <a:gd name="connsiteX48" fmla="*/ 341921 w 350490"/>
                    <a:gd name="connsiteY48" fmla="*/ 142253 h 349633"/>
                    <a:gd name="connsiteX49" fmla="*/ 174817 w 350490"/>
                    <a:gd name="connsiteY49" fmla="*/ 253655 h 349633"/>
                    <a:gd name="connsiteX50" fmla="*/ 95121 w 350490"/>
                    <a:gd name="connsiteY50" fmla="*/ 173960 h 349633"/>
                    <a:gd name="connsiteX51" fmla="*/ 174817 w 350490"/>
                    <a:gd name="connsiteY51" fmla="*/ 94264 h 349633"/>
                    <a:gd name="connsiteX52" fmla="*/ 254512 w 350490"/>
                    <a:gd name="connsiteY52" fmla="*/ 173960 h 349633"/>
                    <a:gd name="connsiteX53" fmla="*/ 174817 w 350490"/>
                    <a:gd name="connsiteY53" fmla="*/ 253655 h 34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0490" h="349633">
                      <a:moveTo>
                        <a:pt x="341921" y="142253"/>
                      </a:moveTo>
                      <a:lnTo>
                        <a:pt x="310214" y="134540"/>
                      </a:lnTo>
                      <a:lnTo>
                        <a:pt x="298217" y="106261"/>
                      </a:lnTo>
                      <a:lnTo>
                        <a:pt x="315355" y="78839"/>
                      </a:lnTo>
                      <a:cubicBezTo>
                        <a:pt x="317069" y="75411"/>
                        <a:pt x="317069" y="71126"/>
                        <a:pt x="314499" y="68556"/>
                      </a:cubicBezTo>
                      <a:lnTo>
                        <a:pt x="280221" y="34278"/>
                      </a:lnTo>
                      <a:cubicBezTo>
                        <a:pt x="277650" y="31707"/>
                        <a:pt x="273365" y="30850"/>
                        <a:pt x="269937" y="33421"/>
                      </a:cubicBezTo>
                      <a:lnTo>
                        <a:pt x="242515" y="50560"/>
                      </a:lnTo>
                      <a:lnTo>
                        <a:pt x="214236" y="38562"/>
                      </a:lnTo>
                      <a:lnTo>
                        <a:pt x="206524" y="6856"/>
                      </a:lnTo>
                      <a:cubicBezTo>
                        <a:pt x="205667" y="3428"/>
                        <a:pt x="202239" y="0"/>
                        <a:pt x="197954" y="0"/>
                      </a:cubicBezTo>
                      <a:lnTo>
                        <a:pt x="149965" y="0"/>
                      </a:lnTo>
                      <a:cubicBezTo>
                        <a:pt x="145681" y="0"/>
                        <a:pt x="142253" y="2571"/>
                        <a:pt x="141396" y="6856"/>
                      </a:cubicBezTo>
                      <a:lnTo>
                        <a:pt x="134540" y="38562"/>
                      </a:lnTo>
                      <a:lnTo>
                        <a:pt x="106261" y="50560"/>
                      </a:lnTo>
                      <a:lnTo>
                        <a:pt x="78839" y="33421"/>
                      </a:lnTo>
                      <a:cubicBezTo>
                        <a:pt x="75411" y="31707"/>
                        <a:pt x="71126" y="31707"/>
                        <a:pt x="68556" y="34278"/>
                      </a:cubicBezTo>
                      <a:lnTo>
                        <a:pt x="34278" y="68556"/>
                      </a:lnTo>
                      <a:cubicBezTo>
                        <a:pt x="31707" y="71126"/>
                        <a:pt x="30850" y="75411"/>
                        <a:pt x="33421" y="78839"/>
                      </a:cubicBezTo>
                      <a:lnTo>
                        <a:pt x="50560" y="106261"/>
                      </a:lnTo>
                      <a:lnTo>
                        <a:pt x="38562" y="134540"/>
                      </a:lnTo>
                      <a:lnTo>
                        <a:pt x="6856" y="142253"/>
                      </a:lnTo>
                      <a:cubicBezTo>
                        <a:pt x="3428" y="143110"/>
                        <a:pt x="0" y="146537"/>
                        <a:pt x="0" y="150822"/>
                      </a:cubicBezTo>
                      <a:lnTo>
                        <a:pt x="0" y="198811"/>
                      </a:lnTo>
                      <a:cubicBezTo>
                        <a:pt x="0" y="203096"/>
                        <a:pt x="2571" y="206524"/>
                        <a:pt x="6856" y="207380"/>
                      </a:cubicBezTo>
                      <a:lnTo>
                        <a:pt x="38562" y="215093"/>
                      </a:lnTo>
                      <a:lnTo>
                        <a:pt x="50560" y="243372"/>
                      </a:lnTo>
                      <a:lnTo>
                        <a:pt x="33421" y="270794"/>
                      </a:lnTo>
                      <a:cubicBezTo>
                        <a:pt x="31707" y="274222"/>
                        <a:pt x="31707" y="278507"/>
                        <a:pt x="35135" y="281078"/>
                      </a:cubicBezTo>
                      <a:lnTo>
                        <a:pt x="69412" y="315355"/>
                      </a:lnTo>
                      <a:cubicBezTo>
                        <a:pt x="71983" y="317926"/>
                        <a:pt x="76268" y="318783"/>
                        <a:pt x="79696" y="316212"/>
                      </a:cubicBezTo>
                      <a:lnTo>
                        <a:pt x="107118" y="299074"/>
                      </a:lnTo>
                      <a:lnTo>
                        <a:pt x="135397" y="311071"/>
                      </a:lnTo>
                      <a:lnTo>
                        <a:pt x="143110" y="342778"/>
                      </a:lnTo>
                      <a:cubicBezTo>
                        <a:pt x="143967" y="346205"/>
                        <a:pt x="147394" y="349633"/>
                        <a:pt x="151679" y="349633"/>
                      </a:cubicBezTo>
                      <a:lnTo>
                        <a:pt x="199668" y="349633"/>
                      </a:lnTo>
                      <a:cubicBezTo>
                        <a:pt x="203953" y="349633"/>
                        <a:pt x="207380" y="347062"/>
                        <a:pt x="208237" y="342778"/>
                      </a:cubicBezTo>
                      <a:lnTo>
                        <a:pt x="215950" y="311071"/>
                      </a:lnTo>
                      <a:lnTo>
                        <a:pt x="244229" y="299074"/>
                      </a:lnTo>
                      <a:lnTo>
                        <a:pt x="271651" y="316212"/>
                      </a:lnTo>
                      <a:cubicBezTo>
                        <a:pt x="275079" y="317926"/>
                        <a:pt x="279364" y="317926"/>
                        <a:pt x="281935" y="315355"/>
                      </a:cubicBezTo>
                      <a:lnTo>
                        <a:pt x="316212" y="281078"/>
                      </a:lnTo>
                      <a:cubicBezTo>
                        <a:pt x="318783" y="278507"/>
                        <a:pt x="319640" y="274222"/>
                        <a:pt x="317069" y="270794"/>
                      </a:cubicBezTo>
                      <a:lnTo>
                        <a:pt x="299930" y="243372"/>
                      </a:lnTo>
                      <a:lnTo>
                        <a:pt x="311928" y="215093"/>
                      </a:lnTo>
                      <a:lnTo>
                        <a:pt x="343635" y="207380"/>
                      </a:lnTo>
                      <a:cubicBezTo>
                        <a:pt x="347062" y="206524"/>
                        <a:pt x="350490" y="203096"/>
                        <a:pt x="350490" y="198811"/>
                      </a:cubicBezTo>
                      <a:lnTo>
                        <a:pt x="350490" y="150822"/>
                      </a:lnTo>
                      <a:cubicBezTo>
                        <a:pt x="348776" y="146537"/>
                        <a:pt x="346205" y="143110"/>
                        <a:pt x="341921" y="142253"/>
                      </a:cubicBezTo>
                      <a:close/>
                      <a:moveTo>
                        <a:pt x="174817" y="253655"/>
                      </a:moveTo>
                      <a:cubicBezTo>
                        <a:pt x="131112" y="253655"/>
                        <a:pt x="95121" y="218521"/>
                        <a:pt x="95121" y="173960"/>
                      </a:cubicBezTo>
                      <a:cubicBezTo>
                        <a:pt x="95121" y="130256"/>
                        <a:pt x="130256" y="94264"/>
                        <a:pt x="174817" y="94264"/>
                      </a:cubicBezTo>
                      <a:cubicBezTo>
                        <a:pt x="218521" y="94264"/>
                        <a:pt x="254512" y="129399"/>
                        <a:pt x="254512" y="173960"/>
                      </a:cubicBezTo>
                      <a:cubicBezTo>
                        <a:pt x="253655" y="218521"/>
                        <a:pt x="218521" y="253655"/>
                        <a:pt x="174817" y="253655"/>
                      </a:cubicBezTo>
                      <a:close/>
                    </a:path>
                  </a:pathLst>
                </a:custGeom>
                <a:solidFill>
                  <a:srgbClr val="30E5D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3913DED3-EF0F-410A-97D3-F6C642E7FD4E}"/>
                    </a:ext>
                  </a:extLst>
                </p:cNvPr>
                <p:cNvSpPr/>
                <p:nvPr/>
              </p:nvSpPr>
              <p:spPr>
                <a:xfrm>
                  <a:off x="9647311" y="2788120"/>
                  <a:ext cx="300376" cy="299930"/>
                </a:xfrm>
                <a:custGeom>
                  <a:avLst/>
                  <a:gdLst>
                    <a:gd name="connsiteX0" fmla="*/ 293075 w 300376"/>
                    <a:gd name="connsiteY0" fmla="*/ 125971 h 299930"/>
                    <a:gd name="connsiteX1" fmla="*/ 262225 w 300376"/>
                    <a:gd name="connsiteY1" fmla="*/ 112260 h 299930"/>
                    <a:gd name="connsiteX2" fmla="*/ 256226 w 300376"/>
                    <a:gd name="connsiteY2" fmla="*/ 96835 h 299930"/>
                    <a:gd name="connsiteX3" fmla="*/ 269080 w 300376"/>
                    <a:gd name="connsiteY3" fmla="*/ 65128 h 299930"/>
                    <a:gd name="connsiteX4" fmla="*/ 266510 w 300376"/>
                    <a:gd name="connsiteY4" fmla="*/ 50560 h 299930"/>
                    <a:gd name="connsiteX5" fmla="*/ 248514 w 300376"/>
                    <a:gd name="connsiteY5" fmla="*/ 35135 h 299930"/>
                    <a:gd name="connsiteX6" fmla="*/ 233946 w 300376"/>
                    <a:gd name="connsiteY6" fmla="*/ 31707 h 299930"/>
                    <a:gd name="connsiteX7" fmla="*/ 202239 w 300376"/>
                    <a:gd name="connsiteY7" fmla="*/ 44561 h 299930"/>
                    <a:gd name="connsiteX8" fmla="*/ 186814 w 300376"/>
                    <a:gd name="connsiteY8" fmla="*/ 38562 h 299930"/>
                    <a:gd name="connsiteX9" fmla="*/ 173103 w 300376"/>
                    <a:gd name="connsiteY9" fmla="*/ 7713 h 299930"/>
                    <a:gd name="connsiteX10" fmla="*/ 161105 w 300376"/>
                    <a:gd name="connsiteY10" fmla="*/ 0 h 299930"/>
                    <a:gd name="connsiteX11" fmla="*/ 137968 w 300376"/>
                    <a:gd name="connsiteY11" fmla="*/ 0 h 299930"/>
                    <a:gd name="connsiteX12" fmla="*/ 125971 w 300376"/>
                    <a:gd name="connsiteY12" fmla="*/ 7713 h 299930"/>
                    <a:gd name="connsiteX13" fmla="*/ 112260 w 300376"/>
                    <a:gd name="connsiteY13" fmla="*/ 38562 h 299930"/>
                    <a:gd name="connsiteX14" fmla="*/ 96835 w 300376"/>
                    <a:gd name="connsiteY14" fmla="*/ 44561 h 299930"/>
                    <a:gd name="connsiteX15" fmla="*/ 65128 w 300376"/>
                    <a:gd name="connsiteY15" fmla="*/ 31707 h 299930"/>
                    <a:gd name="connsiteX16" fmla="*/ 50560 w 300376"/>
                    <a:gd name="connsiteY16" fmla="*/ 35135 h 299930"/>
                    <a:gd name="connsiteX17" fmla="*/ 34278 w 300376"/>
                    <a:gd name="connsiteY17" fmla="*/ 51417 h 299930"/>
                    <a:gd name="connsiteX18" fmla="*/ 31707 w 300376"/>
                    <a:gd name="connsiteY18" fmla="*/ 65985 h 299930"/>
                    <a:gd name="connsiteX19" fmla="*/ 44561 w 300376"/>
                    <a:gd name="connsiteY19" fmla="*/ 97692 h 299930"/>
                    <a:gd name="connsiteX20" fmla="*/ 38562 w 300376"/>
                    <a:gd name="connsiteY20" fmla="*/ 113117 h 299930"/>
                    <a:gd name="connsiteX21" fmla="*/ 7712 w 300376"/>
                    <a:gd name="connsiteY21" fmla="*/ 126828 h 299930"/>
                    <a:gd name="connsiteX22" fmla="*/ 0 w 300376"/>
                    <a:gd name="connsiteY22" fmla="*/ 137968 h 299930"/>
                    <a:gd name="connsiteX23" fmla="*/ 0 w 300376"/>
                    <a:gd name="connsiteY23" fmla="*/ 161106 h 299930"/>
                    <a:gd name="connsiteX24" fmla="*/ 7712 w 300376"/>
                    <a:gd name="connsiteY24" fmla="*/ 173103 h 299930"/>
                    <a:gd name="connsiteX25" fmla="*/ 38562 w 300376"/>
                    <a:gd name="connsiteY25" fmla="*/ 186814 h 299930"/>
                    <a:gd name="connsiteX26" fmla="*/ 44561 w 300376"/>
                    <a:gd name="connsiteY26" fmla="*/ 202239 h 299930"/>
                    <a:gd name="connsiteX27" fmla="*/ 31707 w 300376"/>
                    <a:gd name="connsiteY27" fmla="*/ 233946 h 299930"/>
                    <a:gd name="connsiteX28" fmla="*/ 34278 w 300376"/>
                    <a:gd name="connsiteY28" fmla="*/ 248514 h 299930"/>
                    <a:gd name="connsiteX29" fmla="*/ 50560 w 300376"/>
                    <a:gd name="connsiteY29" fmla="*/ 264796 h 299930"/>
                    <a:gd name="connsiteX30" fmla="*/ 65128 w 300376"/>
                    <a:gd name="connsiteY30" fmla="*/ 268224 h 299930"/>
                    <a:gd name="connsiteX31" fmla="*/ 96835 w 300376"/>
                    <a:gd name="connsiteY31" fmla="*/ 255369 h 299930"/>
                    <a:gd name="connsiteX32" fmla="*/ 112260 w 300376"/>
                    <a:gd name="connsiteY32" fmla="*/ 261368 h 299930"/>
                    <a:gd name="connsiteX33" fmla="*/ 125971 w 300376"/>
                    <a:gd name="connsiteY33" fmla="*/ 292218 h 299930"/>
                    <a:gd name="connsiteX34" fmla="*/ 137968 w 300376"/>
                    <a:gd name="connsiteY34" fmla="*/ 299930 h 299930"/>
                    <a:gd name="connsiteX35" fmla="*/ 161105 w 300376"/>
                    <a:gd name="connsiteY35" fmla="*/ 299930 h 299930"/>
                    <a:gd name="connsiteX36" fmla="*/ 173103 w 300376"/>
                    <a:gd name="connsiteY36" fmla="*/ 292218 h 299930"/>
                    <a:gd name="connsiteX37" fmla="*/ 186814 w 300376"/>
                    <a:gd name="connsiteY37" fmla="*/ 261368 h 299930"/>
                    <a:gd name="connsiteX38" fmla="*/ 202239 w 300376"/>
                    <a:gd name="connsiteY38" fmla="*/ 255369 h 299930"/>
                    <a:gd name="connsiteX39" fmla="*/ 233946 w 300376"/>
                    <a:gd name="connsiteY39" fmla="*/ 268224 h 299930"/>
                    <a:gd name="connsiteX40" fmla="*/ 248514 w 300376"/>
                    <a:gd name="connsiteY40" fmla="*/ 264796 h 299930"/>
                    <a:gd name="connsiteX41" fmla="*/ 265653 w 300376"/>
                    <a:gd name="connsiteY41" fmla="*/ 247657 h 299930"/>
                    <a:gd name="connsiteX42" fmla="*/ 268224 w 300376"/>
                    <a:gd name="connsiteY42" fmla="*/ 233089 h 299930"/>
                    <a:gd name="connsiteX43" fmla="*/ 255369 w 300376"/>
                    <a:gd name="connsiteY43" fmla="*/ 201382 h 299930"/>
                    <a:gd name="connsiteX44" fmla="*/ 261368 w 300376"/>
                    <a:gd name="connsiteY44" fmla="*/ 185957 h 299930"/>
                    <a:gd name="connsiteX45" fmla="*/ 292218 w 300376"/>
                    <a:gd name="connsiteY45" fmla="*/ 172246 h 299930"/>
                    <a:gd name="connsiteX46" fmla="*/ 299930 w 300376"/>
                    <a:gd name="connsiteY46" fmla="*/ 160249 h 299930"/>
                    <a:gd name="connsiteX47" fmla="*/ 299930 w 300376"/>
                    <a:gd name="connsiteY47" fmla="*/ 137111 h 299930"/>
                    <a:gd name="connsiteX48" fmla="*/ 293075 w 300376"/>
                    <a:gd name="connsiteY48" fmla="*/ 125971 h 299930"/>
                    <a:gd name="connsiteX49" fmla="*/ 150822 w 300376"/>
                    <a:gd name="connsiteY49" fmla="*/ 210808 h 299930"/>
                    <a:gd name="connsiteX50" fmla="*/ 89122 w 300376"/>
                    <a:gd name="connsiteY50" fmla="*/ 149108 h 299930"/>
                    <a:gd name="connsiteX51" fmla="*/ 150822 w 300376"/>
                    <a:gd name="connsiteY51" fmla="*/ 87408 h 299930"/>
                    <a:gd name="connsiteX52" fmla="*/ 212522 w 300376"/>
                    <a:gd name="connsiteY52" fmla="*/ 149108 h 299930"/>
                    <a:gd name="connsiteX53" fmla="*/ 150822 w 300376"/>
                    <a:gd name="connsiteY53" fmla="*/ 210808 h 29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0376" h="299930">
                      <a:moveTo>
                        <a:pt x="293075" y="125971"/>
                      </a:moveTo>
                      <a:lnTo>
                        <a:pt x="262225" y="112260"/>
                      </a:lnTo>
                      <a:lnTo>
                        <a:pt x="256226" y="96835"/>
                      </a:lnTo>
                      <a:lnTo>
                        <a:pt x="269080" y="65128"/>
                      </a:lnTo>
                      <a:cubicBezTo>
                        <a:pt x="270794" y="59986"/>
                        <a:pt x="269937" y="54844"/>
                        <a:pt x="266510" y="50560"/>
                      </a:cubicBezTo>
                      <a:lnTo>
                        <a:pt x="248514" y="35135"/>
                      </a:lnTo>
                      <a:cubicBezTo>
                        <a:pt x="245086" y="31707"/>
                        <a:pt x="239087" y="29993"/>
                        <a:pt x="233946" y="31707"/>
                      </a:cubicBezTo>
                      <a:lnTo>
                        <a:pt x="202239" y="44561"/>
                      </a:lnTo>
                      <a:lnTo>
                        <a:pt x="186814" y="38562"/>
                      </a:lnTo>
                      <a:lnTo>
                        <a:pt x="173103" y="7713"/>
                      </a:lnTo>
                      <a:cubicBezTo>
                        <a:pt x="170532" y="2571"/>
                        <a:pt x="166247" y="0"/>
                        <a:pt x="161105" y="0"/>
                      </a:cubicBezTo>
                      <a:lnTo>
                        <a:pt x="137968" y="0"/>
                      </a:lnTo>
                      <a:cubicBezTo>
                        <a:pt x="132826" y="0"/>
                        <a:pt x="127685" y="3428"/>
                        <a:pt x="125971" y="7713"/>
                      </a:cubicBezTo>
                      <a:lnTo>
                        <a:pt x="112260" y="38562"/>
                      </a:lnTo>
                      <a:lnTo>
                        <a:pt x="96835" y="44561"/>
                      </a:lnTo>
                      <a:lnTo>
                        <a:pt x="65128" y="31707"/>
                      </a:lnTo>
                      <a:cubicBezTo>
                        <a:pt x="59986" y="29993"/>
                        <a:pt x="53987" y="30850"/>
                        <a:pt x="50560" y="35135"/>
                      </a:cubicBezTo>
                      <a:lnTo>
                        <a:pt x="34278" y="51417"/>
                      </a:lnTo>
                      <a:cubicBezTo>
                        <a:pt x="30850" y="54844"/>
                        <a:pt x="29136" y="60843"/>
                        <a:pt x="31707" y="65985"/>
                      </a:cubicBezTo>
                      <a:lnTo>
                        <a:pt x="44561" y="97692"/>
                      </a:lnTo>
                      <a:lnTo>
                        <a:pt x="38562" y="113117"/>
                      </a:lnTo>
                      <a:lnTo>
                        <a:pt x="7712" y="126828"/>
                      </a:lnTo>
                      <a:cubicBezTo>
                        <a:pt x="3428" y="127685"/>
                        <a:pt x="0" y="132826"/>
                        <a:pt x="0" y="137968"/>
                      </a:cubicBezTo>
                      <a:lnTo>
                        <a:pt x="0" y="161106"/>
                      </a:lnTo>
                      <a:cubicBezTo>
                        <a:pt x="0" y="166247"/>
                        <a:pt x="3428" y="171389"/>
                        <a:pt x="7712" y="173103"/>
                      </a:cubicBezTo>
                      <a:lnTo>
                        <a:pt x="38562" y="186814"/>
                      </a:lnTo>
                      <a:lnTo>
                        <a:pt x="44561" y="202239"/>
                      </a:lnTo>
                      <a:lnTo>
                        <a:pt x="31707" y="233946"/>
                      </a:lnTo>
                      <a:cubicBezTo>
                        <a:pt x="29993" y="239087"/>
                        <a:pt x="30850" y="244229"/>
                        <a:pt x="34278" y="248514"/>
                      </a:cubicBezTo>
                      <a:lnTo>
                        <a:pt x="50560" y="264796"/>
                      </a:lnTo>
                      <a:cubicBezTo>
                        <a:pt x="53987" y="268224"/>
                        <a:pt x="59986" y="269937"/>
                        <a:pt x="65128" y="268224"/>
                      </a:cubicBezTo>
                      <a:lnTo>
                        <a:pt x="96835" y="255369"/>
                      </a:lnTo>
                      <a:lnTo>
                        <a:pt x="112260" y="261368"/>
                      </a:lnTo>
                      <a:lnTo>
                        <a:pt x="125971" y="292218"/>
                      </a:lnTo>
                      <a:cubicBezTo>
                        <a:pt x="127685" y="297360"/>
                        <a:pt x="132826" y="299930"/>
                        <a:pt x="137968" y="299930"/>
                      </a:cubicBezTo>
                      <a:lnTo>
                        <a:pt x="161105" y="299930"/>
                      </a:lnTo>
                      <a:cubicBezTo>
                        <a:pt x="166247" y="299930"/>
                        <a:pt x="171389" y="296503"/>
                        <a:pt x="173103" y="292218"/>
                      </a:cubicBezTo>
                      <a:lnTo>
                        <a:pt x="186814" y="261368"/>
                      </a:lnTo>
                      <a:lnTo>
                        <a:pt x="202239" y="255369"/>
                      </a:lnTo>
                      <a:lnTo>
                        <a:pt x="233946" y="268224"/>
                      </a:lnTo>
                      <a:cubicBezTo>
                        <a:pt x="239087" y="269937"/>
                        <a:pt x="245086" y="269080"/>
                        <a:pt x="248514" y="264796"/>
                      </a:cubicBezTo>
                      <a:lnTo>
                        <a:pt x="265653" y="247657"/>
                      </a:lnTo>
                      <a:cubicBezTo>
                        <a:pt x="269080" y="244229"/>
                        <a:pt x="270794" y="238230"/>
                        <a:pt x="268224" y="233089"/>
                      </a:cubicBezTo>
                      <a:lnTo>
                        <a:pt x="255369" y="201382"/>
                      </a:lnTo>
                      <a:lnTo>
                        <a:pt x="261368" y="185957"/>
                      </a:lnTo>
                      <a:lnTo>
                        <a:pt x="292218" y="172246"/>
                      </a:lnTo>
                      <a:cubicBezTo>
                        <a:pt x="297360" y="169675"/>
                        <a:pt x="299930" y="165390"/>
                        <a:pt x="299930" y="160249"/>
                      </a:cubicBezTo>
                      <a:lnTo>
                        <a:pt x="299930" y="137111"/>
                      </a:lnTo>
                      <a:cubicBezTo>
                        <a:pt x="301644" y="132826"/>
                        <a:pt x="298217" y="127685"/>
                        <a:pt x="293075" y="125971"/>
                      </a:cubicBezTo>
                      <a:close/>
                      <a:moveTo>
                        <a:pt x="150822" y="210808"/>
                      </a:moveTo>
                      <a:cubicBezTo>
                        <a:pt x="116544" y="210808"/>
                        <a:pt x="89122" y="183386"/>
                        <a:pt x="89122" y="149108"/>
                      </a:cubicBezTo>
                      <a:cubicBezTo>
                        <a:pt x="89122" y="114831"/>
                        <a:pt x="116544" y="87408"/>
                        <a:pt x="150822" y="87408"/>
                      </a:cubicBezTo>
                      <a:cubicBezTo>
                        <a:pt x="185100" y="87408"/>
                        <a:pt x="212522" y="114831"/>
                        <a:pt x="212522" y="149108"/>
                      </a:cubicBezTo>
                      <a:cubicBezTo>
                        <a:pt x="212522" y="183386"/>
                        <a:pt x="184243" y="210808"/>
                        <a:pt x="150822" y="210808"/>
                      </a:cubicBezTo>
                      <a:close/>
                    </a:path>
                  </a:pathLst>
                </a:custGeom>
                <a:solidFill>
                  <a:srgbClr val="505050"/>
                </a:solidFill>
                <a:ln w="85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2" name="Arc 151">
              <a:extLst>
                <a:ext uri="{FF2B5EF4-FFF2-40B4-BE49-F238E27FC236}">
                  <a16:creationId xmlns:a16="http://schemas.microsoft.com/office/drawing/2014/main" id="{FBAA7FAB-EC94-46DF-87B3-F2A429ADBC13}"/>
                </a:ext>
              </a:extLst>
            </p:cNvPr>
            <p:cNvSpPr/>
            <p:nvPr/>
          </p:nvSpPr>
          <p:spPr>
            <a:xfrm rot="1608303">
              <a:off x="7140176" y="246345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7" name="Oval 156">
              <a:extLst>
                <a:ext uri="{FF2B5EF4-FFF2-40B4-BE49-F238E27FC236}">
                  <a16:creationId xmlns:a16="http://schemas.microsoft.com/office/drawing/2014/main" id="{7BD4CB1D-A7DE-4EEC-B36F-23640458923B}"/>
                </a:ext>
              </a:extLst>
            </p:cNvPr>
            <p:cNvSpPr/>
            <p:nvPr/>
          </p:nvSpPr>
          <p:spPr bwMode="auto">
            <a:xfrm>
              <a:off x="8088380" y="2473712"/>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3" name="Straight Connector 162">
            <a:extLst>
              <a:ext uri="{FF2B5EF4-FFF2-40B4-BE49-F238E27FC236}">
                <a16:creationId xmlns:a16="http://schemas.microsoft.com/office/drawing/2014/main" id="{B6FDF4D3-8FCF-4B1E-8610-1775A847E1FE}"/>
              </a:ext>
            </a:extLst>
          </p:cNvPr>
          <p:cNvCxnSpPr>
            <a:cxnSpLocks/>
            <a:endCxn id="157" idx="7"/>
          </p:cNvCxnSpPr>
          <p:nvPr/>
        </p:nvCxnSpPr>
        <p:spPr>
          <a:xfrm flipH="1">
            <a:off x="8443498" y="1808158"/>
            <a:ext cx="76246" cy="30694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7293160-585E-4BFC-8F4D-707D92987656}"/>
              </a:ext>
            </a:extLst>
          </p:cNvPr>
          <p:cNvGrpSpPr/>
          <p:nvPr/>
        </p:nvGrpSpPr>
        <p:grpSpPr>
          <a:xfrm>
            <a:off x="9557205" y="2277553"/>
            <a:ext cx="1399958" cy="1435140"/>
            <a:chOff x="8489380" y="3832097"/>
            <a:chExt cx="1399958" cy="1435140"/>
          </a:xfrm>
        </p:grpSpPr>
        <p:sp>
          <p:nvSpPr>
            <p:cNvPr id="142" name="Arc 141">
              <a:extLst>
                <a:ext uri="{FF2B5EF4-FFF2-40B4-BE49-F238E27FC236}">
                  <a16:creationId xmlns:a16="http://schemas.microsoft.com/office/drawing/2014/main" id="{30377F20-FE4B-4B21-976A-DE18D993974D}"/>
                </a:ext>
              </a:extLst>
            </p:cNvPr>
            <p:cNvSpPr/>
            <p:nvPr/>
          </p:nvSpPr>
          <p:spPr>
            <a:xfrm rot="2700000">
              <a:off x="8489380" y="3867279"/>
              <a:ext cx="1399958" cy="1399958"/>
            </a:xfrm>
            <a:prstGeom prst="arc">
              <a:avLst>
                <a:gd name="adj1" fmla="val 9192847"/>
                <a:gd name="adj2" fmla="val 882486"/>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54" name="Arc 153">
              <a:extLst>
                <a:ext uri="{FF2B5EF4-FFF2-40B4-BE49-F238E27FC236}">
                  <a16:creationId xmlns:a16="http://schemas.microsoft.com/office/drawing/2014/main" id="{23C4A40E-F150-4084-9C51-A0525824120F}"/>
                </a:ext>
              </a:extLst>
            </p:cNvPr>
            <p:cNvSpPr/>
            <p:nvPr/>
          </p:nvSpPr>
          <p:spPr>
            <a:xfrm rot="1380174">
              <a:off x="8489380" y="3867279"/>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grpSp>
          <p:nvGrpSpPr>
            <p:cNvPr id="125" name="Group 124">
              <a:extLst>
                <a:ext uri="{FF2B5EF4-FFF2-40B4-BE49-F238E27FC236}">
                  <a16:creationId xmlns:a16="http://schemas.microsoft.com/office/drawing/2014/main" id="{D8EAB65F-8DC7-414E-8980-0F1CFAE53D60}"/>
                </a:ext>
              </a:extLst>
            </p:cNvPr>
            <p:cNvGrpSpPr/>
            <p:nvPr/>
          </p:nvGrpSpPr>
          <p:grpSpPr>
            <a:xfrm>
              <a:off x="8643121" y="4021020"/>
              <a:ext cx="1092476" cy="1092476"/>
              <a:chOff x="5549762" y="2258164"/>
              <a:chExt cx="1092476" cy="1092476"/>
            </a:xfrm>
          </p:grpSpPr>
          <p:sp>
            <p:nvSpPr>
              <p:cNvPr id="126" name="Flowchart: Connector 125">
                <a:extLst>
                  <a:ext uri="{FF2B5EF4-FFF2-40B4-BE49-F238E27FC236}">
                    <a16:creationId xmlns:a16="http://schemas.microsoft.com/office/drawing/2014/main" id="{B6DA7129-EAA7-4F18-8E1A-BD6DB24F7A47}"/>
                  </a:ext>
                </a:extLst>
              </p:cNvPr>
              <p:cNvSpPr/>
              <p:nvPr/>
            </p:nvSpPr>
            <p:spPr bwMode="auto">
              <a:xfrm>
                <a:off x="5549762" y="2258164"/>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27" name="Group 126">
                <a:extLst>
                  <a:ext uri="{FF2B5EF4-FFF2-40B4-BE49-F238E27FC236}">
                    <a16:creationId xmlns:a16="http://schemas.microsoft.com/office/drawing/2014/main" id="{9C2FAD5E-506C-49B1-8726-BC94D0D447C9}"/>
                  </a:ext>
                </a:extLst>
              </p:cNvPr>
              <p:cNvGrpSpPr/>
              <p:nvPr/>
            </p:nvGrpSpPr>
            <p:grpSpPr>
              <a:xfrm>
                <a:off x="5852963" y="2561365"/>
                <a:ext cx="486074" cy="486074"/>
                <a:chOff x="3842467" y="3185112"/>
                <a:chExt cx="328830" cy="328830"/>
              </a:xfrm>
            </p:grpSpPr>
            <p:sp>
              <p:nvSpPr>
                <p:cNvPr id="128" name="Freeform 10">
                  <a:extLst>
                    <a:ext uri="{FF2B5EF4-FFF2-40B4-BE49-F238E27FC236}">
                      <a16:creationId xmlns:a16="http://schemas.microsoft.com/office/drawing/2014/main" id="{C3F188E3-D596-4CEA-BAEB-0A3A21E3C87A}"/>
                    </a:ext>
                  </a:extLst>
                </p:cNvPr>
                <p:cNvSpPr>
                  <a:spLocks noEditPoints="1"/>
                </p:cNvSpPr>
                <p:nvPr/>
              </p:nvSpPr>
              <p:spPr bwMode="auto">
                <a:xfrm>
                  <a:off x="3842467" y="3332200"/>
                  <a:ext cx="328830" cy="181742"/>
                </a:xfrm>
                <a:custGeom>
                  <a:avLst/>
                  <a:gdLst>
                    <a:gd name="T0" fmla="*/ 85 w 854"/>
                    <a:gd name="T1" fmla="*/ 472 h 472"/>
                    <a:gd name="T2" fmla="*/ 0 w 854"/>
                    <a:gd name="T3" fmla="*/ 472 h 472"/>
                    <a:gd name="T4" fmla="*/ 0 w 854"/>
                    <a:gd name="T5" fmla="*/ 368 h 472"/>
                    <a:gd name="T6" fmla="*/ 85 w 854"/>
                    <a:gd name="T7" fmla="*/ 368 h 472"/>
                    <a:gd name="T8" fmla="*/ 85 w 854"/>
                    <a:gd name="T9" fmla="*/ 472 h 472"/>
                    <a:gd name="T10" fmla="*/ 214 w 854"/>
                    <a:gd name="T11" fmla="*/ 263 h 472"/>
                    <a:gd name="T12" fmla="*/ 128 w 854"/>
                    <a:gd name="T13" fmla="*/ 263 h 472"/>
                    <a:gd name="T14" fmla="*/ 128 w 854"/>
                    <a:gd name="T15" fmla="*/ 472 h 472"/>
                    <a:gd name="T16" fmla="*/ 214 w 854"/>
                    <a:gd name="T17" fmla="*/ 472 h 472"/>
                    <a:gd name="T18" fmla="*/ 214 w 854"/>
                    <a:gd name="T19" fmla="*/ 263 h 472"/>
                    <a:gd name="T20" fmla="*/ 342 w 854"/>
                    <a:gd name="T21" fmla="*/ 157 h 472"/>
                    <a:gd name="T22" fmla="*/ 256 w 854"/>
                    <a:gd name="T23" fmla="*/ 157 h 472"/>
                    <a:gd name="T24" fmla="*/ 256 w 854"/>
                    <a:gd name="T25" fmla="*/ 472 h 472"/>
                    <a:gd name="T26" fmla="*/ 342 w 854"/>
                    <a:gd name="T27" fmla="*/ 472 h 472"/>
                    <a:gd name="T28" fmla="*/ 342 w 854"/>
                    <a:gd name="T29" fmla="*/ 157 h 472"/>
                    <a:gd name="T30" fmla="*/ 470 w 854"/>
                    <a:gd name="T31" fmla="*/ 52 h 472"/>
                    <a:gd name="T32" fmla="*/ 384 w 854"/>
                    <a:gd name="T33" fmla="*/ 52 h 472"/>
                    <a:gd name="T34" fmla="*/ 384 w 854"/>
                    <a:gd name="T35" fmla="*/ 472 h 472"/>
                    <a:gd name="T36" fmla="*/ 470 w 854"/>
                    <a:gd name="T37" fmla="*/ 472 h 472"/>
                    <a:gd name="T38" fmla="*/ 470 w 854"/>
                    <a:gd name="T39" fmla="*/ 52 h 472"/>
                    <a:gd name="T40" fmla="*/ 598 w 854"/>
                    <a:gd name="T41" fmla="*/ 157 h 472"/>
                    <a:gd name="T42" fmla="*/ 512 w 854"/>
                    <a:gd name="T43" fmla="*/ 157 h 472"/>
                    <a:gd name="T44" fmla="*/ 512 w 854"/>
                    <a:gd name="T45" fmla="*/ 472 h 472"/>
                    <a:gd name="T46" fmla="*/ 598 w 854"/>
                    <a:gd name="T47" fmla="*/ 472 h 472"/>
                    <a:gd name="T48" fmla="*/ 598 w 854"/>
                    <a:gd name="T49" fmla="*/ 157 h 472"/>
                    <a:gd name="T50" fmla="*/ 726 w 854"/>
                    <a:gd name="T51" fmla="*/ 52 h 472"/>
                    <a:gd name="T52" fmla="*/ 641 w 854"/>
                    <a:gd name="T53" fmla="*/ 52 h 472"/>
                    <a:gd name="T54" fmla="*/ 641 w 854"/>
                    <a:gd name="T55" fmla="*/ 472 h 472"/>
                    <a:gd name="T56" fmla="*/ 726 w 854"/>
                    <a:gd name="T57" fmla="*/ 472 h 472"/>
                    <a:gd name="T58" fmla="*/ 726 w 854"/>
                    <a:gd name="T59" fmla="*/ 52 h 472"/>
                    <a:gd name="T60" fmla="*/ 854 w 854"/>
                    <a:gd name="T61" fmla="*/ 0 h 472"/>
                    <a:gd name="T62" fmla="*/ 769 w 854"/>
                    <a:gd name="T63" fmla="*/ 0 h 472"/>
                    <a:gd name="T64" fmla="*/ 769 w 854"/>
                    <a:gd name="T65" fmla="*/ 472 h 472"/>
                    <a:gd name="T66" fmla="*/ 854 w 854"/>
                    <a:gd name="T67" fmla="*/ 472 h 472"/>
                    <a:gd name="T68" fmla="*/ 854 w 854"/>
                    <a:gd name="T69"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4" h="472">
                      <a:moveTo>
                        <a:pt x="85" y="472"/>
                      </a:moveTo>
                      <a:lnTo>
                        <a:pt x="0" y="472"/>
                      </a:lnTo>
                      <a:lnTo>
                        <a:pt x="0" y="368"/>
                      </a:lnTo>
                      <a:lnTo>
                        <a:pt x="85" y="368"/>
                      </a:lnTo>
                      <a:lnTo>
                        <a:pt x="85" y="472"/>
                      </a:lnTo>
                      <a:close/>
                      <a:moveTo>
                        <a:pt x="214" y="263"/>
                      </a:moveTo>
                      <a:lnTo>
                        <a:pt x="128" y="263"/>
                      </a:lnTo>
                      <a:lnTo>
                        <a:pt x="128" y="472"/>
                      </a:lnTo>
                      <a:lnTo>
                        <a:pt x="214" y="472"/>
                      </a:lnTo>
                      <a:lnTo>
                        <a:pt x="214" y="263"/>
                      </a:lnTo>
                      <a:close/>
                      <a:moveTo>
                        <a:pt x="342" y="157"/>
                      </a:moveTo>
                      <a:lnTo>
                        <a:pt x="256" y="157"/>
                      </a:lnTo>
                      <a:lnTo>
                        <a:pt x="256" y="472"/>
                      </a:lnTo>
                      <a:lnTo>
                        <a:pt x="342" y="472"/>
                      </a:lnTo>
                      <a:lnTo>
                        <a:pt x="342" y="157"/>
                      </a:lnTo>
                      <a:close/>
                      <a:moveTo>
                        <a:pt x="470" y="52"/>
                      </a:moveTo>
                      <a:lnTo>
                        <a:pt x="384" y="52"/>
                      </a:lnTo>
                      <a:lnTo>
                        <a:pt x="384" y="472"/>
                      </a:lnTo>
                      <a:lnTo>
                        <a:pt x="470" y="472"/>
                      </a:lnTo>
                      <a:lnTo>
                        <a:pt x="470" y="52"/>
                      </a:lnTo>
                      <a:close/>
                      <a:moveTo>
                        <a:pt x="598" y="157"/>
                      </a:moveTo>
                      <a:lnTo>
                        <a:pt x="512" y="157"/>
                      </a:lnTo>
                      <a:lnTo>
                        <a:pt x="512" y="472"/>
                      </a:lnTo>
                      <a:lnTo>
                        <a:pt x="598" y="472"/>
                      </a:lnTo>
                      <a:lnTo>
                        <a:pt x="598" y="157"/>
                      </a:lnTo>
                      <a:close/>
                      <a:moveTo>
                        <a:pt x="726" y="52"/>
                      </a:moveTo>
                      <a:lnTo>
                        <a:pt x="641" y="52"/>
                      </a:lnTo>
                      <a:lnTo>
                        <a:pt x="641" y="472"/>
                      </a:lnTo>
                      <a:lnTo>
                        <a:pt x="726" y="472"/>
                      </a:lnTo>
                      <a:lnTo>
                        <a:pt x="726" y="52"/>
                      </a:lnTo>
                      <a:close/>
                      <a:moveTo>
                        <a:pt x="854" y="0"/>
                      </a:moveTo>
                      <a:lnTo>
                        <a:pt x="769" y="0"/>
                      </a:lnTo>
                      <a:lnTo>
                        <a:pt x="769" y="472"/>
                      </a:lnTo>
                      <a:lnTo>
                        <a:pt x="854" y="472"/>
                      </a:lnTo>
                      <a:lnTo>
                        <a:pt x="85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29" name="Freeform 11">
                  <a:extLst>
                    <a:ext uri="{FF2B5EF4-FFF2-40B4-BE49-F238E27FC236}">
                      <a16:creationId xmlns:a16="http://schemas.microsoft.com/office/drawing/2014/main" id="{B06CC2ED-8A5A-425D-8FAD-A29B5B8B38CB}"/>
                    </a:ext>
                  </a:extLst>
                </p:cNvPr>
                <p:cNvSpPr>
                  <a:spLocks/>
                </p:cNvSpPr>
                <p:nvPr/>
              </p:nvSpPr>
              <p:spPr bwMode="auto">
                <a:xfrm>
                  <a:off x="3847088" y="3185112"/>
                  <a:ext cx="316894" cy="194449"/>
                </a:xfrm>
                <a:custGeom>
                  <a:avLst/>
                  <a:gdLst>
                    <a:gd name="T0" fmla="*/ 645 w 823"/>
                    <a:gd name="T1" fmla="*/ 0 h 505"/>
                    <a:gd name="T2" fmla="*/ 645 w 823"/>
                    <a:gd name="T3" fmla="*/ 38 h 505"/>
                    <a:gd name="T4" fmla="*/ 757 w 823"/>
                    <a:gd name="T5" fmla="*/ 38 h 505"/>
                    <a:gd name="T6" fmla="*/ 541 w 823"/>
                    <a:gd name="T7" fmla="*/ 251 h 505"/>
                    <a:gd name="T8" fmla="*/ 384 w 823"/>
                    <a:gd name="T9" fmla="*/ 95 h 505"/>
                    <a:gd name="T10" fmla="*/ 0 w 823"/>
                    <a:gd name="T11" fmla="*/ 477 h 505"/>
                    <a:gd name="T12" fmla="*/ 26 w 823"/>
                    <a:gd name="T13" fmla="*/ 505 h 505"/>
                    <a:gd name="T14" fmla="*/ 384 w 823"/>
                    <a:gd name="T15" fmla="*/ 149 h 505"/>
                    <a:gd name="T16" fmla="*/ 541 w 823"/>
                    <a:gd name="T17" fmla="*/ 304 h 505"/>
                    <a:gd name="T18" fmla="*/ 785 w 823"/>
                    <a:gd name="T19" fmla="*/ 64 h 505"/>
                    <a:gd name="T20" fmla="*/ 785 w 823"/>
                    <a:gd name="T21" fmla="*/ 176 h 505"/>
                    <a:gd name="T22" fmla="*/ 823 w 823"/>
                    <a:gd name="T23" fmla="*/ 176 h 505"/>
                    <a:gd name="T24" fmla="*/ 823 w 823"/>
                    <a:gd name="T25" fmla="*/ 0 h 505"/>
                    <a:gd name="T26" fmla="*/ 645 w 823"/>
                    <a:gd name="T27"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3" h="505">
                      <a:moveTo>
                        <a:pt x="645" y="0"/>
                      </a:moveTo>
                      <a:lnTo>
                        <a:pt x="645" y="38"/>
                      </a:lnTo>
                      <a:lnTo>
                        <a:pt x="757" y="38"/>
                      </a:lnTo>
                      <a:lnTo>
                        <a:pt x="541" y="251"/>
                      </a:lnTo>
                      <a:lnTo>
                        <a:pt x="384" y="95"/>
                      </a:lnTo>
                      <a:lnTo>
                        <a:pt x="0" y="477"/>
                      </a:lnTo>
                      <a:lnTo>
                        <a:pt x="26" y="505"/>
                      </a:lnTo>
                      <a:lnTo>
                        <a:pt x="384" y="149"/>
                      </a:lnTo>
                      <a:lnTo>
                        <a:pt x="541" y="304"/>
                      </a:lnTo>
                      <a:lnTo>
                        <a:pt x="785" y="64"/>
                      </a:lnTo>
                      <a:lnTo>
                        <a:pt x="785" y="176"/>
                      </a:lnTo>
                      <a:lnTo>
                        <a:pt x="823" y="176"/>
                      </a:lnTo>
                      <a:lnTo>
                        <a:pt x="823" y="0"/>
                      </a:lnTo>
                      <a:lnTo>
                        <a:pt x="645" y="0"/>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grpSp>
        <p:sp>
          <p:nvSpPr>
            <p:cNvPr id="159" name="Oval 158">
              <a:extLst>
                <a:ext uri="{FF2B5EF4-FFF2-40B4-BE49-F238E27FC236}">
                  <a16:creationId xmlns:a16="http://schemas.microsoft.com/office/drawing/2014/main" id="{222E2BBB-8200-4AC5-917E-A45CE41F8B1C}"/>
                </a:ext>
              </a:extLst>
            </p:cNvPr>
            <p:cNvSpPr/>
            <p:nvPr/>
          </p:nvSpPr>
          <p:spPr bwMode="auto">
            <a:xfrm>
              <a:off x="9362170" y="3832097"/>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cxnSp>
        <p:nvCxnSpPr>
          <p:cNvPr id="168" name="Straight Connector 167">
            <a:extLst>
              <a:ext uri="{FF2B5EF4-FFF2-40B4-BE49-F238E27FC236}">
                <a16:creationId xmlns:a16="http://schemas.microsoft.com/office/drawing/2014/main" id="{1C49DD94-5D04-4701-9B30-AE1FCE18BB5E}"/>
              </a:ext>
            </a:extLst>
          </p:cNvPr>
          <p:cNvCxnSpPr>
            <a:cxnSpLocks/>
            <a:stCxn id="148" idx="2"/>
            <a:endCxn id="159" idx="0"/>
          </p:cNvCxnSpPr>
          <p:nvPr/>
        </p:nvCxnSpPr>
        <p:spPr>
          <a:xfrm flipH="1">
            <a:off x="10489408" y="2056606"/>
            <a:ext cx="228028" cy="220947"/>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6D2FDA6C-D6AB-4B60-B2F9-713086C9C4F0}"/>
              </a:ext>
            </a:extLst>
          </p:cNvPr>
          <p:cNvSpPr/>
          <p:nvPr/>
        </p:nvSpPr>
        <p:spPr bwMode="auto">
          <a:xfrm>
            <a:off x="486946" y="1880320"/>
            <a:ext cx="1904443" cy="516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Enable </a:t>
            </a: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intelligence</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cxnSp>
        <p:nvCxnSpPr>
          <p:cNvPr id="165" name="Straight Connector 164">
            <a:extLst>
              <a:ext uri="{FF2B5EF4-FFF2-40B4-BE49-F238E27FC236}">
                <a16:creationId xmlns:a16="http://schemas.microsoft.com/office/drawing/2014/main" id="{AD68F8B6-5A03-41CD-8343-9275AB5F0F73}"/>
              </a:ext>
            </a:extLst>
          </p:cNvPr>
          <p:cNvCxnSpPr>
            <a:cxnSpLocks/>
            <a:stCxn id="161" idx="1"/>
          </p:cNvCxnSpPr>
          <p:nvPr/>
        </p:nvCxnSpPr>
        <p:spPr>
          <a:xfrm flipH="1" flipV="1">
            <a:off x="793228" y="2478703"/>
            <a:ext cx="201365" cy="15179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C7255BB-D421-46A3-919E-73D12601DE7C}"/>
              </a:ext>
            </a:extLst>
          </p:cNvPr>
          <p:cNvGrpSpPr/>
          <p:nvPr/>
        </p:nvGrpSpPr>
        <p:grpSpPr>
          <a:xfrm>
            <a:off x="620678" y="2613092"/>
            <a:ext cx="1401925" cy="1402559"/>
            <a:chOff x="2440387" y="3863510"/>
            <a:chExt cx="1401925" cy="1402559"/>
          </a:xfrm>
        </p:grpSpPr>
        <p:sp>
          <p:nvSpPr>
            <p:cNvPr id="156" name="Arc 155">
              <a:extLst>
                <a:ext uri="{FF2B5EF4-FFF2-40B4-BE49-F238E27FC236}">
                  <a16:creationId xmlns:a16="http://schemas.microsoft.com/office/drawing/2014/main" id="{10E6FF2A-F784-4395-9E15-E127FD570806}"/>
                </a:ext>
              </a:extLst>
            </p:cNvPr>
            <p:cNvSpPr/>
            <p:nvPr/>
          </p:nvSpPr>
          <p:spPr>
            <a:xfrm rot="20206005" flipH="1">
              <a:off x="2440387" y="3866111"/>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31" name="Flowchart: Connector 130">
              <a:extLst>
                <a:ext uri="{FF2B5EF4-FFF2-40B4-BE49-F238E27FC236}">
                  <a16:creationId xmlns:a16="http://schemas.microsoft.com/office/drawing/2014/main" id="{DCCD4A82-41EF-4B1B-BA7A-C1889D69697F}"/>
                </a:ext>
              </a:extLst>
            </p:cNvPr>
            <p:cNvSpPr/>
            <p:nvPr/>
          </p:nvSpPr>
          <p:spPr bwMode="auto">
            <a:xfrm>
              <a:off x="2595356" y="4024472"/>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1" name="Arc 140">
              <a:extLst>
                <a:ext uri="{FF2B5EF4-FFF2-40B4-BE49-F238E27FC236}">
                  <a16:creationId xmlns:a16="http://schemas.microsoft.com/office/drawing/2014/main" id="{F231DCAE-5A25-48ED-B166-CDF6F5471977}"/>
                </a:ext>
              </a:extLst>
            </p:cNvPr>
            <p:cNvSpPr/>
            <p:nvPr/>
          </p:nvSpPr>
          <p:spPr>
            <a:xfrm rot="1324984">
              <a:off x="2442354" y="3866111"/>
              <a:ext cx="1399958" cy="1399958"/>
            </a:xfrm>
            <a:prstGeom prst="arc">
              <a:avLst>
                <a:gd name="adj1" fmla="val 4834015"/>
                <a:gd name="adj2" fmla="val 19313044"/>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61" name="Oval 160">
              <a:extLst>
                <a:ext uri="{FF2B5EF4-FFF2-40B4-BE49-F238E27FC236}">
                  <a16:creationId xmlns:a16="http://schemas.microsoft.com/office/drawing/2014/main" id="{7F2E9562-796B-4BB8-9FBB-E5E54B2388EB}"/>
                </a:ext>
              </a:extLst>
            </p:cNvPr>
            <p:cNvSpPr/>
            <p:nvPr/>
          </p:nvSpPr>
          <p:spPr bwMode="auto">
            <a:xfrm>
              <a:off x="2796900" y="386351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nvGrpSpPr>
            <p:cNvPr id="79" name="Group 78">
              <a:extLst>
                <a:ext uri="{FF2B5EF4-FFF2-40B4-BE49-F238E27FC236}">
                  <a16:creationId xmlns:a16="http://schemas.microsoft.com/office/drawing/2014/main" id="{659F91EE-3AE9-4A7F-B869-2B20AC8A58F8}"/>
                </a:ext>
              </a:extLst>
            </p:cNvPr>
            <p:cNvGrpSpPr/>
            <p:nvPr/>
          </p:nvGrpSpPr>
          <p:grpSpPr>
            <a:xfrm>
              <a:off x="2870831" y="4336707"/>
              <a:ext cx="599821" cy="458767"/>
              <a:chOff x="-1120538" y="6963557"/>
              <a:chExt cx="910734" cy="696566"/>
            </a:xfrm>
            <a:solidFill>
              <a:schemeClr val="accent1">
                <a:lumMod val="75000"/>
              </a:schemeClr>
            </a:solidFill>
          </p:grpSpPr>
          <p:sp>
            <p:nvSpPr>
              <p:cNvPr id="97" name="Freeform: Shape 96">
                <a:extLst>
                  <a:ext uri="{FF2B5EF4-FFF2-40B4-BE49-F238E27FC236}">
                    <a16:creationId xmlns:a16="http://schemas.microsoft.com/office/drawing/2014/main" id="{FC3FC8A1-BAEC-4B22-8E58-564042112228}"/>
                  </a:ext>
                </a:extLst>
              </p:cNvPr>
              <p:cNvSpPr/>
              <p:nvPr/>
            </p:nvSpPr>
            <p:spPr>
              <a:xfrm>
                <a:off x="-1041596" y="6963557"/>
                <a:ext cx="144318" cy="144318"/>
              </a:xfrm>
              <a:custGeom>
                <a:avLst/>
                <a:gdLst>
                  <a:gd name="connsiteX0" fmla="*/ 152285 w 144318"/>
                  <a:gd name="connsiteY0" fmla="*/ 76142 h 144318"/>
                  <a:gd name="connsiteX1" fmla="*/ 76142 w 144318"/>
                  <a:gd name="connsiteY1" fmla="*/ 152285 h 144318"/>
                  <a:gd name="connsiteX2" fmla="*/ 0 w 144318"/>
                  <a:gd name="connsiteY2" fmla="*/ 76142 h 144318"/>
                  <a:gd name="connsiteX3" fmla="*/ 76142 w 144318"/>
                  <a:gd name="connsiteY3" fmla="*/ 0 h 144318"/>
                  <a:gd name="connsiteX4" fmla="*/ 152285 w 144318"/>
                  <a:gd name="connsiteY4" fmla="*/ 76142 h 14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18" h="144318">
                    <a:moveTo>
                      <a:pt x="152285" y="76142"/>
                    </a:moveTo>
                    <a:cubicBezTo>
                      <a:pt x="152285" y="118194"/>
                      <a:pt x="118194" y="152285"/>
                      <a:pt x="76142" y="152285"/>
                    </a:cubicBezTo>
                    <a:cubicBezTo>
                      <a:pt x="34090" y="152285"/>
                      <a:pt x="0" y="118194"/>
                      <a:pt x="0" y="76142"/>
                    </a:cubicBezTo>
                    <a:cubicBezTo>
                      <a:pt x="0" y="34090"/>
                      <a:pt x="34090" y="0"/>
                      <a:pt x="76142" y="0"/>
                    </a:cubicBezTo>
                    <a:cubicBezTo>
                      <a:pt x="118194" y="0"/>
                      <a:pt x="152285" y="34090"/>
                      <a:pt x="152285" y="76142"/>
                    </a:cubicBez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156424BE-87A6-49BF-8B94-44ED73216CA8}"/>
                  </a:ext>
                </a:extLst>
              </p:cNvPr>
              <p:cNvSpPr/>
              <p:nvPr/>
            </p:nvSpPr>
            <p:spPr>
              <a:xfrm>
                <a:off x="-1120538" y="7140260"/>
                <a:ext cx="432955" cy="519545"/>
              </a:xfrm>
              <a:custGeom>
                <a:avLst/>
                <a:gdLst>
                  <a:gd name="connsiteX0" fmla="*/ 418523 w 432954"/>
                  <a:gd name="connsiteY0" fmla="*/ 53398 h 519545"/>
                  <a:gd name="connsiteX1" fmla="*/ 445193 w 432954"/>
                  <a:gd name="connsiteY1" fmla="*/ 26728 h 519545"/>
                  <a:gd name="connsiteX2" fmla="*/ 418523 w 432954"/>
                  <a:gd name="connsiteY2" fmla="*/ 58 h 519545"/>
                  <a:gd name="connsiteX3" fmla="*/ 415694 w 432954"/>
                  <a:gd name="connsiteY3" fmla="*/ 58 h 519545"/>
                  <a:gd name="connsiteX4" fmla="*/ 415694 w 432954"/>
                  <a:gd name="connsiteY4" fmla="*/ 0 h 519545"/>
                  <a:gd name="connsiteX5" fmla="*/ 186777 w 432954"/>
                  <a:gd name="connsiteY5" fmla="*/ 0 h 519545"/>
                  <a:gd name="connsiteX6" fmla="*/ 156730 w 432954"/>
                  <a:gd name="connsiteY6" fmla="*/ 0 h 519545"/>
                  <a:gd name="connsiteX7" fmla="*/ 53398 w 432954"/>
                  <a:gd name="connsiteY7" fmla="*/ 0 h 519545"/>
                  <a:gd name="connsiteX8" fmla="*/ 0 w 432954"/>
                  <a:gd name="connsiteY8" fmla="*/ 53398 h 519545"/>
                  <a:gd name="connsiteX9" fmla="*/ 0 w 432954"/>
                  <a:gd name="connsiteY9" fmla="*/ 218411 h 519545"/>
                  <a:gd name="connsiteX10" fmla="*/ 0 w 432954"/>
                  <a:gd name="connsiteY10" fmla="*/ 262313 h 519545"/>
                  <a:gd name="connsiteX11" fmla="*/ 26670 w 432954"/>
                  <a:gd name="connsiteY11" fmla="*/ 288983 h 519545"/>
                  <a:gd name="connsiteX12" fmla="*/ 53398 w 432954"/>
                  <a:gd name="connsiteY12" fmla="*/ 262313 h 519545"/>
                  <a:gd name="connsiteX13" fmla="*/ 53398 w 432954"/>
                  <a:gd name="connsiteY13" fmla="*/ 84513 h 519545"/>
                  <a:gd name="connsiteX14" fmla="*/ 70023 w 432954"/>
                  <a:gd name="connsiteY14" fmla="*/ 84513 h 519545"/>
                  <a:gd name="connsiteX15" fmla="*/ 70023 w 432954"/>
                  <a:gd name="connsiteY15" fmla="*/ 315653 h 519545"/>
                  <a:gd name="connsiteX16" fmla="*/ 70081 w 432954"/>
                  <a:gd name="connsiteY16" fmla="*/ 315653 h 519545"/>
                  <a:gd name="connsiteX17" fmla="*/ 70081 w 432954"/>
                  <a:gd name="connsiteY17" fmla="*/ 457546 h 519545"/>
                  <a:gd name="connsiteX18" fmla="*/ 70081 w 432954"/>
                  <a:gd name="connsiteY18" fmla="*/ 510136 h 519545"/>
                  <a:gd name="connsiteX19" fmla="*/ 70081 w 432954"/>
                  <a:gd name="connsiteY19" fmla="*/ 513744 h 519545"/>
                  <a:gd name="connsiteX20" fmla="*/ 104255 w 432954"/>
                  <a:gd name="connsiteY20" fmla="*/ 547976 h 519545"/>
                  <a:gd name="connsiteX21" fmla="*/ 138430 w 432954"/>
                  <a:gd name="connsiteY21" fmla="*/ 513744 h 519545"/>
                  <a:gd name="connsiteX22" fmla="*/ 138430 w 432954"/>
                  <a:gd name="connsiteY22" fmla="*/ 510136 h 519545"/>
                  <a:gd name="connsiteX23" fmla="*/ 138430 w 432954"/>
                  <a:gd name="connsiteY23" fmla="*/ 457546 h 519545"/>
                  <a:gd name="connsiteX24" fmla="*/ 138430 w 432954"/>
                  <a:gd name="connsiteY24" fmla="*/ 315653 h 519545"/>
                  <a:gd name="connsiteX25" fmla="*/ 171796 w 432954"/>
                  <a:gd name="connsiteY25" fmla="*/ 315653 h 519545"/>
                  <a:gd name="connsiteX26" fmla="*/ 171796 w 432954"/>
                  <a:gd name="connsiteY26" fmla="*/ 457546 h 519545"/>
                  <a:gd name="connsiteX27" fmla="*/ 171796 w 432954"/>
                  <a:gd name="connsiteY27" fmla="*/ 510136 h 519545"/>
                  <a:gd name="connsiteX28" fmla="*/ 171796 w 432954"/>
                  <a:gd name="connsiteY28" fmla="*/ 513744 h 519545"/>
                  <a:gd name="connsiteX29" fmla="*/ 205971 w 432954"/>
                  <a:gd name="connsiteY29" fmla="*/ 547976 h 519545"/>
                  <a:gd name="connsiteX30" fmla="*/ 240145 w 432954"/>
                  <a:gd name="connsiteY30" fmla="*/ 513744 h 519545"/>
                  <a:gd name="connsiteX31" fmla="*/ 240145 w 432954"/>
                  <a:gd name="connsiteY31" fmla="*/ 510136 h 519545"/>
                  <a:gd name="connsiteX32" fmla="*/ 240145 w 432954"/>
                  <a:gd name="connsiteY32" fmla="*/ 457546 h 519545"/>
                  <a:gd name="connsiteX33" fmla="*/ 240145 w 432954"/>
                  <a:gd name="connsiteY33" fmla="*/ 262313 h 519545"/>
                  <a:gd name="connsiteX34" fmla="*/ 240145 w 432954"/>
                  <a:gd name="connsiteY34" fmla="*/ 260061 h 519545"/>
                  <a:gd name="connsiteX35" fmla="*/ 240145 w 432954"/>
                  <a:gd name="connsiteY35" fmla="*/ 53398 h 519545"/>
                  <a:gd name="connsiteX36" fmla="*/ 415752 w 432954"/>
                  <a:gd name="connsiteY36" fmla="*/ 53398 h 519545"/>
                  <a:gd name="connsiteX37" fmla="*/ 418523 w 432954"/>
                  <a:gd name="connsiteY37" fmla="*/ 53398 h 5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954" h="519545">
                    <a:moveTo>
                      <a:pt x="418523" y="53398"/>
                    </a:moveTo>
                    <a:cubicBezTo>
                      <a:pt x="433243" y="53398"/>
                      <a:pt x="445193" y="41448"/>
                      <a:pt x="445193" y="26728"/>
                    </a:cubicBezTo>
                    <a:cubicBezTo>
                      <a:pt x="445193" y="11950"/>
                      <a:pt x="433243" y="58"/>
                      <a:pt x="418523" y="58"/>
                    </a:cubicBezTo>
                    <a:lnTo>
                      <a:pt x="415694" y="58"/>
                    </a:lnTo>
                    <a:lnTo>
                      <a:pt x="415694" y="0"/>
                    </a:lnTo>
                    <a:lnTo>
                      <a:pt x="186777" y="0"/>
                    </a:lnTo>
                    <a:lnTo>
                      <a:pt x="156730" y="0"/>
                    </a:lnTo>
                    <a:lnTo>
                      <a:pt x="53398" y="0"/>
                    </a:lnTo>
                    <a:cubicBezTo>
                      <a:pt x="23928" y="0"/>
                      <a:pt x="0" y="23899"/>
                      <a:pt x="0" y="53398"/>
                    </a:cubicBezTo>
                    <a:lnTo>
                      <a:pt x="0" y="218411"/>
                    </a:lnTo>
                    <a:lnTo>
                      <a:pt x="0" y="262313"/>
                    </a:lnTo>
                    <a:cubicBezTo>
                      <a:pt x="0" y="277091"/>
                      <a:pt x="11950" y="288983"/>
                      <a:pt x="26670" y="288983"/>
                    </a:cubicBezTo>
                    <a:cubicBezTo>
                      <a:pt x="41448" y="288983"/>
                      <a:pt x="53398" y="277091"/>
                      <a:pt x="53398" y="262313"/>
                    </a:cubicBezTo>
                    <a:lnTo>
                      <a:pt x="53398" y="84513"/>
                    </a:lnTo>
                    <a:lnTo>
                      <a:pt x="70023" y="84513"/>
                    </a:lnTo>
                    <a:lnTo>
                      <a:pt x="70023" y="315653"/>
                    </a:lnTo>
                    <a:lnTo>
                      <a:pt x="70081" y="315653"/>
                    </a:lnTo>
                    <a:lnTo>
                      <a:pt x="70081" y="457546"/>
                    </a:lnTo>
                    <a:lnTo>
                      <a:pt x="70081" y="510136"/>
                    </a:lnTo>
                    <a:lnTo>
                      <a:pt x="70081" y="513744"/>
                    </a:lnTo>
                    <a:cubicBezTo>
                      <a:pt x="70081" y="532621"/>
                      <a:pt x="85350" y="547976"/>
                      <a:pt x="104255" y="547976"/>
                    </a:cubicBezTo>
                    <a:cubicBezTo>
                      <a:pt x="123161" y="547976"/>
                      <a:pt x="138430" y="532650"/>
                      <a:pt x="138430" y="513744"/>
                    </a:cubicBezTo>
                    <a:lnTo>
                      <a:pt x="138430" y="510136"/>
                    </a:lnTo>
                    <a:lnTo>
                      <a:pt x="138430" y="457546"/>
                    </a:lnTo>
                    <a:lnTo>
                      <a:pt x="138430" y="315653"/>
                    </a:lnTo>
                    <a:lnTo>
                      <a:pt x="171796" y="315653"/>
                    </a:lnTo>
                    <a:lnTo>
                      <a:pt x="171796" y="457546"/>
                    </a:lnTo>
                    <a:lnTo>
                      <a:pt x="171796" y="510136"/>
                    </a:lnTo>
                    <a:lnTo>
                      <a:pt x="171796" y="513744"/>
                    </a:lnTo>
                    <a:cubicBezTo>
                      <a:pt x="171796" y="532621"/>
                      <a:pt x="187123" y="547976"/>
                      <a:pt x="205971" y="547976"/>
                    </a:cubicBezTo>
                    <a:cubicBezTo>
                      <a:pt x="224848" y="547976"/>
                      <a:pt x="240145" y="532650"/>
                      <a:pt x="240145" y="513744"/>
                    </a:cubicBezTo>
                    <a:lnTo>
                      <a:pt x="240145" y="510136"/>
                    </a:lnTo>
                    <a:lnTo>
                      <a:pt x="240145" y="457546"/>
                    </a:lnTo>
                    <a:lnTo>
                      <a:pt x="240145" y="262313"/>
                    </a:lnTo>
                    <a:lnTo>
                      <a:pt x="240145" y="260061"/>
                    </a:lnTo>
                    <a:lnTo>
                      <a:pt x="240145" y="53398"/>
                    </a:lnTo>
                    <a:lnTo>
                      <a:pt x="415752" y="53398"/>
                    </a:lnTo>
                    <a:lnTo>
                      <a:pt x="418523" y="53398"/>
                    </a:lnTo>
                    <a:close/>
                  </a:path>
                </a:pathLst>
              </a:custGeom>
              <a:solidFill>
                <a:schemeClr val="accent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031E00F4-239D-4982-9A72-1E99675DE94B}"/>
                  </a:ext>
                </a:extLst>
              </p:cNvPr>
              <p:cNvSpPr/>
              <p:nvPr/>
            </p:nvSpPr>
            <p:spPr>
              <a:xfrm>
                <a:off x="-787077" y="7053987"/>
                <a:ext cx="577273" cy="606136"/>
              </a:xfrm>
              <a:custGeom>
                <a:avLst/>
                <a:gdLst>
                  <a:gd name="connsiteX0" fmla="*/ 546822 w 577272"/>
                  <a:gd name="connsiteY0" fmla="*/ 0 h 606136"/>
                  <a:gd name="connsiteX1" fmla="*/ 43353 w 577272"/>
                  <a:gd name="connsiteY1" fmla="*/ 0 h 606136"/>
                  <a:gd name="connsiteX2" fmla="*/ 0 w 577272"/>
                  <a:gd name="connsiteY2" fmla="*/ 43353 h 606136"/>
                  <a:gd name="connsiteX3" fmla="*/ 0 w 577272"/>
                  <a:gd name="connsiteY3" fmla="*/ 67079 h 606136"/>
                  <a:gd name="connsiteX4" fmla="*/ 33309 w 577272"/>
                  <a:gd name="connsiteY4" fmla="*/ 67079 h 606136"/>
                  <a:gd name="connsiteX5" fmla="*/ 33309 w 577272"/>
                  <a:gd name="connsiteY5" fmla="*/ 43353 h 606136"/>
                  <a:gd name="connsiteX6" fmla="*/ 43353 w 577272"/>
                  <a:gd name="connsiteY6" fmla="*/ 33366 h 606136"/>
                  <a:gd name="connsiteX7" fmla="*/ 546822 w 577272"/>
                  <a:gd name="connsiteY7" fmla="*/ 33366 h 606136"/>
                  <a:gd name="connsiteX8" fmla="*/ 556866 w 577272"/>
                  <a:gd name="connsiteY8" fmla="*/ 43353 h 606136"/>
                  <a:gd name="connsiteX9" fmla="*/ 556866 w 577272"/>
                  <a:gd name="connsiteY9" fmla="*/ 357967 h 606136"/>
                  <a:gd name="connsiteX10" fmla="*/ 546822 w 577272"/>
                  <a:gd name="connsiteY10" fmla="*/ 367954 h 606136"/>
                  <a:gd name="connsiteX11" fmla="*/ 43353 w 577272"/>
                  <a:gd name="connsiteY11" fmla="*/ 367954 h 606136"/>
                  <a:gd name="connsiteX12" fmla="*/ 33309 w 577272"/>
                  <a:gd name="connsiteY12" fmla="*/ 357967 h 606136"/>
                  <a:gd name="connsiteX13" fmla="*/ 33309 w 577272"/>
                  <a:gd name="connsiteY13" fmla="*/ 158577 h 606136"/>
                  <a:gd name="connsiteX14" fmla="*/ 0 w 577272"/>
                  <a:gd name="connsiteY14" fmla="*/ 158577 h 606136"/>
                  <a:gd name="connsiteX15" fmla="*/ 0 w 577272"/>
                  <a:gd name="connsiteY15" fmla="*/ 357967 h 606136"/>
                  <a:gd name="connsiteX16" fmla="*/ 41160 w 577272"/>
                  <a:gd name="connsiteY16" fmla="*/ 401031 h 606136"/>
                  <a:gd name="connsiteX17" fmla="*/ 41160 w 577272"/>
                  <a:gd name="connsiteY17" fmla="*/ 433330 h 606136"/>
                  <a:gd name="connsiteX18" fmla="*/ 115743 w 577272"/>
                  <a:gd name="connsiteY18" fmla="*/ 433330 h 606136"/>
                  <a:gd name="connsiteX19" fmla="*/ 68118 w 577272"/>
                  <a:gd name="connsiteY19" fmla="*/ 634250 h 606136"/>
                  <a:gd name="connsiteX20" fmla="*/ 122699 w 577272"/>
                  <a:gd name="connsiteY20" fmla="*/ 634250 h 606136"/>
                  <a:gd name="connsiteX21" fmla="*/ 170555 w 577272"/>
                  <a:gd name="connsiteY21" fmla="*/ 433330 h 606136"/>
                  <a:gd name="connsiteX22" fmla="*/ 419677 w 577272"/>
                  <a:gd name="connsiteY22" fmla="*/ 433330 h 606136"/>
                  <a:gd name="connsiteX23" fmla="*/ 467591 w 577272"/>
                  <a:gd name="connsiteY23" fmla="*/ 634250 h 606136"/>
                  <a:gd name="connsiteX24" fmla="*/ 522114 w 577272"/>
                  <a:gd name="connsiteY24" fmla="*/ 634250 h 606136"/>
                  <a:gd name="connsiteX25" fmla="*/ 474489 w 577272"/>
                  <a:gd name="connsiteY25" fmla="*/ 433330 h 606136"/>
                  <a:gd name="connsiteX26" fmla="*/ 549131 w 577272"/>
                  <a:gd name="connsiteY26" fmla="*/ 433330 h 606136"/>
                  <a:gd name="connsiteX27" fmla="*/ 549131 w 577272"/>
                  <a:gd name="connsiteY27" fmla="*/ 401031 h 606136"/>
                  <a:gd name="connsiteX28" fmla="*/ 590232 w 577272"/>
                  <a:gd name="connsiteY28" fmla="*/ 357967 h 606136"/>
                  <a:gd name="connsiteX29" fmla="*/ 590232 w 577272"/>
                  <a:gd name="connsiteY29" fmla="*/ 43353 h 606136"/>
                  <a:gd name="connsiteX30" fmla="*/ 546822 w 577272"/>
                  <a:gd name="connsiteY30" fmla="*/ 0 h 60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7272" h="606136">
                    <a:moveTo>
                      <a:pt x="546822" y="0"/>
                    </a:moveTo>
                    <a:lnTo>
                      <a:pt x="43353" y="0"/>
                    </a:lnTo>
                    <a:cubicBezTo>
                      <a:pt x="19454" y="0"/>
                      <a:pt x="0" y="19454"/>
                      <a:pt x="0" y="43353"/>
                    </a:cubicBezTo>
                    <a:lnTo>
                      <a:pt x="0" y="67079"/>
                    </a:lnTo>
                    <a:lnTo>
                      <a:pt x="33309" y="67079"/>
                    </a:lnTo>
                    <a:lnTo>
                      <a:pt x="33309" y="43353"/>
                    </a:lnTo>
                    <a:cubicBezTo>
                      <a:pt x="33309" y="37840"/>
                      <a:pt x="37811" y="33366"/>
                      <a:pt x="43353" y="33366"/>
                    </a:cubicBezTo>
                    <a:lnTo>
                      <a:pt x="546822" y="33366"/>
                    </a:lnTo>
                    <a:cubicBezTo>
                      <a:pt x="552335" y="33366"/>
                      <a:pt x="556866" y="37811"/>
                      <a:pt x="556866" y="43353"/>
                    </a:cubicBezTo>
                    <a:lnTo>
                      <a:pt x="556866" y="357967"/>
                    </a:lnTo>
                    <a:cubicBezTo>
                      <a:pt x="556866" y="363480"/>
                      <a:pt x="552363" y="367954"/>
                      <a:pt x="546822" y="367954"/>
                    </a:cubicBezTo>
                    <a:lnTo>
                      <a:pt x="43353" y="367954"/>
                    </a:lnTo>
                    <a:cubicBezTo>
                      <a:pt x="37840" y="367954"/>
                      <a:pt x="33309" y="363509"/>
                      <a:pt x="33309" y="357967"/>
                    </a:cubicBezTo>
                    <a:lnTo>
                      <a:pt x="33309" y="158577"/>
                    </a:lnTo>
                    <a:lnTo>
                      <a:pt x="0" y="158577"/>
                    </a:lnTo>
                    <a:lnTo>
                      <a:pt x="0" y="357967"/>
                    </a:lnTo>
                    <a:cubicBezTo>
                      <a:pt x="0" y="381087"/>
                      <a:pt x="18271" y="399906"/>
                      <a:pt x="41160" y="401031"/>
                    </a:cubicBezTo>
                    <a:lnTo>
                      <a:pt x="41160" y="433330"/>
                    </a:lnTo>
                    <a:lnTo>
                      <a:pt x="115743" y="433330"/>
                    </a:lnTo>
                    <a:lnTo>
                      <a:pt x="68118" y="634250"/>
                    </a:lnTo>
                    <a:lnTo>
                      <a:pt x="122699" y="634250"/>
                    </a:lnTo>
                    <a:lnTo>
                      <a:pt x="170555" y="433330"/>
                    </a:lnTo>
                    <a:lnTo>
                      <a:pt x="419677" y="433330"/>
                    </a:lnTo>
                    <a:lnTo>
                      <a:pt x="467591" y="634250"/>
                    </a:lnTo>
                    <a:lnTo>
                      <a:pt x="522114" y="634250"/>
                    </a:lnTo>
                    <a:lnTo>
                      <a:pt x="474489" y="433330"/>
                    </a:lnTo>
                    <a:lnTo>
                      <a:pt x="549131" y="433330"/>
                    </a:lnTo>
                    <a:lnTo>
                      <a:pt x="549131" y="401031"/>
                    </a:lnTo>
                    <a:cubicBezTo>
                      <a:pt x="571962" y="399906"/>
                      <a:pt x="590232" y="381087"/>
                      <a:pt x="590232" y="357967"/>
                    </a:cubicBezTo>
                    <a:lnTo>
                      <a:pt x="590232" y="43353"/>
                    </a:lnTo>
                    <a:cubicBezTo>
                      <a:pt x="590175" y="19425"/>
                      <a:pt x="570721" y="0"/>
                      <a:pt x="546822" y="0"/>
                    </a:cubicBez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9D8A847-C6EC-46A2-9FD5-DF09C437BB02}"/>
                  </a:ext>
                </a:extLst>
              </p:cNvPr>
              <p:cNvSpPr/>
              <p:nvPr/>
            </p:nvSpPr>
            <p:spPr>
              <a:xfrm>
                <a:off x="-699447" y="7249104"/>
                <a:ext cx="28864" cy="115455"/>
              </a:xfrm>
              <a:custGeom>
                <a:avLst/>
                <a:gdLst>
                  <a:gd name="connsiteX0" fmla="*/ 0 w 28863"/>
                  <a:gd name="connsiteY0" fmla="*/ 0 h 115454"/>
                  <a:gd name="connsiteX1" fmla="*/ 48837 w 28863"/>
                  <a:gd name="connsiteY1" fmla="*/ 0 h 115454"/>
                  <a:gd name="connsiteX2" fmla="*/ 48837 w 28863"/>
                  <a:gd name="connsiteY2" fmla="*/ 134678 h 115454"/>
                  <a:gd name="connsiteX3" fmla="*/ 0 w 28863"/>
                  <a:gd name="connsiteY3" fmla="*/ 134678 h 115454"/>
                </a:gdLst>
                <a:ahLst/>
                <a:cxnLst>
                  <a:cxn ang="0">
                    <a:pos x="connsiteX0" y="connsiteY0"/>
                  </a:cxn>
                  <a:cxn ang="0">
                    <a:pos x="connsiteX1" y="connsiteY1"/>
                  </a:cxn>
                  <a:cxn ang="0">
                    <a:pos x="connsiteX2" y="connsiteY2"/>
                  </a:cxn>
                  <a:cxn ang="0">
                    <a:pos x="connsiteX3" y="connsiteY3"/>
                  </a:cxn>
                </a:cxnLst>
                <a:rect l="l" t="t" r="r" b="b"/>
                <a:pathLst>
                  <a:path w="28863" h="115454">
                    <a:moveTo>
                      <a:pt x="0" y="0"/>
                    </a:moveTo>
                    <a:lnTo>
                      <a:pt x="48837" y="0"/>
                    </a:lnTo>
                    <a:lnTo>
                      <a:pt x="48837" y="134678"/>
                    </a:lnTo>
                    <a:lnTo>
                      <a:pt x="0" y="134678"/>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E207B5F-028B-4328-8089-5D061B2614B8}"/>
                  </a:ext>
                </a:extLst>
              </p:cNvPr>
              <p:cNvSpPr/>
              <p:nvPr/>
            </p:nvSpPr>
            <p:spPr>
              <a:xfrm>
                <a:off x="-607920" y="7169730"/>
                <a:ext cx="28864" cy="202045"/>
              </a:xfrm>
              <a:custGeom>
                <a:avLst/>
                <a:gdLst>
                  <a:gd name="connsiteX0" fmla="*/ 0 w 28863"/>
                  <a:gd name="connsiteY0" fmla="*/ 0 h 202045"/>
                  <a:gd name="connsiteX1" fmla="*/ 48808 w 28863"/>
                  <a:gd name="connsiteY1" fmla="*/ 0 h 202045"/>
                  <a:gd name="connsiteX2" fmla="*/ 48808 w 28863"/>
                  <a:gd name="connsiteY2" fmla="*/ 214053 h 202045"/>
                  <a:gd name="connsiteX3" fmla="*/ 0 w 28863"/>
                  <a:gd name="connsiteY3" fmla="*/ 214053 h 202045"/>
                </a:gdLst>
                <a:ahLst/>
                <a:cxnLst>
                  <a:cxn ang="0">
                    <a:pos x="connsiteX0" y="connsiteY0"/>
                  </a:cxn>
                  <a:cxn ang="0">
                    <a:pos x="connsiteX1" y="connsiteY1"/>
                  </a:cxn>
                  <a:cxn ang="0">
                    <a:pos x="connsiteX2" y="connsiteY2"/>
                  </a:cxn>
                  <a:cxn ang="0">
                    <a:pos x="connsiteX3" y="connsiteY3"/>
                  </a:cxn>
                </a:cxnLst>
                <a:rect l="l" t="t" r="r" b="b"/>
                <a:pathLst>
                  <a:path w="28863" h="202045">
                    <a:moveTo>
                      <a:pt x="0" y="0"/>
                    </a:moveTo>
                    <a:lnTo>
                      <a:pt x="48808" y="0"/>
                    </a:lnTo>
                    <a:lnTo>
                      <a:pt x="48808" y="214053"/>
                    </a:lnTo>
                    <a:lnTo>
                      <a:pt x="0" y="21405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9343F60-FF08-478D-B5A8-587DE791B7B7}"/>
                  </a:ext>
                </a:extLst>
              </p:cNvPr>
              <p:cNvSpPr/>
              <p:nvPr/>
            </p:nvSpPr>
            <p:spPr>
              <a:xfrm>
                <a:off x="-516393" y="7222637"/>
                <a:ext cx="28864" cy="144318"/>
              </a:xfrm>
              <a:custGeom>
                <a:avLst/>
                <a:gdLst>
                  <a:gd name="connsiteX0" fmla="*/ 0 w 28863"/>
                  <a:gd name="connsiteY0" fmla="*/ 0 h 144318"/>
                  <a:gd name="connsiteX1" fmla="*/ 48808 w 28863"/>
                  <a:gd name="connsiteY1" fmla="*/ 0 h 144318"/>
                  <a:gd name="connsiteX2" fmla="*/ 48808 w 28863"/>
                  <a:gd name="connsiteY2" fmla="*/ 161146 h 144318"/>
                  <a:gd name="connsiteX3" fmla="*/ 0 w 28863"/>
                  <a:gd name="connsiteY3" fmla="*/ 161146 h 144318"/>
                </a:gdLst>
                <a:ahLst/>
                <a:cxnLst>
                  <a:cxn ang="0">
                    <a:pos x="connsiteX0" y="connsiteY0"/>
                  </a:cxn>
                  <a:cxn ang="0">
                    <a:pos x="connsiteX1" y="connsiteY1"/>
                  </a:cxn>
                  <a:cxn ang="0">
                    <a:pos x="connsiteX2" y="connsiteY2"/>
                  </a:cxn>
                  <a:cxn ang="0">
                    <a:pos x="connsiteX3" y="connsiteY3"/>
                  </a:cxn>
                </a:cxnLst>
                <a:rect l="l" t="t" r="r" b="b"/>
                <a:pathLst>
                  <a:path w="28863" h="144318">
                    <a:moveTo>
                      <a:pt x="0" y="0"/>
                    </a:moveTo>
                    <a:lnTo>
                      <a:pt x="48808" y="0"/>
                    </a:lnTo>
                    <a:lnTo>
                      <a:pt x="48808" y="161146"/>
                    </a:lnTo>
                    <a:lnTo>
                      <a:pt x="0" y="161146"/>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A62524DE-6876-4F8E-8C9E-848479D0A4DB}"/>
                  </a:ext>
                </a:extLst>
              </p:cNvPr>
              <p:cNvSpPr/>
              <p:nvPr/>
            </p:nvSpPr>
            <p:spPr>
              <a:xfrm>
                <a:off x="-424867" y="7125222"/>
                <a:ext cx="28864" cy="230909"/>
              </a:xfrm>
              <a:custGeom>
                <a:avLst/>
                <a:gdLst>
                  <a:gd name="connsiteX0" fmla="*/ 0 w 28863"/>
                  <a:gd name="connsiteY0" fmla="*/ 0 h 230909"/>
                  <a:gd name="connsiteX1" fmla="*/ 48808 w 28863"/>
                  <a:gd name="connsiteY1" fmla="*/ 0 h 230909"/>
                  <a:gd name="connsiteX2" fmla="*/ 48808 w 28863"/>
                  <a:gd name="connsiteY2" fmla="*/ 258560 h 230909"/>
                  <a:gd name="connsiteX3" fmla="*/ 0 w 28863"/>
                  <a:gd name="connsiteY3" fmla="*/ 258560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08" y="0"/>
                    </a:lnTo>
                    <a:lnTo>
                      <a:pt x="48808" y="258560"/>
                    </a:lnTo>
                    <a:lnTo>
                      <a:pt x="0" y="258560"/>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C710EA5-F48D-4ACE-87D2-5DC0A0EEBD7A}"/>
                  </a:ext>
                </a:extLst>
              </p:cNvPr>
              <p:cNvSpPr/>
              <p:nvPr/>
            </p:nvSpPr>
            <p:spPr>
              <a:xfrm>
                <a:off x="-333398" y="7140289"/>
                <a:ext cx="28864" cy="230909"/>
              </a:xfrm>
              <a:custGeom>
                <a:avLst/>
                <a:gdLst>
                  <a:gd name="connsiteX0" fmla="*/ 0 w 28863"/>
                  <a:gd name="connsiteY0" fmla="*/ 0 h 230909"/>
                  <a:gd name="connsiteX1" fmla="*/ 48837 w 28863"/>
                  <a:gd name="connsiteY1" fmla="*/ 0 h 230909"/>
                  <a:gd name="connsiteX2" fmla="*/ 48837 w 28863"/>
                  <a:gd name="connsiteY2" fmla="*/ 243523 h 230909"/>
                  <a:gd name="connsiteX3" fmla="*/ 0 w 28863"/>
                  <a:gd name="connsiteY3" fmla="*/ 243523 h 230909"/>
                </a:gdLst>
                <a:ahLst/>
                <a:cxnLst>
                  <a:cxn ang="0">
                    <a:pos x="connsiteX0" y="connsiteY0"/>
                  </a:cxn>
                  <a:cxn ang="0">
                    <a:pos x="connsiteX1" y="connsiteY1"/>
                  </a:cxn>
                  <a:cxn ang="0">
                    <a:pos x="connsiteX2" y="connsiteY2"/>
                  </a:cxn>
                  <a:cxn ang="0">
                    <a:pos x="connsiteX3" y="connsiteY3"/>
                  </a:cxn>
                </a:cxnLst>
                <a:rect l="l" t="t" r="r" b="b"/>
                <a:pathLst>
                  <a:path w="28863" h="230909">
                    <a:moveTo>
                      <a:pt x="0" y="0"/>
                    </a:moveTo>
                    <a:lnTo>
                      <a:pt x="48837" y="0"/>
                    </a:lnTo>
                    <a:lnTo>
                      <a:pt x="48837" y="243523"/>
                    </a:lnTo>
                    <a:lnTo>
                      <a:pt x="0" y="243523"/>
                    </a:lnTo>
                    <a:close/>
                  </a:path>
                </a:pathLst>
              </a:custGeom>
              <a:solidFill>
                <a:srgbClr val="505050"/>
              </a:solidFill>
              <a:ln w="2886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cxnSp>
        <p:nvCxnSpPr>
          <p:cNvPr id="114" name="Straight Connector 113">
            <a:extLst>
              <a:ext uri="{FF2B5EF4-FFF2-40B4-BE49-F238E27FC236}">
                <a16:creationId xmlns:a16="http://schemas.microsoft.com/office/drawing/2014/main" id="{26A02E66-F4C4-47CC-857F-5202FCA6B564}"/>
              </a:ext>
            </a:extLst>
          </p:cNvPr>
          <p:cNvCxnSpPr>
            <a:cxnSpLocks/>
          </p:cNvCxnSpPr>
          <p:nvPr/>
        </p:nvCxnSpPr>
        <p:spPr>
          <a:xfrm flipV="1">
            <a:off x="6096000" y="1447661"/>
            <a:ext cx="1" cy="16451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D0AD93-1BA4-45BA-B71E-AA2EF0249D6D}"/>
              </a:ext>
            </a:extLst>
          </p:cNvPr>
          <p:cNvSpPr/>
          <p:nvPr/>
        </p:nvSpPr>
        <p:spPr bwMode="auto">
          <a:xfrm>
            <a:off x="4626396" y="3390946"/>
            <a:ext cx="2560320" cy="119720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elp reduce fraud activities</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Enhance account protection</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Segoe UI"/>
              </a:rPr>
              <a:t>Help protect bottom line</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110">
            <a:extLst>
              <a:ext uri="{FF2B5EF4-FFF2-40B4-BE49-F238E27FC236}">
                <a16:creationId xmlns:a16="http://schemas.microsoft.com/office/drawing/2014/main" id="{40BA1C11-3D31-4DFA-8CA7-87BD1CE12C44}"/>
              </a:ext>
            </a:extLst>
          </p:cNvPr>
          <p:cNvSpPr/>
          <p:nvPr/>
        </p:nvSpPr>
        <p:spPr bwMode="auto">
          <a:xfrm>
            <a:off x="7460074" y="1966454"/>
            <a:ext cx="1355621" cy="1822508"/>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AAE0921F-6650-4B44-A93C-FFA3B2304318}"/>
              </a:ext>
            </a:extLst>
          </p:cNvPr>
          <p:cNvSpPr/>
          <p:nvPr/>
        </p:nvSpPr>
        <p:spPr bwMode="auto">
          <a:xfrm flipV="1">
            <a:off x="7085673" y="1023132"/>
            <a:ext cx="2379670" cy="900205"/>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2D4530-0D8C-4D0E-A674-41FA63313634}"/>
              </a:ext>
            </a:extLst>
          </p:cNvPr>
          <p:cNvSpPr/>
          <p:nvPr/>
        </p:nvSpPr>
        <p:spPr bwMode="auto">
          <a:xfrm>
            <a:off x="511736" y="2446798"/>
            <a:ext cx="1741964" cy="1592278"/>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B8023873-3CEC-4B6D-B4BE-01C56ED95E9A}"/>
              </a:ext>
            </a:extLst>
          </p:cNvPr>
          <p:cNvSpPr/>
          <p:nvPr/>
        </p:nvSpPr>
        <p:spPr bwMode="auto">
          <a:xfrm flipV="1">
            <a:off x="597214" y="1522908"/>
            <a:ext cx="1986090" cy="931833"/>
          </a:xfrm>
          <a:prstGeom prst="rect">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3D3CC349-43DF-4C15-BE93-61815B8D734C}"/>
              </a:ext>
            </a:extLst>
          </p:cNvPr>
          <p:cNvSpPr/>
          <p:nvPr/>
        </p:nvSpPr>
        <p:spPr bwMode="auto">
          <a:xfrm>
            <a:off x="8856871" y="3811828"/>
            <a:ext cx="2841221" cy="10924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Prevent negative exposure due to fraudulent activity</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elp mitigate monetary and reputational damage</a:t>
            </a:r>
          </a:p>
        </p:txBody>
      </p:sp>
      <p:grpSp>
        <p:nvGrpSpPr>
          <p:cNvPr id="9" name="Group 8">
            <a:extLst>
              <a:ext uri="{FF2B5EF4-FFF2-40B4-BE49-F238E27FC236}">
                <a16:creationId xmlns:a16="http://schemas.microsoft.com/office/drawing/2014/main" id="{64F2CBA4-FD71-4EE8-9C42-BF7E3352B1E3}"/>
              </a:ext>
            </a:extLst>
          </p:cNvPr>
          <p:cNvGrpSpPr/>
          <p:nvPr/>
        </p:nvGrpSpPr>
        <p:grpSpPr>
          <a:xfrm>
            <a:off x="5386328" y="3286836"/>
            <a:ext cx="1043596" cy="118826"/>
            <a:chOff x="5628263" y="3430620"/>
            <a:chExt cx="1043596" cy="118826"/>
          </a:xfrm>
        </p:grpSpPr>
        <p:cxnSp>
          <p:nvCxnSpPr>
            <p:cNvPr id="120" name="Straight Connector 119">
              <a:extLst>
                <a:ext uri="{FF2B5EF4-FFF2-40B4-BE49-F238E27FC236}">
                  <a16:creationId xmlns:a16="http://schemas.microsoft.com/office/drawing/2014/main" id="{BA71E959-60C3-4669-8B4A-58AB024FC88F}"/>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00BF13E-507A-4749-B747-258C7EDC4AC4}"/>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9" name="Oval 118">
              <a:extLst>
                <a:ext uri="{FF2B5EF4-FFF2-40B4-BE49-F238E27FC236}">
                  <a16:creationId xmlns:a16="http://schemas.microsoft.com/office/drawing/2014/main" id="{DC03005C-8AED-4749-BAE3-085648F7B7A9}"/>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
        <p:nvSpPr>
          <p:cNvPr id="108" name="Rectangle 107">
            <a:extLst>
              <a:ext uri="{FF2B5EF4-FFF2-40B4-BE49-F238E27FC236}">
                <a16:creationId xmlns:a16="http://schemas.microsoft.com/office/drawing/2014/main" id="{134E31F7-3519-49B6-B920-A66475B2E52C}"/>
              </a:ext>
            </a:extLst>
          </p:cNvPr>
          <p:cNvSpPr/>
          <p:nvPr/>
        </p:nvSpPr>
        <p:spPr bwMode="auto">
          <a:xfrm>
            <a:off x="2048469" y="3495932"/>
            <a:ext cx="2613229" cy="114174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Reduce friction throughout the customer journey</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elp protect your customers’ user accounts from abuse and fraud</a:t>
            </a:r>
            <a:endParaRPr kumimoji="0" lang="en-US" sz="1400" b="0" i="0" u="none" strike="noStrike" kern="1200" cap="none" spc="0" normalizeH="0" baseline="0" noProof="0">
              <a:ln>
                <a:noFill/>
              </a:ln>
              <a:solidFill>
                <a:srgbClr val="505050"/>
              </a:solidFill>
              <a:effectLst/>
              <a:uLnTx/>
              <a:uFillTx/>
              <a:latin typeface="Segoe UI"/>
              <a:ea typeface="Calibri" panose="020F0502020204030204" pitchFamily="34" charset="0"/>
              <a:cs typeface="Times New Roman" panose="02020603050405020304" pitchFamily="18" charset="0"/>
            </a:endParaRPr>
          </a:p>
        </p:txBody>
      </p:sp>
      <p:grpSp>
        <p:nvGrpSpPr>
          <p:cNvPr id="121" name="Group 120">
            <a:extLst>
              <a:ext uri="{FF2B5EF4-FFF2-40B4-BE49-F238E27FC236}">
                <a16:creationId xmlns:a16="http://schemas.microsoft.com/office/drawing/2014/main" id="{AB71503F-76C1-4FB8-8800-A0F524C6C9EB}"/>
              </a:ext>
            </a:extLst>
          </p:cNvPr>
          <p:cNvGrpSpPr/>
          <p:nvPr/>
        </p:nvGrpSpPr>
        <p:grpSpPr>
          <a:xfrm>
            <a:off x="2835453" y="3390946"/>
            <a:ext cx="1043596" cy="118826"/>
            <a:chOff x="5628263" y="3430620"/>
            <a:chExt cx="1043596" cy="118826"/>
          </a:xfrm>
        </p:grpSpPr>
        <p:cxnSp>
          <p:nvCxnSpPr>
            <p:cNvPr id="122" name="Straight Connector 121">
              <a:extLst>
                <a:ext uri="{FF2B5EF4-FFF2-40B4-BE49-F238E27FC236}">
                  <a16:creationId xmlns:a16="http://schemas.microsoft.com/office/drawing/2014/main" id="{8298DDE2-9EA8-402B-BCF4-B6C559AA2F04}"/>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3582239-8C4A-45F9-A9BA-E50D65BE76C9}"/>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BB1E6A3C-9DF0-4493-9144-637FEE40B03E}"/>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grpSp>
        <p:nvGrpSpPr>
          <p:cNvPr id="155" name="Group 154">
            <a:extLst>
              <a:ext uri="{FF2B5EF4-FFF2-40B4-BE49-F238E27FC236}">
                <a16:creationId xmlns:a16="http://schemas.microsoft.com/office/drawing/2014/main" id="{F0C0258C-796B-4D7F-9F7F-59D31A5047AD}"/>
              </a:ext>
            </a:extLst>
          </p:cNvPr>
          <p:cNvGrpSpPr/>
          <p:nvPr/>
        </p:nvGrpSpPr>
        <p:grpSpPr>
          <a:xfrm>
            <a:off x="9736735" y="3641659"/>
            <a:ext cx="1043596" cy="118826"/>
            <a:chOff x="5628263" y="3430620"/>
            <a:chExt cx="1043596" cy="118826"/>
          </a:xfrm>
        </p:grpSpPr>
        <p:cxnSp>
          <p:nvCxnSpPr>
            <p:cNvPr id="160" name="Straight Connector 159">
              <a:extLst>
                <a:ext uri="{FF2B5EF4-FFF2-40B4-BE49-F238E27FC236}">
                  <a16:creationId xmlns:a16="http://schemas.microsoft.com/office/drawing/2014/main" id="{C5B5C080-1A6F-43A3-A917-B38C4E27782F}"/>
                </a:ext>
              </a:extLst>
            </p:cNvPr>
            <p:cNvCxnSpPr>
              <a:cxnSpLocks/>
            </p:cNvCxnSpPr>
            <p:nvPr/>
          </p:nvCxnSpPr>
          <p:spPr>
            <a:xfrm flipV="1">
              <a:off x="5628263" y="3490033"/>
              <a:ext cx="1043596"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3211E0FB-22CB-4153-8E30-56D7F92F4E55}"/>
                </a:ext>
              </a:extLst>
            </p:cNvPr>
            <p:cNvCxnSpPr/>
            <p:nvPr/>
          </p:nvCxnSpPr>
          <p:spPr>
            <a:xfrm>
              <a:off x="5994406" y="3490033"/>
              <a:ext cx="311310" cy="0"/>
            </a:xfrm>
            <a:prstGeom prst="line">
              <a:avLst/>
            </a:prstGeom>
            <a:ln w="285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6" name="Oval 165">
              <a:extLst>
                <a:ext uri="{FF2B5EF4-FFF2-40B4-BE49-F238E27FC236}">
                  <a16:creationId xmlns:a16="http://schemas.microsoft.com/office/drawing/2014/main" id="{8F339021-7178-4B09-85BF-E8296178F7EB}"/>
                </a:ext>
              </a:extLst>
            </p:cNvPr>
            <p:cNvSpPr/>
            <p:nvPr/>
          </p:nvSpPr>
          <p:spPr bwMode="auto">
            <a:xfrm>
              <a:off x="6093187" y="3430620"/>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
        <p:nvSpPr>
          <p:cNvPr id="130" name="Rectangle 129">
            <a:extLst>
              <a:ext uri="{FF2B5EF4-FFF2-40B4-BE49-F238E27FC236}">
                <a16:creationId xmlns:a16="http://schemas.microsoft.com/office/drawing/2014/main" id="{AF9B2A91-7DCD-4E17-B2AD-35FB81DDF8E8}"/>
              </a:ext>
            </a:extLst>
          </p:cNvPr>
          <p:cNvSpPr/>
          <p:nvPr/>
        </p:nvSpPr>
        <p:spPr bwMode="auto">
          <a:xfrm>
            <a:off x="584199" y="5010535"/>
            <a:ext cx="11029309" cy="90038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r>
              <a:rPr kumimoji="0" lang="en-US" sz="1600" b="1" i="0" u="none" strike="noStrike" kern="1200" cap="none" spc="0" normalizeH="0" baseline="0" noProof="0">
                <a:ln>
                  <a:noFill/>
                </a:ln>
                <a:solidFill>
                  <a:prstClr val="white"/>
                </a:solidFill>
                <a:effectLst/>
                <a:uLnTx/>
                <a:uFillTx/>
                <a:latin typeface="Segoe UI Semibold"/>
                <a:ea typeface="+mn-ea"/>
                <a:cs typeface="+mn-cs"/>
              </a:rPr>
              <a:t>Help protect online revenue and reputation by counteracting fraudulent account access, </a:t>
            </a:r>
            <a:br>
              <a:rPr kumimoji="0" lang="en-US" sz="1600" b="1" i="0" u="none" strike="noStrike" kern="1200" cap="none" spc="0" normalizeH="0" baseline="0" noProof="0">
                <a:ln>
                  <a:noFill/>
                </a:ln>
                <a:solidFill>
                  <a:prstClr val="white"/>
                </a:solidFill>
                <a:effectLst/>
                <a:uLnTx/>
                <a:uFillTx/>
                <a:latin typeface="Segoe UI Semibold"/>
                <a:ea typeface="+mn-ea"/>
                <a:cs typeface="+mn-cs"/>
              </a:rPr>
            </a:br>
            <a:r>
              <a:rPr kumimoji="0" lang="en-US" sz="1600" b="1" i="0" u="none" strike="noStrike" kern="1200" cap="none" spc="0" normalizeH="0" baseline="0" noProof="0">
                <a:ln>
                  <a:noFill/>
                </a:ln>
                <a:solidFill>
                  <a:prstClr val="white"/>
                </a:solidFill>
                <a:effectLst/>
                <a:uLnTx/>
                <a:uFillTx/>
                <a:latin typeface="Segoe UI Semibold"/>
                <a:ea typeface="+mn-ea"/>
                <a:cs typeface="+mn-cs"/>
              </a:rPr>
              <a:t>fake account creation and account takeover, and safeguarding user accounts from abuse and fraud </a:t>
            </a:r>
            <a:br>
              <a:rPr kumimoji="0" lang="en-US" sz="1600" b="1" i="0" u="none" strike="noStrike" kern="1200" cap="none" spc="0" normalizeH="0" baseline="0" noProof="0">
                <a:ln>
                  <a:noFill/>
                </a:ln>
                <a:solidFill>
                  <a:prstClr val="white"/>
                </a:solidFill>
                <a:effectLst/>
                <a:uLnTx/>
                <a:uFillTx/>
                <a:latin typeface="Segoe UI Semibold"/>
                <a:ea typeface="+mn-ea"/>
                <a:cs typeface="+mn-cs"/>
              </a:rPr>
            </a:br>
            <a:r>
              <a:rPr kumimoji="0" lang="en-US" sz="1600" b="1" i="0" u="none" strike="noStrike" kern="1200" cap="none" spc="0" normalizeH="0" baseline="0" noProof="0">
                <a:ln>
                  <a:noFill/>
                </a:ln>
                <a:solidFill>
                  <a:prstClr val="white"/>
                </a:solidFill>
                <a:effectLst/>
                <a:uLnTx/>
                <a:uFillTx/>
                <a:latin typeface="Segoe UI Semibold"/>
                <a:ea typeface="+mn-ea"/>
                <a:cs typeface="+mn-cs"/>
              </a:rPr>
              <a:t>with Dynamics 365 Fraud Protection with </a:t>
            </a:r>
            <a:r>
              <a:rPr kumimoji="0" lang="en-US" sz="16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ccount protection </a:t>
            </a:r>
            <a:r>
              <a:rPr kumimoji="0" lang="en-US" sz="1600" b="1" i="0" u="none" strike="noStrike" kern="1200" cap="none" spc="0" normalizeH="0" baseline="0" noProof="0">
                <a:ln>
                  <a:noFill/>
                </a:ln>
                <a:solidFill>
                  <a:prstClr val="white"/>
                </a:solidFill>
                <a:effectLst/>
                <a:uLnTx/>
                <a:uFillTx/>
                <a:latin typeface="Segoe UI Semibold"/>
                <a:ea typeface="+mn-ea"/>
                <a:cs typeface="+mn-cs"/>
              </a:rPr>
              <a:t>capability</a:t>
            </a:r>
          </a:p>
        </p:txBody>
      </p:sp>
      <p:grpSp>
        <p:nvGrpSpPr>
          <p:cNvPr id="167" name="Group 166">
            <a:extLst>
              <a:ext uri="{FF2B5EF4-FFF2-40B4-BE49-F238E27FC236}">
                <a16:creationId xmlns:a16="http://schemas.microsoft.com/office/drawing/2014/main" id="{B358E3E4-EE12-4AB7-939C-8AD0ECA99A6B}"/>
              </a:ext>
            </a:extLst>
          </p:cNvPr>
          <p:cNvGrpSpPr/>
          <p:nvPr/>
        </p:nvGrpSpPr>
        <p:grpSpPr>
          <a:xfrm>
            <a:off x="5209116" y="1760181"/>
            <a:ext cx="1399958" cy="1469642"/>
            <a:chOff x="5394453" y="2152804"/>
            <a:chExt cx="1399958" cy="1469642"/>
          </a:xfrm>
        </p:grpSpPr>
        <p:sp>
          <p:nvSpPr>
            <p:cNvPr id="169" name="Flowchart: Connector 168">
              <a:extLst>
                <a:ext uri="{FF2B5EF4-FFF2-40B4-BE49-F238E27FC236}">
                  <a16:creationId xmlns:a16="http://schemas.microsoft.com/office/drawing/2014/main" id="{0E871BA3-4B36-4AB8-954E-3D741DA04EEE}"/>
                </a:ext>
              </a:extLst>
            </p:cNvPr>
            <p:cNvSpPr/>
            <p:nvPr/>
          </p:nvSpPr>
          <p:spPr bwMode="auto">
            <a:xfrm>
              <a:off x="5548194" y="2376229"/>
              <a:ext cx="1092476" cy="1092476"/>
            </a:xfrm>
            <a:prstGeom prst="flowChartConnector">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70" name="Group 169">
              <a:extLst>
                <a:ext uri="{FF2B5EF4-FFF2-40B4-BE49-F238E27FC236}">
                  <a16:creationId xmlns:a16="http://schemas.microsoft.com/office/drawing/2014/main" id="{36577CAF-062D-422B-A08B-09FB59B8A0C8}"/>
                </a:ext>
              </a:extLst>
            </p:cNvPr>
            <p:cNvGrpSpPr/>
            <p:nvPr/>
          </p:nvGrpSpPr>
          <p:grpSpPr>
            <a:xfrm>
              <a:off x="5834356" y="2623423"/>
              <a:ext cx="520152" cy="525142"/>
              <a:chOff x="2952955" y="2293228"/>
              <a:chExt cx="520152" cy="525142"/>
            </a:xfrm>
            <a:solidFill>
              <a:srgbClr val="505050"/>
            </a:solidFill>
          </p:grpSpPr>
          <p:sp>
            <p:nvSpPr>
              <p:cNvPr id="174" name="Freeform: Shape 173">
                <a:extLst>
                  <a:ext uri="{FF2B5EF4-FFF2-40B4-BE49-F238E27FC236}">
                    <a16:creationId xmlns:a16="http://schemas.microsoft.com/office/drawing/2014/main" id="{DBE6E511-2D6B-4600-8013-08B228F6323D}"/>
                  </a:ext>
                </a:extLst>
              </p:cNvPr>
              <p:cNvSpPr/>
              <p:nvPr/>
            </p:nvSpPr>
            <p:spPr>
              <a:xfrm>
                <a:off x="3241793" y="2476259"/>
                <a:ext cx="231314" cy="95716"/>
              </a:xfrm>
              <a:custGeom>
                <a:avLst/>
                <a:gdLst>
                  <a:gd name="connsiteX0" fmla="*/ 0 w 394607"/>
                  <a:gd name="connsiteY0" fmla="*/ 85381 h 163285"/>
                  <a:gd name="connsiteX1" fmla="*/ 198283 w 394607"/>
                  <a:gd name="connsiteY1" fmla="*/ 170755 h 163285"/>
                  <a:gd name="connsiteX2" fmla="*/ 396568 w 394607"/>
                  <a:gd name="connsiteY2" fmla="*/ 85381 h 163285"/>
                  <a:gd name="connsiteX3" fmla="*/ 198283 w 394607"/>
                  <a:gd name="connsiteY3" fmla="*/ 0 h 163285"/>
                  <a:gd name="connsiteX4" fmla="*/ 0 w 394607"/>
                  <a:gd name="connsiteY4" fmla="*/ 85381 h 163285"/>
                  <a:gd name="connsiteX5" fmla="*/ 212090 w 394607"/>
                  <a:gd name="connsiteY5" fmla="*/ 18126 h 163285"/>
                  <a:gd name="connsiteX6" fmla="*/ 240566 w 394607"/>
                  <a:gd name="connsiteY6" fmla="*/ 57901 h 163285"/>
                  <a:gd name="connsiteX7" fmla="*/ 225763 w 394607"/>
                  <a:gd name="connsiteY7" fmla="*/ 72703 h 163285"/>
                  <a:gd name="connsiteX8" fmla="*/ 210961 w 394607"/>
                  <a:gd name="connsiteY8" fmla="*/ 57901 h 163285"/>
                  <a:gd name="connsiteX9" fmla="*/ 198283 w 394607"/>
                  <a:gd name="connsiteY9" fmla="*/ 45223 h 163285"/>
                  <a:gd name="connsiteX10" fmla="*/ 185607 w 394607"/>
                  <a:gd name="connsiteY10" fmla="*/ 57901 h 163285"/>
                  <a:gd name="connsiteX11" fmla="*/ 198283 w 394607"/>
                  <a:gd name="connsiteY11" fmla="*/ 70579 h 163285"/>
                  <a:gd name="connsiteX12" fmla="*/ 240566 w 394607"/>
                  <a:gd name="connsiteY12" fmla="*/ 112860 h 163285"/>
                  <a:gd name="connsiteX13" fmla="*/ 212090 w 394607"/>
                  <a:gd name="connsiteY13" fmla="*/ 152627 h 163285"/>
                  <a:gd name="connsiteX14" fmla="*/ 198283 w 394607"/>
                  <a:gd name="connsiteY14" fmla="*/ 162501 h 163285"/>
                  <a:gd name="connsiteX15" fmla="*/ 184477 w 394607"/>
                  <a:gd name="connsiteY15" fmla="*/ 152627 h 163285"/>
                  <a:gd name="connsiteX16" fmla="*/ 156002 w 394607"/>
                  <a:gd name="connsiteY16" fmla="*/ 112860 h 163285"/>
                  <a:gd name="connsiteX17" fmla="*/ 170804 w 394607"/>
                  <a:gd name="connsiteY17" fmla="*/ 98059 h 163285"/>
                  <a:gd name="connsiteX18" fmla="*/ 185607 w 394607"/>
                  <a:gd name="connsiteY18" fmla="*/ 112860 h 163285"/>
                  <a:gd name="connsiteX19" fmla="*/ 198283 w 394607"/>
                  <a:gd name="connsiteY19" fmla="*/ 125530 h 163285"/>
                  <a:gd name="connsiteX20" fmla="*/ 210961 w 394607"/>
                  <a:gd name="connsiteY20" fmla="*/ 112860 h 163285"/>
                  <a:gd name="connsiteX21" fmla="*/ 198283 w 394607"/>
                  <a:gd name="connsiteY21" fmla="*/ 100183 h 163285"/>
                  <a:gd name="connsiteX22" fmla="*/ 156002 w 394607"/>
                  <a:gd name="connsiteY22" fmla="*/ 57901 h 163285"/>
                  <a:gd name="connsiteX23" fmla="*/ 184477 w 394607"/>
                  <a:gd name="connsiteY23" fmla="*/ 18126 h 163285"/>
                  <a:gd name="connsiteX24" fmla="*/ 198283 w 394607"/>
                  <a:gd name="connsiteY24" fmla="*/ 8254 h 163285"/>
                  <a:gd name="connsiteX25" fmla="*/ 212090 w 394607"/>
                  <a:gd name="connsiteY25" fmla="*/ 18126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0" y="85381"/>
                    </a:moveTo>
                    <a:cubicBezTo>
                      <a:pt x="0" y="125761"/>
                      <a:pt x="81433" y="170755"/>
                      <a:pt x="198283" y="170755"/>
                    </a:cubicBezTo>
                    <a:cubicBezTo>
                      <a:pt x="315133" y="170755"/>
                      <a:pt x="396568" y="125761"/>
                      <a:pt x="396568" y="85381"/>
                    </a:cubicBezTo>
                    <a:cubicBezTo>
                      <a:pt x="396568" y="45000"/>
                      <a:pt x="315133" y="0"/>
                      <a:pt x="198283" y="0"/>
                    </a:cubicBezTo>
                    <a:cubicBezTo>
                      <a:pt x="81433" y="0"/>
                      <a:pt x="0" y="45000"/>
                      <a:pt x="0" y="85381"/>
                    </a:cubicBezTo>
                    <a:close/>
                    <a:moveTo>
                      <a:pt x="212090" y="18126"/>
                    </a:moveTo>
                    <a:cubicBezTo>
                      <a:pt x="228608" y="23882"/>
                      <a:pt x="240566" y="39446"/>
                      <a:pt x="240566" y="57901"/>
                    </a:cubicBezTo>
                    <a:cubicBezTo>
                      <a:pt x="240566" y="66075"/>
                      <a:pt x="233938" y="72703"/>
                      <a:pt x="225763" y="72703"/>
                    </a:cubicBezTo>
                    <a:cubicBezTo>
                      <a:pt x="217589" y="72703"/>
                      <a:pt x="210961" y="66075"/>
                      <a:pt x="210961" y="57901"/>
                    </a:cubicBezTo>
                    <a:cubicBezTo>
                      <a:pt x="210961" y="50912"/>
                      <a:pt x="205273" y="45223"/>
                      <a:pt x="198283" y="45223"/>
                    </a:cubicBezTo>
                    <a:cubicBezTo>
                      <a:pt x="191295" y="45223"/>
                      <a:pt x="185607" y="50912"/>
                      <a:pt x="185607" y="57901"/>
                    </a:cubicBezTo>
                    <a:cubicBezTo>
                      <a:pt x="185607" y="64890"/>
                      <a:pt x="191295" y="70579"/>
                      <a:pt x="198283" y="70579"/>
                    </a:cubicBezTo>
                    <a:cubicBezTo>
                      <a:pt x="221600" y="70579"/>
                      <a:pt x="240566" y="89543"/>
                      <a:pt x="240566" y="112860"/>
                    </a:cubicBezTo>
                    <a:cubicBezTo>
                      <a:pt x="240566" y="131310"/>
                      <a:pt x="228608" y="146871"/>
                      <a:pt x="212090" y="152627"/>
                    </a:cubicBezTo>
                    <a:cubicBezTo>
                      <a:pt x="210044" y="158350"/>
                      <a:pt x="204709" y="162501"/>
                      <a:pt x="198283" y="162501"/>
                    </a:cubicBezTo>
                    <a:cubicBezTo>
                      <a:pt x="191858" y="162501"/>
                      <a:pt x="186523" y="158350"/>
                      <a:pt x="184477" y="152627"/>
                    </a:cubicBezTo>
                    <a:cubicBezTo>
                      <a:pt x="167958" y="146871"/>
                      <a:pt x="156002" y="131310"/>
                      <a:pt x="156002" y="112860"/>
                    </a:cubicBezTo>
                    <a:cubicBezTo>
                      <a:pt x="156002" y="104685"/>
                      <a:pt x="162630" y="98059"/>
                      <a:pt x="170804" y="98059"/>
                    </a:cubicBezTo>
                    <a:cubicBezTo>
                      <a:pt x="178979" y="98059"/>
                      <a:pt x="185607" y="104685"/>
                      <a:pt x="185607" y="112860"/>
                    </a:cubicBezTo>
                    <a:cubicBezTo>
                      <a:pt x="185607" y="119849"/>
                      <a:pt x="191295" y="125530"/>
                      <a:pt x="198283" y="125530"/>
                    </a:cubicBezTo>
                    <a:cubicBezTo>
                      <a:pt x="205273" y="125530"/>
                      <a:pt x="210961" y="119849"/>
                      <a:pt x="210961" y="112860"/>
                    </a:cubicBezTo>
                    <a:cubicBezTo>
                      <a:pt x="210961" y="105872"/>
                      <a:pt x="205273" y="100183"/>
                      <a:pt x="198283" y="100183"/>
                    </a:cubicBezTo>
                    <a:cubicBezTo>
                      <a:pt x="174967" y="100183"/>
                      <a:pt x="156002" y="81217"/>
                      <a:pt x="156002" y="57901"/>
                    </a:cubicBezTo>
                    <a:cubicBezTo>
                      <a:pt x="156002" y="39446"/>
                      <a:pt x="167958" y="23882"/>
                      <a:pt x="184477" y="18126"/>
                    </a:cubicBezTo>
                    <a:cubicBezTo>
                      <a:pt x="186523" y="12404"/>
                      <a:pt x="191858" y="8254"/>
                      <a:pt x="198283" y="8254"/>
                    </a:cubicBezTo>
                    <a:cubicBezTo>
                      <a:pt x="204709" y="8254"/>
                      <a:pt x="210044" y="12404"/>
                      <a:pt x="212090" y="18126"/>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75" name="Freeform: Shape 174">
                <a:extLst>
                  <a:ext uri="{FF2B5EF4-FFF2-40B4-BE49-F238E27FC236}">
                    <a16:creationId xmlns:a16="http://schemas.microsoft.com/office/drawing/2014/main" id="{9617A791-6AB2-4951-B958-2BA3B078DCC8}"/>
                  </a:ext>
                </a:extLst>
              </p:cNvPr>
              <p:cNvSpPr/>
              <p:nvPr/>
            </p:nvSpPr>
            <p:spPr>
              <a:xfrm>
                <a:off x="2952955" y="2657235"/>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76" name="Freeform: Shape 175">
                <a:extLst>
                  <a:ext uri="{FF2B5EF4-FFF2-40B4-BE49-F238E27FC236}">
                    <a16:creationId xmlns:a16="http://schemas.microsoft.com/office/drawing/2014/main" id="{3A375496-DAF2-4A0B-A438-8D52BBFDA2DC}"/>
                  </a:ext>
                </a:extLst>
              </p:cNvPr>
              <p:cNvSpPr/>
              <p:nvPr/>
            </p:nvSpPr>
            <p:spPr>
              <a:xfrm>
                <a:off x="2952955" y="2754559"/>
                <a:ext cx="231314" cy="63811"/>
              </a:xfrm>
              <a:custGeom>
                <a:avLst/>
                <a:gdLst>
                  <a:gd name="connsiteX0" fmla="*/ 0 w 394607"/>
                  <a:gd name="connsiteY0" fmla="*/ 0 h 108857"/>
                  <a:gd name="connsiteX1" fmla="*/ 0 w 394607"/>
                  <a:gd name="connsiteY1" fmla="*/ 25688 h 108857"/>
                  <a:gd name="connsiteX2" fmla="*/ 198285 w 394607"/>
                  <a:gd name="connsiteY2" fmla="*/ 111068 h 108857"/>
                  <a:gd name="connsiteX3" fmla="*/ 396576 w 394607"/>
                  <a:gd name="connsiteY3" fmla="*/ 25688 h 108857"/>
                  <a:gd name="connsiteX4" fmla="*/ 396576 w 394607"/>
                  <a:gd name="connsiteY4" fmla="*/ 0 h 108857"/>
                  <a:gd name="connsiteX5" fmla="*/ 198285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4" y="111068"/>
                      <a:pt x="198285" y="111068"/>
                    </a:cubicBezTo>
                    <a:cubicBezTo>
                      <a:pt x="315141" y="111068"/>
                      <a:pt x="396576" y="66068"/>
                      <a:pt x="396576" y="25688"/>
                    </a:cubicBezTo>
                    <a:lnTo>
                      <a:pt x="396576" y="0"/>
                    </a:lnTo>
                    <a:cubicBezTo>
                      <a:pt x="357760" y="34676"/>
                      <a:pt x="284382" y="57656"/>
                      <a:pt x="198285" y="57656"/>
                    </a:cubicBezTo>
                    <a:cubicBezTo>
                      <a:pt x="112191" y="57656"/>
                      <a:pt x="38815"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77" name="Freeform: Shape 176">
                <a:extLst>
                  <a:ext uri="{FF2B5EF4-FFF2-40B4-BE49-F238E27FC236}">
                    <a16:creationId xmlns:a16="http://schemas.microsoft.com/office/drawing/2014/main" id="{FE8A18A8-A7D4-46B4-9C03-F1B9A1B3A7F0}"/>
                  </a:ext>
                </a:extLst>
              </p:cNvPr>
              <p:cNvSpPr/>
              <p:nvPr/>
            </p:nvSpPr>
            <p:spPr>
              <a:xfrm>
                <a:off x="2952955" y="2608572"/>
                <a:ext cx="231314" cy="63811"/>
              </a:xfrm>
              <a:custGeom>
                <a:avLst/>
                <a:gdLst>
                  <a:gd name="connsiteX0" fmla="*/ 0 w 394607"/>
                  <a:gd name="connsiteY0" fmla="*/ 0 h 108857"/>
                  <a:gd name="connsiteX1" fmla="*/ 0 w 394607"/>
                  <a:gd name="connsiteY1" fmla="*/ 25690 h 108857"/>
                  <a:gd name="connsiteX2" fmla="*/ 198285 w 394607"/>
                  <a:gd name="connsiteY2" fmla="*/ 111070 h 108857"/>
                  <a:gd name="connsiteX3" fmla="*/ 396576 w 394607"/>
                  <a:gd name="connsiteY3" fmla="*/ 25690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4" y="111070"/>
                      <a:pt x="198285" y="111070"/>
                    </a:cubicBezTo>
                    <a:cubicBezTo>
                      <a:pt x="315141" y="111070"/>
                      <a:pt x="396576" y="66071"/>
                      <a:pt x="396576" y="25690"/>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78" name="Freeform: Shape 177">
                <a:extLst>
                  <a:ext uri="{FF2B5EF4-FFF2-40B4-BE49-F238E27FC236}">
                    <a16:creationId xmlns:a16="http://schemas.microsoft.com/office/drawing/2014/main" id="{51903F02-36A8-4CDE-BCF0-B0727C79A1AE}"/>
                  </a:ext>
                </a:extLst>
              </p:cNvPr>
              <p:cNvSpPr/>
              <p:nvPr/>
            </p:nvSpPr>
            <p:spPr>
              <a:xfrm>
                <a:off x="2952955" y="2524923"/>
                <a:ext cx="231314" cy="95716"/>
              </a:xfrm>
              <a:custGeom>
                <a:avLst/>
                <a:gdLst>
                  <a:gd name="connsiteX0" fmla="*/ 198285 w 394607"/>
                  <a:gd name="connsiteY0" fmla="*/ 0 h 163285"/>
                  <a:gd name="connsiteX1" fmla="*/ 0 w 394607"/>
                  <a:gd name="connsiteY1" fmla="*/ 85374 h 163285"/>
                  <a:gd name="connsiteX2" fmla="*/ 198285 w 394607"/>
                  <a:gd name="connsiteY2" fmla="*/ 170753 h 163285"/>
                  <a:gd name="connsiteX3" fmla="*/ 396576 w 394607"/>
                  <a:gd name="connsiteY3" fmla="*/ 85374 h 163285"/>
                  <a:gd name="connsiteX4" fmla="*/ 198285 w 394607"/>
                  <a:gd name="connsiteY4" fmla="*/ 0 h 163285"/>
                  <a:gd name="connsiteX5" fmla="*/ 198285 w 394607"/>
                  <a:gd name="connsiteY5" fmla="*/ 70571 h 163285"/>
                  <a:gd name="connsiteX6" fmla="*/ 240566 w 394607"/>
                  <a:gd name="connsiteY6" fmla="*/ 112854 h 163285"/>
                  <a:gd name="connsiteX7" fmla="*/ 212090 w 394607"/>
                  <a:gd name="connsiteY7" fmla="*/ 152627 h 163285"/>
                  <a:gd name="connsiteX8" fmla="*/ 198285 w 394607"/>
                  <a:gd name="connsiteY8" fmla="*/ 162501 h 163285"/>
                  <a:gd name="connsiteX9" fmla="*/ 184477 w 394607"/>
                  <a:gd name="connsiteY9" fmla="*/ 152627 h 163285"/>
                  <a:gd name="connsiteX10" fmla="*/ 156002 w 394607"/>
                  <a:gd name="connsiteY10" fmla="*/ 112854 h 163285"/>
                  <a:gd name="connsiteX11" fmla="*/ 170805 w 394607"/>
                  <a:gd name="connsiteY11" fmla="*/ 98050 h 163285"/>
                  <a:gd name="connsiteX12" fmla="*/ 185607 w 394607"/>
                  <a:gd name="connsiteY12" fmla="*/ 112854 h 163285"/>
                  <a:gd name="connsiteX13" fmla="*/ 198285 w 394607"/>
                  <a:gd name="connsiteY13" fmla="*/ 125530 h 163285"/>
                  <a:gd name="connsiteX14" fmla="*/ 210961 w 394607"/>
                  <a:gd name="connsiteY14" fmla="*/ 112854 h 163285"/>
                  <a:gd name="connsiteX15" fmla="*/ 198285 w 394607"/>
                  <a:gd name="connsiteY15" fmla="*/ 100176 h 163285"/>
                  <a:gd name="connsiteX16" fmla="*/ 156002 w 394607"/>
                  <a:gd name="connsiteY16" fmla="*/ 57901 h 163285"/>
                  <a:gd name="connsiteX17" fmla="*/ 184477 w 394607"/>
                  <a:gd name="connsiteY17" fmla="*/ 18126 h 163285"/>
                  <a:gd name="connsiteX18" fmla="*/ 198285 w 394607"/>
                  <a:gd name="connsiteY18" fmla="*/ 8254 h 163285"/>
                  <a:gd name="connsiteX19" fmla="*/ 212090 w 394607"/>
                  <a:gd name="connsiteY19" fmla="*/ 18126 h 163285"/>
                  <a:gd name="connsiteX20" fmla="*/ 240566 w 394607"/>
                  <a:gd name="connsiteY20" fmla="*/ 57901 h 163285"/>
                  <a:gd name="connsiteX21" fmla="*/ 225764 w 394607"/>
                  <a:gd name="connsiteY21" fmla="*/ 72703 h 163285"/>
                  <a:gd name="connsiteX22" fmla="*/ 210961 w 394607"/>
                  <a:gd name="connsiteY22" fmla="*/ 57901 h 163285"/>
                  <a:gd name="connsiteX23" fmla="*/ 198285 w 394607"/>
                  <a:gd name="connsiteY23" fmla="*/ 45223 h 163285"/>
                  <a:gd name="connsiteX24" fmla="*/ 185607 w 394607"/>
                  <a:gd name="connsiteY24" fmla="*/ 57901 h 163285"/>
                  <a:gd name="connsiteX25" fmla="*/ 198285 w 394607"/>
                  <a:gd name="connsiteY25" fmla="*/ 70571 h 16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607" h="163285">
                    <a:moveTo>
                      <a:pt x="198285" y="0"/>
                    </a:moveTo>
                    <a:cubicBezTo>
                      <a:pt x="81434" y="0"/>
                      <a:pt x="0" y="44992"/>
                      <a:pt x="0" y="85374"/>
                    </a:cubicBezTo>
                    <a:cubicBezTo>
                      <a:pt x="0" y="125755"/>
                      <a:pt x="81434" y="170753"/>
                      <a:pt x="198285" y="170753"/>
                    </a:cubicBezTo>
                    <a:cubicBezTo>
                      <a:pt x="315141" y="170753"/>
                      <a:pt x="396576" y="125755"/>
                      <a:pt x="396576" y="85374"/>
                    </a:cubicBezTo>
                    <a:cubicBezTo>
                      <a:pt x="396576" y="44992"/>
                      <a:pt x="315141" y="0"/>
                      <a:pt x="198285" y="0"/>
                    </a:cubicBezTo>
                    <a:close/>
                    <a:moveTo>
                      <a:pt x="198285" y="70571"/>
                    </a:moveTo>
                    <a:cubicBezTo>
                      <a:pt x="221600" y="70571"/>
                      <a:pt x="240566" y="89536"/>
                      <a:pt x="240566" y="112854"/>
                    </a:cubicBezTo>
                    <a:cubicBezTo>
                      <a:pt x="240566" y="131309"/>
                      <a:pt x="228609" y="146871"/>
                      <a:pt x="212090" y="152627"/>
                    </a:cubicBezTo>
                    <a:cubicBezTo>
                      <a:pt x="210045" y="158350"/>
                      <a:pt x="204710" y="162501"/>
                      <a:pt x="198285" y="162501"/>
                    </a:cubicBezTo>
                    <a:cubicBezTo>
                      <a:pt x="191859" y="162501"/>
                      <a:pt x="186524" y="158350"/>
                      <a:pt x="184477" y="152627"/>
                    </a:cubicBezTo>
                    <a:cubicBezTo>
                      <a:pt x="167960" y="146871"/>
                      <a:pt x="156002" y="131309"/>
                      <a:pt x="156002" y="112854"/>
                    </a:cubicBezTo>
                    <a:cubicBezTo>
                      <a:pt x="156002" y="104678"/>
                      <a:pt x="162630" y="98050"/>
                      <a:pt x="170805" y="98050"/>
                    </a:cubicBezTo>
                    <a:cubicBezTo>
                      <a:pt x="178979" y="98050"/>
                      <a:pt x="185607" y="104678"/>
                      <a:pt x="185607" y="112854"/>
                    </a:cubicBezTo>
                    <a:cubicBezTo>
                      <a:pt x="185607" y="119842"/>
                      <a:pt x="191295" y="125530"/>
                      <a:pt x="198285" y="125530"/>
                    </a:cubicBezTo>
                    <a:cubicBezTo>
                      <a:pt x="205273" y="125530"/>
                      <a:pt x="210961" y="119842"/>
                      <a:pt x="210961" y="112854"/>
                    </a:cubicBezTo>
                    <a:cubicBezTo>
                      <a:pt x="210961" y="105864"/>
                      <a:pt x="205273" y="100176"/>
                      <a:pt x="198285" y="100176"/>
                    </a:cubicBezTo>
                    <a:cubicBezTo>
                      <a:pt x="174967" y="100176"/>
                      <a:pt x="156002" y="81210"/>
                      <a:pt x="156002" y="57901"/>
                    </a:cubicBezTo>
                    <a:cubicBezTo>
                      <a:pt x="156002" y="39446"/>
                      <a:pt x="167960" y="23882"/>
                      <a:pt x="184477" y="18126"/>
                    </a:cubicBezTo>
                    <a:cubicBezTo>
                      <a:pt x="186524" y="12404"/>
                      <a:pt x="191859" y="8254"/>
                      <a:pt x="198285" y="8254"/>
                    </a:cubicBezTo>
                    <a:cubicBezTo>
                      <a:pt x="204710" y="8254"/>
                      <a:pt x="210045" y="12404"/>
                      <a:pt x="212090" y="18126"/>
                    </a:cubicBezTo>
                    <a:cubicBezTo>
                      <a:pt x="228609" y="23882"/>
                      <a:pt x="240566" y="39446"/>
                      <a:pt x="240566" y="57901"/>
                    </a:cubicBezTo>
                    <a:cubicBezTo>
                      <a:pt x="240566" y="66075"/>
                      <a:pt x="233938" y="72703"/>
                      <a:pt x="225764" y="72703"/>
                    </a:cubicBezTo>
                    <a:cubicBezTo>
                      <a:pt x="217589" y="72703"/>
                      <a:pt x="210961" y="66075"/>
                      <a:pt x="210961" y="57901"/>
                    </a:cubicBezTo>
                    <a:cubicBezTo>
                      <a:pt x="210961" y="50911"/>
                      <a:pt x="205273" y="45223"/>
                      <a:pt x="198285" y="45223"/>
                    </a:cubicBezTo>
                    <a:cubicBezTo>
                      <a:pt x="191295" y="45223"/>
                      <a:pt x="185607" y="50911"/>
                      <a:pt x="185607" y="57901"/>
                    </a:cubicBezTo>
                    <a:cubicBezTo>
                      <a:pt x="185607" y="64890"/>
                      <a:pt x="191295" y="70571"/>
                      <a:pt x="198285" y="70571"/>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79" name="Freeform: Shape 178">
                <a:extLst>
                  <a:ext uri="{FF2B5EF4-FFF2-40B4-BE49-F238E27FC236}">
                    <a16:creationId xmlns:a16="http://schemas.microsoft.com/office/drawing/2014/main" id="{1941564D-E86E-4269-8132-F70EFA747B1A}"/>
                  </a:ext>
                </a:extLst>
              </p:cNvPr>
              <p:cNvSpPr/>
              <p:nvPr/>
            </p:nvSpPr>
            <p:spPr>
              <a:xfrm>
                <a:off x="2952955" y="2705899"/>
                <a:ext cx="231314" cy="63811"/>
              </a:xfrm>
              <a:custGeom>
                <a:avLst/>
                <a:gdLst>
                  <a:gd name="connsiteX0" fmla="*/ 0 w 394607"/>
                  <a:gd name="connsiteY0" fmla="*/ 0 h 108857"/>
                  <a:gd name="connsiteX1" fmla="*/ 0 w 394607"/>
                  <a:gd name="connsiteY1" fmla="*/ 25689 h 108857"/>
                  <a:gd name="connsiteX2" fmla="*/ 198285 w 394607"/>
                  <a:gd name="connsiteY2" fmla="*/ 111063 h 108857"/>
                  <a:gd name="connsiteX3" fmla="*/ 396576 w 394607"/>
                  <a:gd name="connsiteY3" fmla="*/ 25689 h 108857"/>
                  <a:gd name="connsiteX4" fmla="*/ 396576 w 394607"/>
                  <a:gd name="connsiteY4" fmla="*/ 0 h 108857"/>
                  <a:gd name="connsiteX5" fmla="*/ 198285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4" y="111063"/>
                      <a:pt x="198285" y="111063"/>
                    </a:cubicBezTo>
                    <a:cubicBezTo>
                      <a:pt x="315141" y="111063"/>
                      <a:pt x="396576" y="66071"/>
                      <a:pt x="396576" y="25689"/>
                    </a:cubicBezTo>
                    <a:lnTo>
                      <a:pt x="396576" y="0"/>
                    </a:lnTo>
                    <a:cubicBezTo>
                      <a:pt x="357760" y="34679"/>
                      <a:pt x="284382" y="57658"/>
                      <a:pt x="198285" y="57658"/>
                    </a:cubicBezTo>
                    <a:cubicBezTo>
                      <a:pt x="112191" y="57658"/>
                      <a:pt x="38815"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0" name="Freeform: Shape 179">
                <a:extLst>
                  <a:ext uri="{FF2B5EF4-FFF2-40B4-BE49-F238E27FC236}">
                    <a16:creationId xmlns:a16="http://schemas.microsoft.com/office/drawing/2014/main" id="{0FC48D9D-0442-4DB8-AA07-C3699ABD0EDA}"/>
                  </a:ext>
                </a:extLst>
              </p:cNvPr>
              <p:cNvSpPr/>
              <p:nvPr/>
            </p:nvSpPr>
            <p:spPr>
              <a:xfrm>
                <a:off x="3241793" y="2754559"/>
                <a:ext cx="231314" cy="63811"/>
              </a:xfrm>
              <a:custGeom>
                <a:avLst/>
                <a:gdLst>
                  <a:gd name="connsiteX0" fmla="*/ 0 w 394607"/>
                  <a:gd name="connsiteY0" fmla="*/ 0 h 108857"/>
                  <a:gd name="connsiteX1" fmla="*/ 0 w 394607"/>
                  <a:gd name="connsiteY1" fmla="*/ 25688 h 108857"/>
                  <a:gd name="connsiteX2" fmla="*/ 198283 w 394607"/>
                  <a:gd name="connsiteY2" fmla="*/ 111068 h 108857"/>
                  <a:gd name="connsiteX3" fmla="*/ 396568 w 394607"/>
                  <a:gd name="connsiteY3" fmla="*/ 25688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8"/>
                    </a:lnTo>
                    <a:cubicBezTo>
                      <a:pt x="0" y="66068"/>
                      <a:pt x="81433" y="111068"/>
                      <a:pt x="198283" y="111068"/>
                    </a:cubicBezTo>
                    <a:cubicBezTo>
                      <a:pt x="315133" y="111068"/>
                      <a:pt x="396568" y="66068"/>
                      <a:pt x="396568" y="25688"/>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1" name="Freeform: Shape 180">
                <a:extLst>
                  <a:ext uri="{FF2B5EF4-FFF2-40B4-BE49-F238E27FC236}">
                    <a16:creationId xmlns:a16="http://schemas.microsoft.com/office/drawing/2014/main" id="{DEEC61D7-6F18-4CCF-9415-6677D4BB7EE5}"/>
                  </a:ext>
                </a:extLst>
              </p:cNvPr>
              <p:cNvSpPr/>
              <p:nvPr/>
            </p:nvSpPr>
            <p:spPr>
              <a:xfrm>
                <a:off x="3241793" y="2559909"/>
                <a:ext cx="231314" cy="63811"/>
              </a:xfrm>
              <a:custGeom>
                <a:avLst/>
                <a:gdLst>
                  <a:gd name="connsiteX0" fmla="*/ 0 w 394607"/>
                  <a:gd name="connsiteY0" fmla="*/ 0 h 108857"/>
                  <a:gd name="connsiteX1" fmla="*/ 0 w 394607"/>
                  <a:gd name="connsiteY1" fmla="*/ 25689 h 108857"/>
                  <a:gd name="connsiteX2" fmla="*/ 198283 w 394607"/>
                  <a:gd name="connsiteY2" fmla="*/ 111068 h 108857"/>
                  <a:gd name="connsiteX3" fmla="*/ 396568 w 394607"/>
                  <a:gd name="connsiteY3" fmla="*/ 25689 h 108857"/>
                  <a:gd name="connsiteX4" fmla="*/ 396568 w 394607"/>
                  <a:gd name="connsiteY4" fmla="*/ 0 h 108857"/>
                  <a:gd name="connsiteX5" fmla="*/ 198283 w 394607"/>
                  <a:gd name="connsiteY5" fmla="*/ 57656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0"/>
                      <a:pt x="81433" y="111068"/>
                      <a:pt x="198283" y="111068"/>
                    </a:cubicBezTo>
                    <a:cubicBezTo>
                      <a:pt x="315133" y="111068"/>
                      <a:pt x="396568" y="66070"/>
                      <a:pt x="396568" y="25689"/>
                    </a:cubicBezTo>
                    <a:lnTo>
                      <a:pt x="396568" y="0"/>
                    </a:lnTo>
                    <a:cubicBezTo>
                      <a:pt x="357752" y="34676"/>
                      <a:pt x="284377" y="57656"/>
                      <a:pt x="198283" y="57656"/>
                    </a:cubicBezTo>
                    <a:cubicBezTo>
                      <a:pt x="112190" y="57656"/>
                      <a:pt x="38814" y="34676"/>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2" name="Freeform: Shape 181">
                <a:extLst>
                  <a:ext uri="{FF2B5EF4-FFF2-40B4-BE49-F238E27FC236}">
                    <a16:creationId xmlns:a16="http://schemas.microsoft.com/office/drawing/2014/main" id="{B65573DE-C086-4671-9D4C-1D4063A9414C}"/>
                  </a:ext>
                </a:extLst>
              </p:cNvPr>
              <p:cNvSpPr/>
              <p:nvPr/>
            </p:nvSpPr>
            <p:spPr>
              <a:xfrm>
                <a:off x="3241793" y="2705899"/>
                <a:ext cx="231314" cy="63811"/>
              </a:xfrm>
              <a:custGeom>
                <a:avLst/>
                <a:gdLst>
                  <a:gd name="connsiteX0" fmla="*/ 0 w 394607"/>
                  <a:gd name="connsiteY0" fmla="*/ 0 h 108857"/>
                  <a:gd name="connsiteX1" fmla="*/ 0 w 394607"/>
                  <a:gd name="connsiteY1" fmla="*/ 25689 h 108857"/>
                  <a:gd name="connsiteX2" fmla="*/ 198283 w 394607"/>
                  <a:gd name="connsiteY2" fmla="*/ 111063 h 108857"/>
                  <a:gd name="connsiteX3" fmla="*/ 396568 w 394607"/>
                  <a:gd name="connsiteY3" fmla="*/ 25689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89"/>
                    </a:lnTo>
                    <a:cubicBezTo>
                      <a:pt x="0" y="66071"/>
                      <a:pt x="81433" y="111063"/>
                      <a:pt x="198283" y="111063"/>
                    </a:cubicBezTo>
                    <a:cubicBezTo>
                      <a:pt x="315133" y="111063"/>
                      <a:pt x="396568" y="66071"/>
                      <a:pt x="396568" y="25689"/>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3" name="Freeform: Shape 182">
                <a:extLst>
                  <a:ext uri="{FF2B5EF4-FFF2-40B4-BE49-F238E27FC236}">
                    <a16:creationId xmlns:a16="http://schemas.microsoft.com/office/drawing/2014/main" id="{C7B08438-8D1F-43C3-9EF3-C3FC86AFE3D1}"/>
                  </a:ext>
                </a:extLst>
              </p:cNvPr>
              <p:cNvSpPr/>
              <p:nvPr/>
            </p:nvSpPr>
            <p:spPr>
              <a:xfrm>
                <a:off x="3241793" y="2608572"/>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4" name="Freeform: Shape 183">
                <a:extLst>
                  <a:ext uri="{FF2B5EF4-FFF2-40B4-BE49-F238E27FC236}">
                    <a16:creationId xmlns:a16="http://schemas.microsoft.com/office/drawing/2014/main" id="{AB8416DB-960E-456E-A805-06E55C50B970}"/>
                  </a:ext>
                </a:extLst>
              </p:cNvPr>
              <p:cNvSpPr/>
              <p:nvPr/>
            </p:nvSpPr>
            <p:spPr>
              <a:xfrm>
                <a:off x="3241793" y="2657235"/>
                <a:ext cx="231314" cy="63811"/>
              </a:xfrm>
              <a:custGeom>
                <a:avLst/>
                <a:gdLst>
                  <a:gd name="connsiteX0" fmla="*/ 0 w 394607"/>
                  <a:gd name="connsiteY0" fmla="*/ 0 h 108857"/>
                  <a:gd name="connsiteX1" fmla="*/ 0 w 394607"/>
                  <a:gd name="connsiteY1" fmla="*/ 25690 h 108857"/>
                  <a:gd name="connsiteX2" fmla="*/ 198283 w 394607"/>
                  <a:gd name="connsiteY2" fmla="*/ 111070 h 108857"/>
                  <a:gd name="connsiteX3" fmla="*/ 396568 w 394607"/>
                  <a:gd name="connsiteY3" fmla="*/ 25690 h 108857"/>
                  <a:gd name="connsiteX4" fmla="*/ 396568 w 394607"/>
                  <a:gd name="connsiteY4" fmla="*/ 0 h 108857"/>
                  <a:gd name="connsiteX5" fmla="*/ 198283 w 394607"/>
                  <a:gd name="connsiteY5" fmla="*/ 57658 h 108857"/>
                  <a:gd name="connsiteX6" fmla="*/ 0 w 394607"/>
                  <a:gd name="connsiteY6" fmla="*/ 0 h 10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07" h="108857">
                    <a:moveTo>
                      <a:pt x="0" y="0"/>
                    </a:moveTo>
                    <a:lnTo>
                      <a:pt x="0" y="25690"/>
                    </a:lnTo>
                    <a:cubicBezTo>
                      <a:pt x="0" y="66071"/>
                      <a:pt x="81433" y="111070"/>
                      <a:pt x="198283" y="111070"/>
                    </a:cubicBezTo>
                    <a:cubicBezTo>
                      <a:pt x="315133" y="111070"/>
                      <a:pt x="396568" y="66071"/>
                      <a:pt x="396568" y="25690"/>
                    </a:cubicBezTo>
                    <a:lnTo>
                      <a:pt x="396568" y="0"/>
                    </a:lnTo>
                    <a:cubicBezTo>
                      <a:pt x="357752" y="34679"/>
                      <a:pt x="284377" y="57658"/>
                      <a:pt x="198283" y="57658"/>
                    </a:cubicBezTo>
                    <a:cubicBezTo>
                      <a:pt x="112190" y="57658"/>
                      <a:pt x="38814" y="34679"/>
                      <a:pt x="0" y="0"/>
                    </a:cubicBezTo>
                    <a:close/>
                  </a:path>
                </a:pathLst>
              </a:custGeom>
              <a:grp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85" name="Freeform: Shape 184">
                <a:extLst>
                  <a:ext uri="{FF2B5EF4-FFF2-40B4-BE49-F238E27FC236}">
                    <a16:creationId xmlns:a16="http://schemas.microsoft.com/office/drawing/2014/main" id="{CF8F77E6-1A87-4259-844F-FF6EE84406CC}"/>
                  </a:ext>
                </a:extLst>
              </p:cNvPr>
              <p:cNvSpPr/>
              <p:nvPr/>
            </p:nvSpPr>
            <p:spPr>
              <a:xfrm>
                <a:off x="3007096" y="2293228"/>
                <a:ext cx="406793" cy="183456"/>
              </a:xfrm>
              <a:custGeom>
                <a:avLst/>
                <a:gdLst>
                  <a:gd name="connsiteX0" fmla="*/ 14818 w 693964"/>
                  <a:gd name="connsiteY0" fmla="*/ 319618 h 312964"/>
                  <a:gd name="connsiteX1" fmla="*/ 22675 w 693964"/>
                  <a:gd name="connsiteY1" fmla="*/ 317349 h 312964"/>
                  <a:gd name="connsiteX2" fmla="*/ 228273 w 693964"/>
                  <a:gd name="connsiteY2" fmla="*/ 188204 h 312964"/>
                  <a:gd name="connsiteX3" fmla="*/ 414827 w 693964"/>
                  <a:gd name="connsiteY3" fmla="*/ 252358 h 312964"/>
                  <a:gd name="connsiteX4" fmla="*/ 428647 w 693964"/>
                  <a:gd name="connsiteY4" fmla="*/ 250103 h 312964"/>
                  <a:gd name="connsiteX5" fmla="*/ 670424 w 693964"/>
                  <a:gd name="connsiteY5" fmla="*/ 64771 h 312964"/>
                  <a:gd name="connsiteX6" fmla="*/ 658624 w 693964"/>
                  <a:gd name="connsiteY6" fmla="*/ 154083 h 312964"/>
                  <a:gd name="connsiteX7" fmla="*/ 671359 w 693964"/>
                  <a:gd name="connsiteY7" fmla="*/ 170692 h 312964"/>
                  <a:gd name="connsiteX8" fmla="*/ 673318 w 693964"/>
                  <a:gd name="connsiteY8" fmla="*/ 170823 h 312964"/>
                  <a:gd name="connsiteX9" fmla="*/ 687968 w 693964"/>
                  <a:gd name="connsiteY9" fmla="*/ 157957 h 312964"/>
                  <a:gd name="connsiteX10" fmla="*/ 704451 w 693964"/>
                  <a:gd name="connsiteY10" fmla="*/ 33247 h 312964"/>
                  <a:gd name="connsiteX11" fmla="*/ 704066 w 693964"/>
                  <a:gd name="connsiteY11" fmla="*/ 27466 h 312964"/>
                  <a:gd name="connsiteX12" fmla="*/ 697178 w 693964"/>
                  <a:gd name="connsiteY12" fmla="*/ 18485 h 312964"/>
                  <a:gd name="connsiteX13" fmla="*/ 691710 w 693964"/>
                  <a:gd name="connsiteY13" fmla="*/ 16612 h 312964"/>
                  <a:gd name="connsiteX14" fmla="*/ 566984 w 693964"/>
                  <a:gd name="connsiteY14" fmla="*/ 126 h 312964"/>
                  <a:gd name="connsiteX15" fmla="*/ 550375 w 693964"/>
                  <a:gd name="connsiteY15" fmla="*/ 12861 h 312964"/>
                  <a:gd name="connsiteX16" fmla="*/ 563110 w 693964"/>
                  <a:gd name="connsiteY16" fmla="*/ 29471 h 312964"/>
                  <a:gd name="connsiteX17" fmla="*/ 652418 w 693964"/>
                  <a:gd name="connsiteY17" fmla="*/ 41277 h 312964"/>
                  <a:gd name="connsiteX18" fmla="*/ 416938 w 693964"/>
                  <a:gd name="connsiteY18" fmla="*/ 221777 h 312964"/>
                  <a:gd name="connsiteX19" fmla="*/ 231207 w 693964"/>
                  <a:gd name="connsiteY19" fmla="*/ 157907 h 312964"/>
                  <a:gd name="connsiteX20" fmla="*/ 218523 w 693964"/>
                  <a:gd name="connsiteY20" fmla="*/ 159374 h 312964"/>
                  <a:gd name="connsiteX21" fmla="*/ 6933 w 693964"/>
                  <a:gd name="connsiteY21" fmla="*/ 292284 h 312964"/>
                  <a:gd name="connsiteX22" fmla="*/ 2271 w 693964"/>
                  <a:gd name="connsiteY22" fmla="*/ 312687 h 312964"/>
                  <a:gd name="connsiteX23" fmla="*/ 14818 w 693964"/>
                  <a:gd name="connsiteY23" fmla="*/ 319618 h 3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3964" h="312964">
                    <a:moveTo>
                      <a:pt x="14818" y="319618"/>
                    </a:moveTo>
                    <a:cubicBezTo>
                      <a:pt x="17507" y="319618"/>
                      <a:pt x="20231" y="318889"/>
                      <a:pt x="22675" y="317349"/>
                    </a:cubicBezTo>
                    <a:lnTo>
                      <a:pt x="228273" y="188204"/>
                    </a:lnTo>
                    <a:lnTo>
                      <a:pt x="414827" y="252358"/>
                    </a:lnTo>
                    <a:cubicBezTo>
                      <a:pt x="419511" y="253969"/>
                      <a:pt x="424699" y="253138"/>
                      <a:pt x="428647" y="250103"/>
                    </a:cubicBezTo>
                    <a:lnTo>
                      <a:pt x="670424" y="64771"/>
                    </a:lnTo>
                    <a:lnTo>
                      <a:pt x="658624" y="154083"/>
                    </a:lnTo>
                    <a:cubicBezTo>
                      <a:pt x="657546" y="162185"/>
                      <a:pt x="663249" y="169623"/>
                      <a:pt x="671359" y="170692"/>
                    </a:cubicBezTo>
                    <a:cubicBezTo>
                      <a:pt x="672016" y="170779"/>
                      <a:pt x="672668" y="170823"/>
                      <a:pt x="673318" y="170823"/>
                    </a:cubicBezTo>
                    <a:cubicBezTo>
                      <a:pt x="680625" y="170823"/>
                      <a:pt x="686985" y="165408"/>
                      <a:pt x="687968" y="157957"/>
                    </a:cubicBezTo>
                    <a:lnTo>
                      <a:pt x="704451" y="33247"/>
                    </a:lnTo>
                    <a:cubicBezTo>
                      <a:pt x="704707" y="31328"/>
                      <a:pt x="704575" y="29365"/>
                      <a:pt x="704066" y="27466"/>
                    </a:cubicBezTo>
                    <a:cubicBezTo>
                      <a:pt x="703055" y="23680"/>
                      <a:pt x="700572" y="20446"/>
                      <a:pt x="697178" y="18485"/>
                    </a:cubicBezTo>
                    <a:cubicBezTo>
                      <a:pt x="695479" y="17502"/>
                      <a:pt x="693624" y="16863"/>
                      <a:pt x="691710" y="16612"/>
                    </a:cubicBezTo>
                    <a:lnTo>
                      <a:pt x="566984" y="126"/>
                    </a:lnTo>
                    <a:cubicBezTo>
                      <a:pt x="558976" y="-929"/>
                      <a:pt x="551444" y="4745"/>
                      <a:pt x="550375" y="12861"/>
                    </a:cubicBezTo>
                    <a:cubicBezTo>
                      <a:pt x="549297" y="20964"/>
                      <a:pt x="555000" y="28401"/>
                      <a:pt x="563110" y="29471"/>
                    </a:cubicBezTo>
                    <a:lnTo>
                      <a:pt x="652418" y="41277"/>
                    </a:lnTo>
                    <a:lnTo>
                      <a:pt x="416938" y="221777"/>
                    </a:lnTo>
                    <a:lnTo>
                      <a:pt x="231207" y="157907"/>
                    </a:lnTo>
                    <a:cubicBezTo>
                      <a:pt x="226973" y="156460"/>
                      <a:pt x="222311" y="156982"/>
                      <a:pt x="218523" y="159374"/>
                    </a:cubicBezTo>
                    <a:lnTo>
                      <a:pt x="6933" y="292284"/>
                    </a:lnTo>
                    <a:cubicBezTo>
                      <a:pt x="9" y="296628"/>
                      <a:pt x="-2080" y="305770"/>
                      <a:pt x="2271" y="312687"/>
                    </a:cubicBezTo>
                    <a:cubicBezTo>
                      <a:pt x="5083" y="317169"/>
                      <a:pt x="9896" y="319618"/>
                      <a:pt x="14818" y="319618"/>
                    </a:cubicBezTo>
                    <a:close/>
                  </a:path>
                </a:pathLst>
              </a:custGeom>
              <a:solidFill>
                <a:schemeClr val="accent2"/>
              </a:solidFill>
              <a:ln w="136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sp>
          <p:nvSpPr>
            <p:cNvPr id="171" name="Arc 170">
              <a:extLst>
                <a:ext uri="{FF2B5EF4-FFF2-40B4-BE49-F238E27FC236}">
                  <a16:creationId xmlns:a16="http://schemas.microsoft.com/office/drawing/2014/main" id="{2CB77E87-245F-4E28-B295-EB646834BA2F}"/>
                </a:ext>
              </a:extLst>
            </p:cNvPr>
            <p:cNvSpPr/>
            <p:nvPr/>
          </p:nvSpPr>
          <p:spPr>
            <a:xfrm>
              <a:off x="5394453" y="2222488"/>
              <a:ext cx="1399958" cy="1399958"/>
            </a:xfrm>
            <a:prstGeom prst="arc">
              <a:avLst>
                <a:gd name="adj1" fmla="val 11193475"/>
                <a:gd name="adj2" fmla="val 21177062"/>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72" name="Arc 171">
              <a:extLst>
                <a:ext uri="{FF2B5EF4-FFF2-40B4-BE49-F238E27FC236}">
                  <a16:creationId xmlns:a16="http://schemas.microsoft.com/office/drawing/2014/main" id="{DC4FE600-4D63-47EC-B601-016A92FC4F4D}"/>
                </a:ext>
              </a:extLst>
            </p:cNvPr>
            <p:cNvSpPr/>
            <p:nvPr/>
          </p:nvSpPr>
          <p:spPr>
            <a:xfrm>
              <a:off x="5394453" y="2222488"/>
              <a:ext cx="1399958" cy="1399958"/>
            </a:xfrm>
            <a:prstGeom prst="arc">
              <a:avLst>
                <a:gd name="adj1" fmla="val 14450007"/>
                <a:gd name="adj2" fmla="val 17772818"/>
              </a:avLst>
            </a:prstGeom>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73" name="Oval 172">
              <a:extLst>
                <a:ext uri="{FF2B5EF4-FFF2-40B4-BE49-F238E27FC236}">
                  <a16:creationId xmlns:a16="http://schemas.microsoft.com/office/drawing/2014/main" id="{CC0372CB-3E78-4F6D-A368-6E4F190478AE}"/>
                </a:ext>
              </a:extLst>
            </p:cNvPr>
            <p:cNvSpPr/>
            <p:nvPr/>
          </p:nvSpPr>
          <p:spPr bwMode="auto">
            <a:xfrm>
              <a:off x="6035019" y="2152804"/>
              <a:ext cx="118826" cy="118826"/>
            </a:xfrm>
            <a:prstGeom prst="ellipse">
              <a:avLst/>
            </a:prstGeom>
            <a:solidFill>
              <a:schemeClr val="bg1"/>
            </a:solidFill>
            <a:ln w="254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bold"/>
                <a:ea typeface="+mn-ea"/>
                <a:cs typeface="+mn-cs"/>
              </a:endParaRPr>
            </a:p>
          </p:txBody>
        </p:sp>
      </p:grpSp>
      <p:sp>
        <p:nvSpPr>
          <p:cNvPr id="148" name="Rectangle 147">
            <a:extLst>
              <a:ext uri="{FF2B5EF4-FFF2-40B4-BE49-F238E27FC236}">
                <a16:creationId xmlns:a16="http://schemas.microsoft.com/office/drawing/2014/main" id="{FB9BA5FA-BCA1-4AF9-94BF-1EBDB6F63253}"/>
              </a:ext>
            </a:extLst>
          </p:cNvPr>
          <p:cNvSpPr/>
          <p:nvPr/>
        </p:nvSpPr>
        <p:spPr bwMode="auto">
          <a:xfrm>
            <a:off x="9775609" y="1228622"/>
            <a:ext cx="1883653" cy="8279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t>Help improve </a:t>
            </a:r>
            <a:br>
              <a:rPr kumimoji="0" lang="en-US" sz="1600" b="0" i="0" u="none" strike="noStrike" kern="1200" cap="none" spc="0" normalizeH="0" baseline="0" noProof="0">
                <a:ln>
                  <a:noFill/>
                </a:ln>
                <a:solidFill>
                  <a:srgbClr val="3C3C41"/>
                </a:solidFill>
                <a:effectLst/>
                <a:uLnTx/>
                <a:uFillTx/>
                <a:latin typeface="Segoe UI Semibold"/>
                <a:ea typeface="+mn-ea"/>
                <a:cs typeface="Segoe UI" pitchFamily="34" charset="0"/>
              </a:rPr>
            </a:br>
            <a:r>
              <a:rPr kumimoji="0" lang="en-US" sz="1800" b="1" i="0" u="none" strike="noStrike" kern="1200" cap="none" spc="0" normalizeH="0" baseline="0" noProof="0">
                <a:ln>
                  <a:noFill/>
                </a:ln>
                <a:solidFill>
                  <a:srgbClr val="3C3C41"/>
                </a:solidFill>
                <a:effectLst/>
                <a:uLnTx/>
                <a:uFillTx/>
                <a:latin typeface="Segoe UI"/>
                <a:ea typeface="+mn-ea"/>
                <a:cs typeface="Segoe UI" pitchFamily="34" charset="0"/>
              </a:rPr>
              <a:t>business reputation</a:t>
            </a:r>
            <a:endParaRPr kumimoji="0" lang="en-US" sz="1600" b="1" i="0" u="none" strike="noStrike" kern="1200" cap="none" spc="0" normalizeH="0" baseline="0" noProof="0">
              <a:ln>
                <a:noFill/>
              </a:ln>
              <a:solidFill>
                <a:srgbClr val="3C3C41"/>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349788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5217252-A0C9-46EA-A17A-8820DAE6B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3" name="Object 12" hidden="1">
                        <a:extLst>
                          <a:ext uri="{FF2B5EF4-FFF2-40B4-BE49-F238E27FC236}">
                            <a16:creationId xmlns:a16="http://schemas.microsoft.com/office/drawing/2014/main" id="{45217252-A0C9-46EA-A17A-8820DAE6B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0D483E-A612-4F54-9623-89FEE0B940ED}"/>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25" name="Group 24">
            <a:extLst>
              <a:ext uri="{FF2B5EF4-FFF2-40B4-BE49-F238E27FC236}">
                <a16:creationId xmlns:a16="http://schemas.microsoft.com/office/drawing/2014/main" id="{96D506D9-E6E6-4D2D-AF0E-1EB09EF39960}"/>
              </a:ext>
            </a:extLst>
          </p:cNvPr>
          <p:cNvGrpSpPr/>
          <p:nvPr/>
        </p:nvGrpSpPr>
        <p:grpSpPr>
          <a:xfrm>
            <a:off x="474774" y="-3"/>
            <a:ext cx="11242453" cy="2380344"/>
            <a:chOff x="474774" y="-3"/>
            <a:chExt cx="11242453" cy="2380344"/>
          </a:xfrm>
        </p:grpSpPr>
        <p:sp>
          <p:nvSpPr>
            <p:cNvPr id="87" name="Arrow: Bent 86">
              <a:extLst>
                <a:ext uri="{FF2B5EF4-FFF2-40B4-BE49-F238E27FC236}">
                  <a16:creationId xmlns:a16="http://schemas.microsoft.com/office/drawing/2014/main" id="{7DBB1540-8070-4CF5-BF7E-FE3DD6560C10}"/>
                </a:ext>
              </a:extLst>
            </p:cNvPr>
            <p:cNvSpPr/>
            <p:nvPr/>
          </p:nvSpPr>
          <p:spPr bwMode="auto">
            <a:xfrm rot="10800000" flipH="1">
              <a:off x="474774" y="-3"/>
              <a:ext cx="6192726" cy="2380343"/>
            </a:xfrm>
            <a:prstGeom prst="bentArrow">
              <a:avLst>
                <a:gd name="adj1" fmla="val 25000"/>
                <a:gd name="adj2" fmla="val 0"/>
                <a:gd name="adj3" fmla="val 25000"/>
                <a:gd name="adj4" fmla="val 86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Arrow: Bent 89">
              <a:extLst>
                <a:ext uri="{FF2B5EF4-FFF2-40B4-BE49-F238E27FC236}">
                  <a16:creationId xmlns:a16="http://schemas.microsoft.com/office/drawing/2014/main" id="{DB80CE16-FDE6-4406-980E-E0FB15E1E91B}"/>
                </a:ext>
              </a:extLst>
            </p:cNvPr>
            <p:cNvSpPr/>
            <p:nvPr/>
          </p:nvSpPr>
          <p:spPr bwMode="auto">
            <a:xfrm rot="10800000">
              <a:off x="6477000" y="-2"/>
              <a:ext cx="5240227" cy="2380343"/>
            </a:xfrm>
            <a:prstGeom prst="bentArrow">
              <a:avLst>
                <a:gd name="adj1" fmla="val 25000"/>
                <a:gd name="adj2" fmla="val 0"/>
                <a:gd name="adj3" fmla="val 25000"/>
                <a:gd name="adj4" fmla="val 1106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3" name="Straight Connector 102">
            <a:extLst>
              <a:ext uri="{FF2B5EF4-FFF2-40B4-BE49-F238E27FC236}">
                <a16:creationId xmlns:a16="http://schemas.microsoft.com/office/drawing/2014/main" id="{1D8B3238-2BDA-4DE4-8DEE-D79808DC4186}"/>
              </a:ext>
            </a:extLst>
          </p:cNvPr>
          <p:cNvCxnSpPr>
            <a:cxnSpLocks/>
          </p:cNvCxnSpPr>
          <p:nvPr/>
        </p:nvCxnSpPr>
        <p:spPr>
          <a:xfrm>
            <a:off x="0" y="3864079"/>
            <a:ext cx="12192000" cy="0"/>
          </a:xfrm>
          <a:prstGeom prst="line">
            <a:avLst/>
          </a:prstGeom>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14" name="Arc 113">
            <a:extLst>
              <a:ext uri="{FF2B5EF4-FFF2-40B4-BE49-F238E27FC236}">
                <a16:creationId xmlns:a16="http://schemas.microsoft.com/office/drawing/2014/main" id="{F5B8385E-0B08-41B6-BA88-6F1BAA0EDC7F}"/>
              </a:ext>
            </a:extLst>
          </p:cNvPr>
          <p:cNvSpPr/>
          <p:nvPr/>
        </p:nvSpPr>
        <p:spPr bwMode="auto">
          <a:xfrm>
            <a:off x="691390" y="154838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8" name="Arc 117">
            <a:extLst>
              <a:ext uri="{FF2B5EF4-FFF2-40B4-BE49-F238E27FC236}">
                <a16:creationId xmlns:a16="http://schemas.microsoft.com/office/drawing/2014/main" id="{864FF660-389B-4ED4-AA54-E6861D9DAABA}"/>
              </a:ext>
            </a:extLst>
          </p:cNvPr>
          <p:cNvSpPr/>
          <p:nvPr/>
        </p:nvSpPr>
        <p:spPr bwMode="auto">
          <a:xfrm>
            <a:off x="3085117" y="154838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0" name="Arc 119">
            <a:extLst>
              <a:ext uri="{FF2B5EF4-FFF2-40B4-BE49-F238E27FC236}">
                <a16:creationId xmlns:a16="http://schemas.microsoft.com/office/drawing/2014/main" id="{C79473C0-336D-4DE4-A0D0-C9B802D84D1C}"/>
              </a:ext>
            </a:extLst>
          </p:cNvPr>
          <p:cNvSpPr/>
          <p:nvPr/>
        </p:nvSpPr>
        <p:spPr bwMode="auto">
          <a:xfrm>
            <a:off x="5269762" y="154838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1" name="Arc 120">
            <a:extLst>
              <a:ext uri="{FF2B5EF4-FFF2-40B4-BE49-F238E27FC236}">
                <a16:creationId xmlns:a16="http://schemas.microsoft.com/office/drawing/2014/main" id="{4BE6FFBB-367F-424B-94A3-425870304B61}"/>
              </a:ext>
            </a:extLst>
          </p:cNvPr>
          <p:cNvSpPr/>
          <p:nvPr/>
        </p:nvSpPr>
        <p:spPr bwMode="auto">
          <a:xfrm>
            <a:off x="7454407" y="154838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2" name="Arc 121">
            <a:extLst>
              <a:ext uri="{FF2B5EF4-FFF2-40B4-BE49-F238E27FC236}">
                <a16:creationId xmlns:a16="http://schemas.microsoft.com/office/drawing/2014/main" id="{D1D7688B-FB44-4145-BDA7-BA7008AC87B1}"/>
              </a:ext>
            </a:extLst>
          </p:cNvPr>
          <p:cNvSpPr/>
          <p:nvPr/>
        </p:nvSpPr>
        <p:spPr bwMode="auto">
          <a:xfrm>
            <a:off x="9639053" y="1548383"/>
            <a:ext cx="1670050" cy="1670050"/>
          </a:xfrm>
          <a:prstGeom prst="arc">
            <a:avLst>
              <a:gd name="adj1" fmla="val 10920239"/>
              <a:gd name="adj2" fmla="val 21507468"/>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23" name="Rectangle 122">
            <a:extLst>
              <a:ext uri="{FF2B5EF4-FFF2-40B4-BE49-F238E27FC236}">
                <a16:creationId xmlns:a16="http://schemas.microsoft.com/office/drawing/2014/main" id="{CDD6F448-A133-46C8-B58C-BBA663D3197F}"/>
              </a:ext>
            </a:extLst>
          </p:cNvPr>
          <p:cNvSpPr/>
          <p:nvPr/>
        </p:nvSpPr>
        <p:spPr>
          <a:xfrm>
            <a:off x="9486605" y="3135655"/>
            <a:ext cx="1974946"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Device </a:t>
            </a:r>
            <a:b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fingerprinting</a:t>
            </a:r>
          </a:p>
        </p:txBody>
      </p:sp>
      <p:sp>
        <p:nvSpPr>
          <p:cNvPr id="124" name="Rectangle 123">
            <a:extLst>
              <a:ext uri="{FF2B5EF4-FFF2-40B4-BE49-F238E27FC236}">
                <a16:creationId xmlns:a16="http://schemas.microsoft.com/office/drawing/2014/main" id="{3819343F-ECC6-4B66-8882-0CBFF7913E39}"/>
              </a:ext>
            </a:extLst>
          </p:cNvPr>
          <p:cNvSpPr/>
          <p:nvPr/>
        </p:nvSpPr>
        <p:spPr>
          <a:xfrm>
            <a:off x="2932669" y="3135655"/>
            <a:ext cx="1974946"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BOT </a:t>
            </a:r>
            <a:b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protection</a:t>
            </a:r>
          </a:p>
        </p:txBody>
      </p:sp>
      <p:sp>
        <p:nvSpPr>
          <p:cNvPr id="125" name="Rectangle 124">
            <a:extLst>
              <a:ext uri="{FF2B5EF4-FFF2-40B4-BE49-F238E27FC236}">
                <a16:creationId xmlns:a16="http://schemas.microsoft.com/office/drawing/2014/main" id="{2C07A855-CFCE-43B5-B903-C96AC7CB787B}"/>
              </a:ext>
            </a:extLst>
          </p:cNvPr>
          <p:cNvSpPr/>
          <p:nvPr/>
        </p:nvSpPr>
        <p:spPr>
          <a:xfrm>
            <a:off x="5117314" y="3135655"/>
            <a:ext cx="1974946"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Account creation protection</a:t>
            </a:r>
          </a:p>
        </p:txBody>
      </p:sp>
      <p:sp>
        <p:nvSpPr>
          <p:cNvPr id="126" name="Rectangle 125">
            <a:extLst>
              <a:ext uri="{FF2B5EF4-FFF2-40B4-BE49-F238E27FC236}">
                <a16:creationId xmlns:a16="http://schemas.microsoft.com/office/drawing/2014/main" id="{E224CCE4-65B8-4C3B-9F31-E549E7B6BED7}"/>
              </a:ext>
            </a:extLst>
          </p:cNvPr>
          <p:cNvSpPr/>
          <p:nvPr/>
        </p:nvSpPr>
        <p:spPr>
          <a:xfrm>
            <a:off x="7301959" y="3135655"/>
            <a:ext cx="1974946"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Account sign-in protection</a:t>
            </a:r>
          </a:p>
        </p:txBody>
      </p:sp>
      <p:sp>
        <p:nvSpPr>
          <p:cNvPr id="127" name="Rectangle 126">
            <a:extLst>
              <a:ext uri="{FF2B5EF4-FFF2-40B4-BE49-F238E27FC236}">
                <a16:creationId xmlns:a16="http://schemas.microsoft.com/office/drawing/2014/main" id="{0E07D61C-9A97-4903-9E2B-95EA0B73CFDD}"/>
              </a:ext>
            </a:extLst>
          </p:cNvPr>
          <p:cNvSpPr/>
          <p:nvPr/>
        </p:nvSpPr>
        <p:spPr>
          <a:xfrm>
            <a:off x="538942" y="3135655"/>
            <a:ext cx="1974946" cy="527491"/>
          </a:xfrm>
          <a:prstGeom prst="rect">
            <a:avLst/>
          </a:prstGeom>
        </p:spPr>
        <p:txBody>
          <a:bodyPr vert="horz" wrap="square" lIns="0" tIns="0" rIns="0" bIns="0" rtlCol="0">
            <a:noAutofit/>
          </a:bodyPr>
          <a:lstStyle/>
          <a:p>
            <a:pPr marL="0" marR="0" lvl="0" indent="0" algn="ctr" defTabSz="932563" rtl="0" eaLnBrk="1" fontAlgn="auto" latinLnBrk="0" hangingPunct="1">
              <a:lnSpc>
                <a:spcPct val="100000"/>
              </a:lnSpc>
              <a:spcBef>
                <a:spcPts val="1223"/>
              </a:spcBef>
              <a:spcAft>
                <a:spcPts val="600"/>
              </a:spcAft>
              <a:buClr>
                <a:srgbClr val="1A1A1A"/>
              </a:buClr>
              <a:buSzPct val="90000"/>
              <a:buFontTx/>
              <a:buNone/>
              <a:tabLst/>
              <a:defRPr/>
            </a:pPr>
            <a:r>
              <a:rPr kumimoji="0" lang="en-US" sz="1600" b="0" i="0" u="none" strike="noStrike" kern="1200" cap="none" spc="0" normalizeH="0" baseline="0" noProof="0">
                <a:ln>
                  <a:noFill/>
                </a:ln>
                <a:solidFill>
                  <a:srgbClr val="30E5D0">
                    <a:lumMod val="75000"/>
                  </a:srgbClr>
                </a:solidFill>
                <a:effectLst/>
                <a:uLnTx/>
                <a:uFillTx/>
                <a:latin typeface="Segoe UI Semibold"/>
                <a:ea typeface="+mn-ea"/>
                <a:cs typeface="Segoe UI Semibold" panose="020B0702040204020203" pitchFamily="34" charset="0"/>
              </a:rPr>
              <a:t>Adaptive AI technology</a:t>
            </a:r>
          </a:p>
        </p:txBody>
      </p:sp>
      <p:sp>
        <p:nvSpPr>
          <p:cNvPr id="68" name="Freeform 15">
            <a:extLst>
              <a:ext uri="{FF2B5EF4-FFF2-40B4-BE49-F238E27FC236}">
                <a16:creationId xmlns:a16="http://schemas.microsoft.com/office/drawing/2014/main" id="{FBF1F264-1A1E-4241-B28F-5A58DBF7B3CE}"/>
              </a:ext>
            </a:extLst>
          </p:cNvPr>
          <p:cNvSpPr>
            <a:spLocks/>
          </p:cNvSpPr>
          <p:nvPr/>
        </p:nvSpPr>
        <p:spPr bwMode="auto">
          <a:xfrm flipH="1">
            <a:off x="1429532" y="3766644"/>
            <a:ext cx="192260" cy="191904"/>
          </a:xfrm>
          <a:custGeom>
            <a:avLst/>
            <a:gdLst>
              <a:gd name="T0" fmla="*/ 1197 w 1197"/>
              <a:gd name="T1" fmla="*/ 598 h 1195"/>
              <a:gd name="T2" fmla="*/ 598 w 1197"/>
              <a:gd name="T3" fmla="*/ 1195 h 1195"/>
              <a:gd name="T4" fmla="*/ 386 w 1197"/>
              <a:gd name="T5" fmla="*/ 1156 h 1195"/>
              <a:gd name="T6" fmla="*/ 336 w 1197"/>
              <a:gd name="T7" fmla="*/ 1135 h 1195"/>
              <a:gd name="T8" fmla="*/ 188 w 1197"/>
              <a:gd name="T9" fmla="*/ 1033 h 1195"/>
              <a:gd name="T10" fmla="*/ 161 w 1197"/>
              <a:gd name="T11" fmla="*/ 1006 h 1195"/>
              <a:gd name="T12" fmla="*/ 127 w 1197"/>
              <a:gd name="T13" fmla="*/ 966 h 1195"/>
              <a:gd name="T14" fmla="*/ 125 w 1197"/>
              <a:gd name="T15" fmla="*/ 963 h 1195"/>
              <a:gd name="T16" fmla="*/ 81 w 1197"/>
              <a:gd name="T17" fmla="*/ 899 h 1195"/>
              <a:gd name="T18" fmla="*/ 57 w 1197"/>
              <a:gd name="T19" fmla="*/ 852 h 1195"/>
              <a:gd name="T20" fmla="*/ 0 w 1197"/>
              <a:gd name="T21" fmla="*/ 598 h 1195"/>
              <a:gd name="T22" fmla="*/ 598 w 1197"/>
              <a:gd name="T23" fmla="*/ 0 h 1195"/>
              <a:gd name="T24" fmla="*/ 1197 w 1197"/>
              <a:gd name="T25" fmla="*/ 59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7" h="1195">
                <a:moveTo>
                  <a:pt x="1197" y="598"/>
                </a:moveTo>
                <a:cubicBezTo>
                  <a:pt x="1197" y="928"/>
                  <a:pt x="929" y="1195"/>
                  <a:pt x="598" y="1195"/>
                </a:cubicBezTo>
                <a:cubicBezTo>
                  <a:pt x="523" y="1195"/>
                  <a:pt x="452" y="1181"/>
                  <a:pt x="386" y="1156"/>
                </a:cubicBezTo>
                <a:cubicBezTo>
                  <a:pt x="369" y="1150"/>
                  <a:pt x="352" y="1143"/>
                  <a:pt x="336" y="1135"/>
                </a:cubicBezTo>
                <a:cubicBezTo>
                  <a:pt x="282" y="1108"/>
                  <a:pt x="232" y="1074"/>
                  <a:pt x="188" y="1033"/>
                </a:cubicBezTo>
                <a:cubicBezTo>
                  <a:pt x="179" y="1024"/>
                  <a:pt x="170" y="1015"/>
                  <a:pt x="161" y="1006"/>
                </a:cubicBezTo>
                <a:cubicBezTo>
                  <a:pt x="149" y="993"/>
                  <a:pt x="138" y="980"/>
                  <a:pt x="127" y="966"/>
                </a:cubicBezTo>
                <a:cubicBezTo>
                  <a:pt x="126" y="965"/>
                  <a:pt x="126" y="964"/>
                  <a:pt x="125" y="963"/>
                </a:cubicBezTo>
                <a:cubicBezTo>
                  <a:pt x="109" y="943"/>
                  <a:pt x="94" y="921"/>
                  <a:pt x="81" y="899"/>
                </a:cubicBezTo>
                <a:cubicBezTo>
                  <a:pt x="72" y="883"/>
                  <a:pt x="64" y="868"/>
                  <a:pt x="57" y="852"/>
                </a:cubicBezTo>
                <a:cubicBezTo>
                  <a:pt x="20" y="775"/>
                  <a:pt x="0" y="689"/>
                  <a:pt x="0" y="598"/>
                </a:cubicBezTo>
                <a:cubicBezTo>
                  <a:pt x="0" y="268"/>
                  <a:pt x="268" y="0"/>
                  <a:pt x="598" y="0"/>
                </a:cubicBezTo>
                <a:cubicBezTo>
                  <a:pt x="929" y="0"/>
                  <a:pt x="1197" y="268"/>
                  <a:pt x="1197" y="598"/>
                </a:cubicBezTo>
                <a:close/>
              </a:path>
            </a:pathLst>
          </a:cu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0E5D0">
                  <a:lumMod val="75000"/>
                </a:srgbClr>
              </a:solidFill>
              <a:effectLst/>
              <a:uLnTx/>
              <a:uFillTx/>
              <a:latin typeface="Segoe UI"/>
              <a:ea typeface="+mn-ea"/>
              <a:cs typeface="+mn-cs"/>
            </a:endParaRPr>
          </a:p>
        </p:txBody>
      </p:sp>
      <p:sp>
        <p:nvSpPr>
          <p:cNvPr id="69" name="Freeform 15">
            <a:extLst>
              <a:ext uri="{FF2B5EF4-FFF2-40B4-BE49-F238E27FC236}">
                <a16:creationId xmlns:a16="http://schemas.microsoft.com/office/drawing/2014/main" id="{B995E7D0-5EC4-49BC-BF1A-1D6981DFE57B}"/>
              </a:ext>
            </a:extLst>
          </p:cNvPr>
          <p:cNvSpPr>
            <a:spLocks/>
          </p:cNvSpPr>
          <p:nvPr/>
        </p:nvSpPr>
        <p:spPr bwMode="auto">
          <a:xfrm flipH="1">
            <a:off x="3824012" y="3766644"/>
            <a:ext cx="192260" cy="191904"/>
          </a:xfrm>
          <a:custGeom>
            <a:avLst/>
            <a:gdLst>
              <a:gd name="T0" fmla="*/ 1197 w 1197"/>
              <a:gd name="T1" fmla="*/ 598 h 1195"/>
              <a:gd name="T2" fmla="*/ 598 w 1197"/>
              <a:gd name="T3" fmla="*/ 1195 h 1195"/>
              <a:gd name="T4" fmla="*/ 386 w 1197"/>
              <a:gd name="T5" fmla="*/ 1156 h 1195"/>
              <a:gd name="T6" fmla="*/ 336 w 1197"/>
              <a:gd name="T7" fmla="*/ 1135 h 1195"/>
              <a:gd name="T8" fmla="*/ 188 w 1197"/>
              <a:gd name="T9" fmla="*/ 1033 h 1195"/>
              <a:gd name="T10" fmla="*/ 161 w 1197"/>
              <a:gd name="T11" fmla="*/ 1006 h 1195"/>
              <a:gd name="T12" fmla="*/ 127 w 1197"/>
              <a:gd name="T13" fmla="*/ 966 h 1195"/>
              <a:gd name="T14" fmla="*/ 125 w 1197"/>
              <a:gd name="T15" fmla="*/ 963 h 1195"/>
              <a:gd name="T16" fmla="*/ 81 w 1197"/>
              <a:gd name="T17" fmla="*/ 899 h 1195"/>
              <a:gd name="T18" fmla="*/ 57 w 1197"/>
              <a:gd name="T19" fmla="*/ 852 h 1195"/>
              <a:gd name="T20" fmla="*/ 0 w 1197"/>
              <a:gd name="T21" fmla="*/ 598 h 1195"/>
              <a:gd name="T22" fmla="*/ 598 w 1197"/>
              <a:gd name="T23" fmla="*/ 0 h 1195"/>
              <a:gd name="T24" fmla="*/ 1197 w 1197"/>
              <a:gd name="T25" fmla="*/ 59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7" h="1195">
                <a:moveTo>
                  <a:pt x="1197" y="598"/>
                </a:moveTo>
                <a:cubicBezTo>
                  <a:pt x="1197" y="928"/>
                  <a:pt x="929" y="1195"/>
                  <a:pt x="598" y="1195"/>
                </a:cubicBezTo>
                <a:cubicBezTo>
                  <a:pt x="523" y="1195"/>
                  <a:pt x="452" y="1181"/>
                  <a:pt x="386" y="1156"/>
                </a:cubicBezTo>
                <a:cubicBezTo>
                  <a:pt x="369" y="1150"/>
                  <a:pt x="352" y="1143"/>
                  <a:pt x="336" y="1135"/>
                </a:cubicBezTo>
                <a:cubicBezTo>
                  <a:pt x="282" y="1108"/>
                  <a:pt x="232" y="1074"/>
                  <a:pt x="188" y="1033"/>
                </a:cubicBezTo>
                <a:cubicBezTo>
                  <a:pt x="179" y="1024"/>
                  <a:pt x="170" y="1015"/>
                  <a:pt x="161" y="1006"/>
                </a:cubicBezTo>
                <a:cubicBezTo>
                  <a:pt x="149" y="993"/>
                  <a:pt x="138" y="980"/>
                  <a:pt x="127" y="966"/>
                </a:cubicBezTo>
                <a:cubicBezTo>
                  <a:pt x="126" y="965"/>
                  <a:pt x="126" y="964"/>
                  <a:pt x="125" y="963"/>
                </a:cubicBezTo>
                <a:cubicBezTo>
                  <a:pt x="109" y="943"/>
                  <a:pt x="94" y="921"/>
                  <a:pt x="81" y="899"/>
                </a:cubicBezTo>
                <a:cubicBezTo>
                  <a:pt x="72" y="883"/>
                  <a:pt x="64" y="868"/>
                  <a:pt x="57" y="852"/>
                </a:cubicBezTo>
                <a:cubicBezTo>
                  <a:pt x="20" y="775"/>
                  <a:pt x="0" y="689"/>
                  <a:pt x="0" y="598"/>
                </a:cubicBezTo>
                <a:cubicBezTo>
                  <a:pt x="0" y="268"/>
                  <a:pt x="268" y="0"/>
                  <a:pt x="598" y="0"/>
                </a:cubicBezTo>
                <a:cubicBezTo>
                  <a:pt x="929" y="0"/>
                  <a:pt x="1197" y="268"/>
                  <a:pt x="1197" y="598"/>
                </a:cubicBezTo>
                <a:close/>
              </a:path>
            </a:pathLst>
          </a:cu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0E5D0">
                  <a:lumMod val="75000"/>
                </a:srgbClr>
              </a:solidFill>
              <a:effectLst/>
              <a:uLnTx/>
              <a:uFillTx/>
              <a:latin typeface="Segoe UI"/>
              <a:ea typeface="+mn-ea"/>
              <a:cs typeface="+mn-cs"/>
            </a:endParaRPr>
          </a:p>
        </p:txBody>
      </p:sp>
      <p:sp>
        <p:nvSpPr>
          <p:cNvPr id="70" name="Freeform 15">
            <a:extLst>
              <a:ext uri="{FF2B5EF4-FFF2-40B4-BE49-F238E27FC236}">
                <a16:creationId xmlns:a16="http://schemas.microsoft.com/office/drawing/2014/main" id="{8502C3A0-885A-4807-9541-2B4683B7E92E}"/>
              </a:ext>
            </a:extLst>
          </p:cNvPr>
          <p:cNvSpPr>
            <a:spLocks/>
          </p:cNvSpPr>
          <p:nvPr/>
        </p:nvSpPr>
        <p:spPr bwMode="auto">
          <a:xfrm flipH="1">
            <a:off x="8193302" y="3766644"/>
            <a:ext cx="192260" cy="191904"/>
          </a:xfrm>
          <a:custGeom>
            <a:avLst/>
            <a:gdLst>
              <a:gd name="T0" fmla="*/ 1197 w 1197"/>
              <a:gd name="T1" fmla="*/ 598 h 1195"/>
              <a:gd name="T2" fmla="*/ 598 w 1197"/>
              <a:gd name="T3" fmla="*/ 1195 h 1195"/>
              <a:gd name="T4" fmla="*/ 386 w 1197"/>
              <a:gd name="T5" fmla="*/ 1156 h 1195"/>
              <a:gd name="T6" fmla="*/ 336 w 1197"/>
              <a:gd name="T7" fmla="*/ 1135 h 1195"/>
              <a:gd name="T8" fmla="*/ 188 w 1197"/>
              <a:gd name="T9" fmla="*/ 1033 h 1195"/>
              <a:gd name="T10" fmla="*/ 161 w 1197"/>
              <a:gd name="T11" fmla="*/ 1006 h 1195"/>
              <a:gd name="T12" fmla="*/ 127 w 1197"/>
              <a:gd name="T13" fmla="*/ 966 h 1195"/>
              <a:gd name="T14" fmla="*/ 125 w 1197"/>
              <a:gd name="T15" fmla="*/ 963 h 1195"/>
              <a:gd name="T16" fmla="*/ 81 w 1197"/>
              <a:gd name="T17" fmla="*/ 899 h 1195"/>
              <a:gd name="T18" fmla="*/ 57 w 1197"/>
              <a:gd name="T19" fmla="*/ 852 h 1195"/>
              <a:gd name="T20" fmla="*/ 0 w 1197"/>
              <a:gd name="T21" fmla="*/ 598 h 1195"/>
              <a:gd name="T22" fmla="*/ 598 w 1197"/>
              <a:gd name="T23" fmla="*/ 0 h 1195"/>
              <a:gd name="T24" fmla="*/ 1197 w 1197"/>
              <a:gd name="T25" fmla="*/ 59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7" h="1195">
                <a:moveTo>
                  <a:pt x="1197" y="598"/>
                </a:moveTo>
                <a:cubicBezTo>
                  <a:pt x="1197" y="928"/>
                  <a:pt x="929" y="1195"/>
                  <a:pt x="598" y="1195"/>
                </a:cubicBezTo>
                <a:cubicBezTo>
                  <a:pt x="523" y="1195"/>
                  <a:pt x="452" y="1181"/>
                  <a:pt x="386" y="1156"/>
                </a:cubicBezTo>
                <a:cubicBezTo>
                  <a:pt x="369" y="1150"/>
                  <a:pt x="352" y="1143"/>
                  <a:pt x="336" y="1135"/>
                </a:cubicBezTo>
                <a:cubicBezTo>
                  <a:pt x="282" y="1108"/>
                  <a:pt x="232" y="1074"/>
                  <a:pt x="188" y="1033"/>
                </a:cubicBezTo>
                <a:cubicBezTo>
                  <a:pt x="179" y="1024"/>
                  <a:pt x="170" y="1015"/>
                  <a:pt x="161" y="1006"/>
                </a:cubicBezTo>
                <a:cubicBezTo>
                  <a:pt x="149" y="993"/>
                  <a:pt x="138" y="980"/>
                  <a:pt x="127" y="966"/>
                </a:cubicBezTo>
                <a:cubicBezTo>
                  <a:pt x="126" y="965"/>
                  <a:pt x="126" y="964"/>
                  <a:pt x="125" y="963"/>
                </a:cubicBezTo>
                <a:cubicBezTo>
                  <a:pt x="109" y="943"/>
                  <a:pt x="94" y="921"/>
                  <a:pt x="81" y="899"/>
                </a:cubicBezTo>
                <a:cubicBezTo>
                  <a:pt x="72" y="883"/>
                  <a:pt x="64" y="868"/>
                  <a:pt x="57" y="852"/>
                </a:cubicBezTo>
                <a:cubicBezTo>
                  <a:pt x="20" y="775"/>
                  <a:pt x="0" y="689"/>
                  <a:pt x="0" y="598"/>
                </a:cubicBezTo>
                <a:cubicBezTo>
                  <a:pt x="0" y="268"/>
                  <a:pt x="268" y="0"/>
                  <a:pt x="598" y="0"/>
                </a:cubicBezTo>
                <a:cubicBezTo>
                  <a:pt x="929" y="0"/>
                  <a:pt x="1197" y="268"/>
                  <a:pt x="1197" y="598"/>
                </a:cubicBezTo>
                <a:close/>
              </a:path>
            </a:pathLst>
          </a:cu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0E5D0">
                  <a:lumMod val="75000"/>
                </a:srgbClr>
              </a:solidFill>
              <a:effectLst/>
              <a:uLnTx/>
              <a:uFillTx/>
              <a:latin typeface="Segoe UI"/>
              <a:ea typeface="+mn-ea"/>
              <a:cs typeface="+mn-cs"/>
            </a:endParaRPr>
          </a:p>
        </p:txBody>
      </p:sp>
      <p:sp>
        <p:nvSpPr>
          <p:cNvPr id="71" name="Freeform 15">
            <a:extLst>
              <a:ext uri="{FF2B5EF4-FFF2-40B4-BE49-F238E27FC236}">
                <a16:creationId xmlns:a16="http://schemas.microsoft.com/office/drawing/2014/main" id="{957C2584-FDF4-4A2A-96AC-E520EEABBC33}"/>
              </a:ext>
            </a:extLst>
          </p:cNvPr>
          <p:cNvSpPr>
            <a:spLocks/>
          </p:cNvSpPr>
          <p:nvPr/>
        </p:nvSpPr>
        <p:spPr bwMode="auto">
          <a:xfrm flipH="1">
            <a:off x="10377948" y="3766644"/>
            <a:ext cx="192260" cy="191904"/>
          </a:xfrm>
          <a:custGeom>
            <a:avLst/>
            <a:gdLst>
              <a:gd name="T0" fmla="*/ 1197 w 1197"/>
              <a:gd name="T1" fmla="*/ 598 h 1195"/>
              <a:gd name="T2" fmla="*/ 598 w 1197"/>
              <a:gd name="T3" fmla="*/ 1195 h 1195"/>
              <a:gd name="T4" fmla="*/ 386 w 1197"/>
              <a:gd name="T5" fmla="*/ 1156 h 1195"/>
              <a:gd name="T6" fmla="*/ 336 w 1197"/>
              <a:gd name="T7" fmla="*/ 1135 h 1195"/>
              <a:gd name="T8" fmla="*/ 188 w 1197"/>
              <a:gd name="T9" fmla="*/ 1033 h 1195"/>
              <a:gd name="T10" fmla="*/ 161 w 1197"/>
              <a:gd name="T11" fmla="*/ 1006 h 1195"/>
              <a:gd name="T12" fmla="*/ 127 w 1197"/>
              <a:gd name="T13" fmla="*/ 966 h 1195"/>
              <a:gd name="T14" fmla="*/ 125 w 1197"/>
              <a:gd name="T15" fmla="*/ 963 h 1195"/>
              <a:gd name="T16" fmla="*/ 81 w 1197"/>
              <a:gd name="T17" fmla="*/ 899 h 1195"/>
              <a:gd name="T18" fmla="*/ 57 w 1197"/>
              <a:gd name="T19" fmla="*/ 852 h 1195"/>
              <a:gd name="T20" fmla="*/ 0 w 1197"/>
              <a:gd name="T21" fmla="*/ 598 h 1195"/>
              <a:gd name="T22" fmla="*/ 598 w 1197"/>
              <a:gd name="T23" fmla="*/ 0 h 1195"/>
              <a:gd name="T24" fmla="*/ 1197 w 1197"/>
              <a:gd name="T25" fmla="*/ 59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7" h="1195">
                <a:moveTo>
                  <a:pt x="1197" y="598"/>
                </a:moveTo>
                <a:cubicBezTo>
                  <a:pt x="1197" y="928"/>
                  <a:pt x="929" y="1195"/>
                  <a:pt x="598" y="1195"/>
                </a:cubicBezTo>
                <a:cubicBezTo>
                  <a:pt x="523" y="1195"/>
                  <a:pt x="452" y="1181"/>
                  <a:pt x="386" y="1156"/>
                </a:cubicBezTo>
                <a:cubicBezTo>
                  <a:pt x="369" y="1150"/>
                  <a:pt x="352" y="1143"/>
                  <a:pt x="336" y="1135"/>
                </a:cubicBezTo>
                <a:cubicBezTo>
                  <a:pt x="282" y="1108"/>
                  <a:pt x="232" y="1074"/>
                  <a:pt x="188" y="1033"/>
                </a:cubicBezTo>
                <a:cubicBezTo>
                  <a:pt x="179" y="1024"/>
                  <a:pt x="170" y="1015"/>
                  <a:pt x="161" y="1006"/>
                </a:cubicBezTo>
                <a:cubicBezTo>
                  <a:pt x="149" y="993"/>
                  <a:pt x="138" y="980"/>
                  <a:pt x="127" y="966"/>
                </a:cubicBezTo>
                <a:cubicBezTo>
                  <a:pt x="126" y="965"/>
                  <a:pt x="126" y="964"/>
                  <a:pt x="125" y="963"/>
                </a:cubicBezTo>
                <a:cubicBezTo>
                  <a:pt x="109" y="943"/>
                  <a:pt x="94" y="921"/>
                  <a:pt x="81" y="899"/>
                </a:cubicBezTo>
                <a:cubicBezTo>
                  <a:pt x="72" y="883"/>
                  <a:pt x="64" y="868"/>
                  <a:pt x="57" y="852"/>
                </a:cubicBezTo>
                <a:cubicBezTo>
                  <a:pt x="20" y="775"/>
                  <a:pt x="0" y="689"/>
                  <a:pt x="0" y="598"/>
                </a:cubicBezTo>
                <a:cubicBezTo>
                  <a:pt x="0" y="268"/>
                  <a:pt x="268" y="0"/>
                  <a:pt x="598" y="0"/>
                </a:cubicBezTo>
                <a:cubicBezTo>
                  <a:pt x="929" y="0"/>
                  <a:pt x="1197" y="268"/>
                  <a:pt x="1197" y="598"/>
                </a:cubicBezTo>
                <a:close/>
              </a:path>
            </a:pathLst>
          </a:cu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0E5D0">
                  <a:lumMod val="75000"/>
                </a:srgbClr>
              </a:solidFill>
              <a:effectLst/>
              <a:uLnTx/>
              <a:uFillTx/>
              <a:latin typeface="Segoe UI"/>
              <a:ea typeface="+mn-ea"/>
              <a:cs typeface="+mn-cs"/>
            </a:endParaRPr>
          </a:p>
        </p:txBody>
      </p:sp>
      <p:pic>
        <p:nvPicPr>
          <p:cNvPr id="147" name="Picture 146">
            <a:extLst>
              <a:ext uri="{FF2B5EF4-FFF2-40B4-BE49-F238E27FC236}">
                <a16:creationId xmlns:a16="http://schemas.microsoft.com/office/drawing/2014/main" id="{213BF936-24AD-4106-AC32-915831F80057}"/>
              </a:ext>
            </a:extLst>
          </p:cNvPr>
          <p:cNvPicPr>
            <a:picLocks noChangeAspect="1"/>
          </p:cNvPicPr>
          <p:nvPr/>
        </p:nvPicPr>
        <p:blipFill rotWithShape="1">
          <a:blip r:embed="rId7"/>
          <a:srcRect l="19334" t="1758" r="18439" b="1604"/>
          <a:stretch/>
        </p:blipFill>
        <p:spPr>
          <a:xfrm>
            <a:off x="3215295" y="167856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p:spPr>
      </p:pic>
      <p:pic>
        <p:nvPicPr>
          <p:cNvPr id="146" name="Picture 145">
            <a:extLst>
              <a:ext uri="{FF2B5EF4-FFF2-40B4-BE49-F238E27FC236}">
                <a16:creationId xmlns:a16="http://schemas.microsoft.com/office/drawing/2014/main" id="{85286800-C2AA-4A11-93D4-B4968704EAB5}"/>
              </a:ext>
            </a:extLst>
          </p:cNvPr>
          <p:cNvPicPr>
            <a:picLocks noChangeAspect="1"/>
          </p:cNvPicPr>
          <p:nvPr/>
        </p:nvPicPr>
        <p:blipFill rotWithShape="1">
          <a:blip r:embed="rId8"/>
          <a:srcRect l="7656" t="-15930" r="6827" b="-18616"/>
          <a:stretch/>
        </p:blipFill>
        <p:spPr>
          <a:xfrm>
            <a:off x="821568" y="167856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pic>
        <p:nvPicPr>
          <p:cNvPr id="149" name="Picture 148">
            <a:extLst>
              <a:ext uri="{FF2B5EF4-FFF2-40B4-BE49-F238E27FC236}">
                <a16:creationId xmlns:a16="http://schemas.microsoft.com/office/drawing/2014/main" id="{69F8DDFD-41A8-463F-9421-AF651197E636}"/>
              </a:ext>
            </a:extLst>
          </p:cNvPr>
          <p:cNvPicPr>
            <a:picLocks noChangeAspect="1"/>
          </p:cNvPicPr>
          <p:nvPr/>
        </p:nvPicPr>
        <p:blipFill rotWithShape="1">
          <a:blip r:embed="rId9"/>
          <a:srcRect l="8153" t="-11815" r="6366" b="-24212"/>
          <a:stretch/>
        </p:blipFill>
        <p:spPr>
          <a:xfrm>
            <a:off x="5399940" y="167856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a:ln w="6350">
            <a:solidFill>
              <a:schemeClr val="bg1">
                <a:lumMod val="85000"/>
              </a:schemeClr>
            </a:solidFill>
          </a:ln>
        </p:spPr>
      </p:pic>
      <p:pic>
        <p:nvPicPr>
          <p:cNvPr id="151" name="Picture 150">
            <a:extLst>
              <a:ext uri="{FF2B5EF4-FFF2-40B4-BE49-F238E27FC236}">
                <a16:creationId xmlns:a16="http://schemas.microsoft.com/office/drawing/2014/main" id="{6AA8F72E-44EF-4112-B875-5FCAD8327F77}"/>
              </a:ext>
            </a:extLst>
          </p:cNvPr>
          <p:cNvPicPr>
            <a:picLocks noChangeAspect="1"/>
          </p:cNvPicPr>
          <p:nvPr/>
        </p:nvPicPr>
        <p:blipFill rotWithShape="1">
          <a:blip r:embed="rId10"/>
          <a:srcRect l="8225" t="382" r="28940" b="1885"/>
          <a:stretch/>
        </p:blipFill>
        <p:spPr>
          <a:xfrm>
            <a:off x="7584585" y="167856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p:spPr>
      </p:pic>
      <p:pic>
        <p:nvPicPr>
          <p:cNvPr id="152" name="Picture 151">
            <a:extLst>
              <a:ext uri="{FF2B5EF4-FFF2-40B4-BE49-F238E27FC236}">
                <a16:creationId xmlns:a16="http://schemas.microsoft.com/office/drawing/2014/main" id="{2872C79A-FF05-4E84-B4A0-07E3BEE3B222}"/>
              </a:ext>
            </a:extLst>
          </p:cNvPr>
          <p:cNvPicPr>
            <a:picLocks noChangeAspect="1"/>
          </p:cNvPicPr>
          <p:nvPr/>
        </p:nvPicPr>
        <p:blipFill rotWithShape="1">
          <a:blip r:embed="rId11"/>
          <a:srcRect l="15413" t="774" r="23220" b="1511"/>
          <a:stretch/>
        </p:blipFill>
        <p:spPr>
          <a:xfrm>
            <a:off x="9769231" y="1678561"/>
            <a:ext cx="1409694" cy="1409694"/>
          </a:xfrm>
          <a:custGeom>
            <a:avLst/>
            <a:gdLst>
              <a:gd name="connsiteX0" fmla="*/ 704847 w 1409694"/>
              <a:gd name="connsiteY0" fmla="*/ 0 h 1409694"/>
              <a:gd name="connsiteX1" fmla="*/ 1409694 w 1409694"/>
              <a:gd name="connsiteY1" fmla="*/ 704847 h 1409694"/>
              <a:gd name="connsiteX2" fmla="*/ 704847 w 1409694"/>
              <a:gd name="connsiteY2" fmla="*/ 1409694 h 1409694"/>
              <a:gd name="connsiteX3" fmla="*/ 0 w 1409694"/>
              <a:gd name="connsiteY3" fmla="*/ 704847 h 1409694"/>
              <a:gd name="connsiteX4" fmla="*/ 704847 w 1409694"/>
              <a:gd name="connsiteY4" fmla="*/ 0 h 140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4" h="1409694">
                <a:moveTo>
                  <a:pt x="704847" y="0"/>
                </a:moveTo>
                <a:cubicBezTo>
                  <a:pt x="1094123" y="0"/>
                  <a:pt x="1409694" y="315571"/>
                  <a:pt x="1409694" y="704847"/>
                </a:cubicBezTo>
                <a:cubicBezTo>
                  <a:pt x="1409694" y="1094123"/>
                  <a:pt x="1094123" y="1409694"/>
                  <a:pt x="704847" y="1409694"/>
                </a:cubicBezTo>
                <a:cubicBezTo>
                  <a:pt x="315571" y="1409694"/>
                  <a:pt x="0" y="1094123"/>
                  <a:pt x="0" y="704847"/>
                </a:cubicBezTo>
                <a:cubicBezTo>
                  <a:pt x="0" y="315571"/>
                  <a:pt x="315571" y="0"/>
                  <a:pt x="704847" y="0"/>
                </a:cubicBezTo>
                <a:close/>
              </a:path>
            </a:pathLst>
          </a:custGeom>
        </p:spPr>
      </p:pic>
      <p:cxnSp>
        <p:nvCxnSpPr>
          <p:cNvPr id="155" name="Straight Connector 154">
            <a:extLst>
              <a:ext uri="{FF2B5EF4-FFF2-40B4-BE49-F238E27FC236}">
                <a16:creationId xmlns:a16="http://schemas.microsoft.com/office/drawing/2014/main" id="{626A06CC-4D65-442B-835B-0A5B8FBC182E}"/>
              </a:ext>
            </a:extLst>
          </p:cNvPr>
          <p:cNvCxnSpPr>
            <a:cxnSpLocks/>
          </p:cNvCxnSpPr>
          <p:nvPr/>
        </p:nvCxnSpPr>
        <p:spPr>
          <a:xfrm>
            <a:off x="5278010" y="1353222"/>
            <a:ext cx="1638300" cy="0"/>
          </a:xfrm>
          <a:prstGeom prst="line">
            <a:avLst/>
          </a:prstGeom>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58" name="Title 2">
            <a:extLst>
              <a:ext uri="{FF2B5EF4-FFF2-40B4-BE49-F238E27FC236}">
                <a16:creationId xmlns:a16="http://schemas.microsoft.com/office/drawing/2014/main" id="{F21185EC-DFC5-4A1A-828E-0E2DB39ECB23}"/>
              </a:ext>
            </a:extLst>
          </p:cNvPr>
          <p:cNvSpPr txBox="1">
            <a:spLocks/>
          </p:cNvSpPr>
          <p:nvPr/>
        </p:nvSpPr>
        <p:spPr>
          <a:xfrm>
            <a:off x="446225" y="457200"/>
            <a:ext cx="11163163" cy="917048"/>
          </a:xfrm>
          <a:prstGeom prst="rect">
            <a:avLst/>
          </a:prstGeom>
        </p:spPr>
        <p:txBody>
          <a:bodyPr vert="horz" wrap="square" lIns="146304" tIns="91440" rIns="146304" bIns="91440" rtlCol="0" anchor="ctr">
            <a:noAutofit/>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pPr marL="0" marR="0" lvl="0" indent="0" defTabSz="91419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chemeClr val="tx1"/>
                </a:solidFill>
                <a:effectLst/>
                <a:uLnTx/>
                <a:uFillTx/>
                <a:latin typeface="Segoe UI Semibold"/>
                <a:ea typeface="+mn-ea"/>
                <a:cs typeface="Segoe UI" pitchFamily="34" charset="0"/>
              </a:rPr>
              <a:t>How does Dynamics 365 Fraud Protection with account protection capability work</a:t>
            </a:r>
          </a:p>
        </p:txBody>
      </p:sp>
      <p:sp>
        <p:nvSpPr>
          <p:cNvPr id="30" name="Rectangle 29">
            <a:extLst>
              <a:ext uri="{FF2B5EF4-FFF2-40B4-BE49-F238E27FC236}">
                <a16:creationId xmlns:a16="http://schemas.microsoft.com/office/drawing/2014/main" id="{6351F845-3BC9-44C2-9205-403A3759DE94}"/>
              </a:ext>
            </a:extLst>
          </p:cNvPr>
          <p:cNvSpPr/>
          <p:nvPr/>
        </p:nvSpPr>
        <p:spPr>
          <a:xfrm>
            <a:off x="584200" y="4140296"/>
            <a:ext cx="1849715" cy="1015663"/>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Continuously learns and adapts from patterns and equips store managers with tools to optimize fraud controls.</a:t>
            </a:r>
          </a:p>
        </p:txBody>
      </p:sp>
      <p:sp>
        <p:nvSpPr>
          <p:cNvPr id="31" name="Rectangle 30">
            <a:extLst>
              <a:ext uri="{FF2B5EF4-FFF2-40B4-BE49-F238E27FC236}">
                <a16:creationId xmlns:a16="http://schemas.microsoft.com/office/drawing/2014/main" id="{A50A7FFE-0FCD-4DD9-AC94-AC35845ADFD5}"/>
              </a:ext>
            </a:extLst>
          </p:cNvPr>
          <p:cNvSpPr/>
          <p:nvPr/>
        </p:nvSpPr>
        <p:spPr>
          <a:xfrm>
            <a:off x="2869883" y="4156564"/>
            <a:ext cx="1989242" cy="1200329"/>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elps protect your system against bots attempting to gain access to accounts with stolen credentials or to create fake accounts and transactions. </a:t>
            </a:r>
          </a:p>
        </p:txBody>
      </p:sp>
      <p:sp>
        <p:nvSpPr>
          <p:cNvPr id="32" name="Rectangle 31">
            <a:extLst>
              <a:ext uri="{FF2B5EF4-FFF2-40B4-BE49-F238E27FC236}">
                <a16:creationId xmlns:a16="http://schemas.microsoft.com/office/drawing/2014/main" id="{689CD04A-E768-4DB4-B47E-F5F28F301674}"/>
              </a:ext>
            </a:extLst>
          </p:cNvPr>
          <p:cNvSpPr/>
          <p:nvPr/>
        </p:nvSpPr>
        <p:spPr>
          <a:xfrm>
            <a:off x="5070693" y="4177674"/>
            <a:ext cx="1989242" cy="1384995"/>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elps avoid incurring losses due to fraudulent accounts by monitoring account creation and helping minimize abuse and automated attacks on customer accounts.</a:t>
            </a:r>
          </a:p>
        </p:txBody>
      </p:sp>
      <p:sp>
        <p:nvSpPr>
          <p:cNvPr id="33" name="Rectangle 32">
            <a:extLst>
              <a:ext uri="{FF2B5EF4-FFF2-40B4-BE49-F238E27FC236}">
                <a16:creationId xmlns:a16="http://schemas.microsoft.com/office/drawing/2014/main" id="{F95E7255-D48A-4619-93D2-F7816CBA8F01}"/>
              </a:ext>
            </a:extLst>
          </p:cNvPr>
          <p:cNvSpPr/>
          <p:nvPr/>
        </p:nvSpPr>
        <p:spPr>
          <a:xfrm>
            <a:off x="7271502" y="4185451"/>
            <a:ext cx="1989242" cy="1015663"/>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elps protect customer accounts​, improving customer engagement and conversion by reducing friction​.</a:t>
            </a:r>
          </a:p>
        </p:txBody>
      </p:sp>
      <p:cxnSp>
        <p:nvCxnSpPr>
          <p:cNvPr id="34" name="Straight Connector 33">
            <a:extLst>
              <a:ext uri="{FF2B5EF4-FFF2-40B4-BE49-F238E27FC236}">
                <a16:creationId xmlns:a16="http://schemas.microsoft.com/office/drawing/2014/main" id="{807E6FA7-A52C-40A6-942F-41866D4E579C}"/>
              </a:ext>
            </a:extLst>
          </p:cNvPr>
          <p:cNvCxnSpPr>
            <a:cxnSpLocks/>
          </p:cNvCxnSpPr>
          <p:nvPr/>
        </p:nvCxnSpPr>
        <p:spPr>
          <a:xfrm>
            <a:off x="2669970" y="4078614"/>
            <a:ext cx="0" cy="182688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E51D9F6-BE30-4AF5-9879-BD870C77FFE0}"/>
              </a:ext>
            </a:extLst>
          </p:cNvPr>
          <p:cNvCxnSpPr>
            <a:cxnSpLocks/>
          </p:cNvCxnSpPr>
          <p:nvPr/>
        </p:nvCxnSpPr>
        <p:spPr>
          <a:xfrm>
            <a:off x="4907615" y="4078614"/>
            <a:ext cx="0" cy="182688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EB0D77-AAD3-477E-99CA-52EAA7CB4823}"/>
              </a:ext>
            </a:extLst>
          </p:cNvPr>
          <p:cNvCxnSpPr>
            <a:cxnSpLocks/>
          </p:cNvCxnSpPr>
          <p:nvPr/>
        </p:nvCxnSpPr>
        <p:spPr>
          <a:xfrm>
            <a:off x="7165718" y="4078614"/>
            <a:ext cx="0" cy="182688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A4F491B3-4B12-4DD2-9FCE-80AD60C27DCE}"/>
              </a:ext>
            </a:extLst>
          </p:cNvPr>
          <p:cNvSpPr/>
          <p:nvPr/>
        </p:nvSpPr>
        <p:spPr>
          <a:xfrm>
            <a:off x="9575586" y="4200755"/>
            <a:ext cx="2032209" cy="1384995"/>
          </a:xfrm>
          <a:prstGeom prst="rect">
            <a:avLst/>
          </a:prstGeom>
        </p:spPr>
        <p:txBody>
          <a:bodyPr wrap="square" l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Dynamics 365 Fraud Protection’s device fingerprinting capability boosts the service’s fraud detection capabilities to help customers reduce fraud losses.</a:t>
            </a:r>
          </a:p>
        </p:txBody>
      </p:sp>
      <p:cxnSp>
        <p:nvCxnSpPr>
          <p:cNvPr id="38" name="Straight Connector 37">
            <a:extLst>
              <a:ext uri="{FF2B5EF4-FFF2-40B4-BE49-F238E27FC236}">
                <a16:creationId xmlns:a16="http://schemas.microsoft.com/office/drawing/2014/main" id="{A14E7793-F0D9-43AD-B6C6-BD8629126678}"/>
              </a:ext>
            </a:extLst>
          </p:cNvPr>
          <p:cNvCxnSpPr>
            <a:cxnSpLocks/>
          </p:cNvCxnSpPr>
          <p:nvPr/>
        </p:nvCxnSpPr>
        <p:spPr>
          <a:xfrm>
            <a:off x="9366528" y="4078614"/>
            <a:ext cx="0" cy="182688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15">
            <a:extLst>
              <a:ext uri="{FF2B5EF4-FFF2-40B4-BE49-F238E27FC236}">
                <a16:creationId xmlns:a16="http://schemas.microsoft.com/office/drawing/2014/main" id="{AF64F606-EBA6-46EF-A30B-D60A718242F2}"/>
              </a:ext>
            </a:extLst>
          </p:cNvPr>
          <p:cNvSpPr>
            <a:spLocks/>
          </p:cNvSpPr>
          <p:nvPr/>
        </p:nvSpPr>
        <p:spPr bwMode="auto">
          <a:xfrm flipH="1">
            <a:off x="6008657" y="3766644"/>
            <a:ext cx="192260" cy="191904"/>
          </a:xfrm>
          <a:custGeom>
            <a:avLst/>
            <a:gdLst>
              <a:gd name="T0" fmla="*/ 1197 w 1197"/>
              <a:gd name="T1" fmla="*/ 598 h 1195"/>
              <a:gd name="T2" fmla="*/ 598 w 1197"/>
              <a:gd name="T3" fmla="*/ 1195 h 1195"/>
              <a:gd name="T4" fmla="*/ 386 w 1197"/>
              <a:gd name="T5" fmla="*/ 1156 h 1195"/>
              <a:gd name="T6" fmla="*/ 336 w 1197"/>
              <a:gd name="T7" fmla="*/ 1135 h 1195"/>
              <a:gd name="T8" fmla="*/ 188 w 1197"/>
              <a:gd name="T9" fmla="*/ 1033 h 1195"/>
              <a:gd name="T10" fmla="*/ 161 w 1197"/>
              <a:gd name="T11" fmla="*/ 1006 h 1195"/>
              <a:gd name="T12" fmla="*/ 127 w 1197"/>
              <a:gd name="T13" fmla="*/ 966 h 1195"/>
              <a:gd name="T14" fmla="*/ 125 w 1197"/>
              <a:gd name="T15" fmla="*/ 963 h 1195"/>
              <a:gd name="T16" fmla="*/ 81 w 1197"/>
              <a:gd name="T17" fmla="*/ 899 h 1195"/>
              <a:gd name="T18" fmla="*/ 57 w 1197"/>
              <a:gd name="T19" fmla="*/ 852 h 1195"/>
              <a:gd name="T20" fmla="*/ 0 w 1197"/>
              <a:gd name="T21" fmla="*/ 598 h 1195"/>
              <a:gd name="T22" fmla="*/ 598 w 1197"/>
              <a:gd name="T23" fmla="*/ 0 h 1195"/>
              <a:gd name="T24" fmla="*/ 1197 w 1197"/>
              <a:gd name="T25" fmla="*/ 59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7" h="1195">
                <a:moveTo>
                  <a:pt x="1197" y="598"/>
                </a:moveTo>
                <a:cubicBezTo>
                  <a:pt x="1197" y="928"/>
                  <a:pt x="929" y="1195"/>
                  <a:pt x="598" y="1195"/>
                </a:cubicBezTo>
                <a:cubicBezTo>
                  <a:pt x="523" y="1195"/>
                  <a:pt x="452" y="1181"/>
                  <a:pt x="386" y="1156"/>
                </a:cubicBezTo>
                <a:cubicBezTo>
                  <a:pt x="369" y="1150"/>
                  <a:pt x="352" y="1143"/>
                  <a:pt x="336" y="1135"/>
                </a:cubicBezTo>
                <a:cubicBezTo>
                  <a:pt x="282" y="1108"/>
                  <a:pt x="232" y="1074"/>
                  <a:pt x="188" y="1033"/>
                </a:cubicBezTo>
                <a:cubicBezTo>
                  <a:pt x="179" y="1024"/>
                  <a:pt x="170" y="1015"/>
                  <a:pt x="161" y="1006"/>
                </a:cubicBezTo>
                <a:cubicBezTo>
                  <a:pt x="149" y="993"/>
                  <a:pt x="138" y="980"/>
                  <a:pt x="127" y="966"/>
                </a:cubicBezTo>
                <a:cubicBezTo>
                  <a:pt x="126" y="965"/>
                  <a:pt x="126" y="964"/>
                  <a:pt x="125" y="963"/>
                </a:cubicBezTo>
                <a:cubicBezTo>
                  <a:pt x="109" y="943"/>
                  <a:pt x="94" y="921"/>
                  <a:pt x="81" y="899"/>
                </a:cubicBezTo>
                <a:cubicBezTo>
                  <a:pt x="72" y="883"/>
                  <a:pt x="64" y="868"/>
                  <a:pt x="57" y="852"/>
                </a:cubicBezTo>
                <a:cubicBezTo>
                  <a:pt x="20" y="775"/>
                  <a:pt x="0" y="689"/>
                  <a:pt x="0" y="598"/>
                </a:cubicBezTo>
                <a:cubicBezTo>
                  <a:pt x="0" y="268"/>
                  <a:pt x="268" y="0"/>
                  <a:pt x="598" y="0"/>
                </a:cubicBezTo>
                <a:cubicBezTo>
                  <a:pt x="929" y="0"/>
                  <a:pt x="1197" y="268"/>
                  <a:pt x="1197" y="598"/>
                </a:cubicBezTo>
                <a:close/>
              </a:path>
            </a:pathLst>
          </a:custGeom>
          <a:solidFill>
            <a:schemeClr val="bg1"/>
          </a:solidFill>
          <a:ln w="127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0E5D0">
                  <a:lumMod val="75000"/>
                </a:srgbClr>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0868F274-728C-4D83-8F5F-E60F08173BE0}"/>
              </a:ext>
            </a:extLst>
          </p:cNvPr>
          <p:cNvSpPr/>
          <p:nvPr/>
        </p:nvSpPr>
        <p:spPr bwMode="auto">
          <a:xfrm>
            <a:off x="0" y="6762535"/>
            <a:ext cx="12192000" cy="954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1053355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fTCSuny26aca8UjfriS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Ga7urZM2YvNIDygzRQxRg"/>
</p:tagLst>
</file>

<file path=ppt/theme/theme1.xml><?xml version="1.0" encoding="utf-8"?>
<a:theme xmlns:a="http://schemas.openxmlformats.org/drawingml/2006/main" name="MTC Info Presentation">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nfoPresentationTemplate_InProgress.pptx" id="{3D338944-8FAA-3149-B299-318F61357C59}" vid="{A31F9CE4-416B-C14D-B321-4ABA34BED716}"/>
    </a:ext>
  </a:extLst>
</a:theme>
</file>

<file path=ppt/theme/theme2.xml><?xml version="1.0" encoding="utf-8"?>
<a:theme xmlns:a="http://schemas.openxmlformats.org/drawingml/2006/main" name="1_MTC Info Presentation">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Info-Presentation-Template.potx" id="{531DE0DA-910B-2245-8D2B-A66A10E3F717}" vid="{0539ECD0-F748-CD42-AE9F-E7ECE5B8459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B76B41B44B0A4D98757805506DCB68" ma:contentTypeVersion="15" ma:contentTypeDescription="Create a new document." ma:contentTypeScope="" ma:versionID="1d8450a1bfbf58dc1decdb76d4a24ad2">
  <xsd:schema xmlns:xsd="http://www.w3.org/2001/XMLSchema" xmlns:xs="http://www.w3.org/2001/XMLSchema" xmlns:p="http://schemas.microsoft.com/office/2006/metadata/properties" xmlns:ns1="http://schemas.microsoft.com/sharepoint/v3" xmlns:ns2="d2131fa1-cc6a-4958-b321-a5b81f658e42" xmlns:ns3="b60d3342-0be0-40f3-b6b4-92e3d50d77d6" targetNamespace="http://schemas.microsoft.com/office/2006/metadata/properties" ma:root="true" ma:fieldsID="814da75e8e5507287706a946ba7f431b" ns1:_="" ns2:_="" ns3:_="">
    <xsd:import namespace="http://schemas.microsoft.com/sharepoint/v3"/>
    <xsd:import namespace="d2131fa1-cc6a-4958-b321-a5b81f658e42"/>
    <xsd:import namespace="b60d3342-0be0-40f3-b6b4-92e3d50d77d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MediaServiceAutoTags" minOccurs="0"/>
                <xsd:element ref="ns2:MediaServiceAutoKeyPoints" minOccurs="0"/>
                <xsd:element ref="ns2:MediaServiceKeyPoints" minOccurs="0"/>
                <xsd:element ref="ns2:MediaServiceOCR"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2131fa1-cc6a-4958-b321-a5b81f658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0d3342-0be0-40f3-b6b4-92e3d50d77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B93FA6F-321C-4B89-A8FD-E3FDABAF0F21}">
  <ds:schemaRefs>
    <ds:schemaRef ds:uri="http://schemas.microsoft.com/sharepoint/v3/contenttype/forms"/>
  </ds:schemaRefs>
</ds:datastoreItem>
</file>

<file path=customXml/itemProps2.xml><?xml version="1.0" encoding="utf-8"?>
<ds:datastoreItem xmlns:ds="http://schemas.openxmlformats.org/officeDocument/2006/customXml" ds:itemID="{85884FE7-B7F2-4A5D-9764-0804F9E7783C}">
  <ds:schemaRefs>
    <ds:schemaRef ds:uri="b60d3342-0be0-40f3-b6b4-92e3d50d77d6"/>
    <ds:schemaRef ds:uri="d2131fa1-cc6a-4958-b321-a5b81f658e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EFA37A4-796F-4FEB-8C01-86737B9D2592}">
  <ds:schemaRefs>
    <ds:schemaRef ds:uri="d2131fa1-cc6a-4958-b321-a5b81f658e42"/>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purl.org/dc/terms/"/>
    <ds:schemaRef ds:uri="b60d3342-0be0-40f3-b6b4-92e3d50d77d6"/>
    <ds:schemaRef ds:uri="http://schemas.microsoft.com/sharepoint/v3"/>
    <ds:schemaRef ds:uri="http://www.w3.org/XML/1998/namespace"/>
    <ds:schemaRef ds:uri="http://purl.org/dc/dcmityp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TotalTime>
  <Words>1414</Words>
  <Application>Microsoft Office PowerPoint</Application>
  <PresentationFormat>Widescreen</PresentationFormat>
  <Paragraphs>176</Paragraphs>
  <Slides>18</Slides>
  <Notes>14</Notes>
  <HiddenSlides>1</HiddenSlides>
  <MMClips>3</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6" baseType="lpstr">
      <vt:lpstr>Arial</vt:lpstr>
      <vt:lpstr>Segoe UI</vt:lpstr>
      <vt:lpstr>Segoe UI Semibold</vt:lpstr>
      <vt:lpstr>Times</vt:lpstr>
      <vt:lpstr>Wingdings</vt:lpstr>
      <vt:lpstr>MTC Info Presentation</vt:lpstr>
      <vt:lpstr>1_MTC Info Presentation</vt:lpstr>
      <vt:lpstr>think-cell Slide</vt:lpstr>
      <vt:lpstr>PowerPoint Presentation</vt:lpstr>
      <vt:lpstr>Dynamics 365 Fraud Protection</vt:lpstr>
      <vt:lpstr>Dynamics 365 Fraud Protection</vt:lpstr>
      <vt:lpstr>Dynamics 365 Fraud Protection with purchase protection capability</vt:lpstr>
      <vt:lpstr>PowerPoint Presentation</vt:lpstr>
      <vt:lpstr>PowerPoint Presentation</vt:lpstr>
      <vt:lpstr>PowerPoint Presentation</vt:lpstr>
      <vt:lpstr>Dynamics 365 Fraud Protection with account protection capability</vt:lpstr>
      <vt:lpstr>PowerPoint Presentation</vt:lpstr>
      <vt:lpstr>How Dynamics 365 Fraud Protection with account  protection capability works?</vt:lpstr>
      <vt:lpstr>PowerPoint Presentation</vt:lpstr>
      <vt:lpstr>Dynamics 365 Fraud Protection with loss prevention capability</vt:lpstr>
      <vt:lpstr>PowerPoint Presentation</vt:lpstr>
      <vt:lpstr>How Dynamics 365 Fraud Protection with loss prevention capability works?</vt:lpstr>
      <vt:lpstr>PowerPoint Presentation</vt:lpstr>
      <vt:lpstr>Dynamics 365 Fraud Protection features</vt:lpstr>
      <vt:lpstr>Interactive Demo</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d me</dc:title>
  <dc:subject/>
  <dc:creator>Sam To (Valence Group Inc.)</dc:creator>
  <cp:keywords/>
  <dc:description/>
  <cp:lastModifiedBy>Allison Pass</cp:lastModifiedBy>
  <cp:revision>1</cp:revision>
  <dcterms:created xsi:type="dcterms:W3CDTF">2021-05-05T18:56:52Z</dcterms:created>
  <dcterms:modified xsi:type="dcterms:W3CDTF">2021-06-25T21:2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B76B41B44B0A4D98757805506DCB68</vt:lpwstr>
  </property>
</Properties>
</file>